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8.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0.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26.jpg" ContentType="image/jpeg"/>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media/image102.jpg" ContentType="image/jpeg"/>
  <Override PartName="/ppt/notesSlides/notesSlide30.xml" ContentType="application/vnd.openxmlformats-officedocument.presentationml.notesSlide+xml"/>
  <Override PartName="/ppt/notesSlides/notesSlide31.xml" ContentType="application/vnd.openxmlformats-officedocument.presentationml.notesSlide+xml"/>
  <Override PartName="/ppt/media/image111.jpg" ContentType="image/jpeg"/>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85" r:id="rId4"/>
    <p:sldMasterId id="2147483697" r:id="rId5"/>
    <p:sldMasterId id="2147483709" r:id="rId6"/>
    <p:sldMasterId id="2147483715" r:id="rId7"/>
    <p:sldMasterId id="2147483739" r:id="rId8"/>
    <p:sldMasterId id="2147483751" r:id="rId9"/>
    <p:sldMasterId id="2147483763" r:id="rId10"/>
    <p:sldMasterId id="2147483775" r:id="rId11"/>
  </p:sldMasterIdLst>
  <p:notesMasterIdLst>
    <p:notesMasterId r:id="rId74"/>
  </p:notesMasterIdLst>
  <p:sldIdLst>
    <p:sldId id="262" r:id="rId12"/>
    <p:sldId id="268" r:id="rId13"/>
    <p:sldId id="294" r:id="rId14"/>
    <p:sldId id="323" r:id="rId15"/>
    <p:sldId id="324" r:id="rId16"/>
    <p:sldId id="325" r:id="rId17"/>
    <p:sldId id="326" r:id="rId18"/>
    <p:sldId id="327" r:id="rId19"/>
    <p:sldId id="328" r:id="rId20"/>
    <p:sldId id="329" r:id="rId21"/>
    <p:sldId id="330" r:id="rId22"/>
    <p:sldId id="331" r:id="rId23"/>
    <p:sldId id="332" r:id="rId24"/>
    <p:sldId id="333" r:id="rId25"/>
    <p:sldId id="334" r:id="rId26"/>
    <p:sldId id="335" r:id="rId27"/>
    <p:sldId id="336" r:id="rId28"/>
    <p:sldId id="263" r:id="rId29"/>
    <p:sldId id="343" r:id="rId30"/>
    <p:sldId id="344" r:id="rId31"/>
    <p:sldId id="345" r:id="rId32"/>
    <p:sldId id="346" r:id="rId33"/>
    <p:sldId id="347" r:id="rId34"/>
    <p:sldId id="348" r:id="rId35"/>
    <p:sldId id="349" r:id="rId36"/>
    <p:sldId id="337" r:id="rId37"/>
    <p:sldId id="338" r:id="rId38"/>
    <p:sldId id="339" r:id="rId39"/>
    <p:sldId id="340" r:id="rId40"/>
    <p:sldId id="341" r:id="rId41"/>
    <p:sldId id="342" r:id="rId42"/>
    <p:sldId id="264" r:id="rId43"/>
    <p:sldId id="269" r:id="rId44"/>
    <p:sldId id="270" r:id="rId45"/>
    <p:sldId id="271" r:id="rId46"/>
    <p:sldId id="272" r:id="rId47"/>
    <p:sldId id="273" r:id="rId48"/>
    <p:sldId id="274" r:id="rId49"/>
    <p:sldId id="275" r:id="rId50"/>
    <p:sldId id="276" r:id="rId51"/>
    <p:sldId id="265" r:id="rId52"/>
    <p:sldId id="277" r:id="rId53"/>
    <p:sldId id="278" r:id="rId54"/>
    <p:sldId id="279" r:id="rId55"/>
    <p:sldId id="280" r:id="rId56"/>
    <p:sldId id="281" r:id="rId57"/>
    <p:sldId id="282" r:id="rId58"/>
    <p:sldId id="283" r:id="rId59"/>
    <p:sldId id="284" r:id="rId60"/>
    <p:sldId id="285" r:id="rId61"/>
    <p:sldId id="286" r:id="rId62"/>
    <p:sldId id="287" r:id="rId63"/>
    <p:sldId id="288" r:id="rId64"/>
    <p:sldId id="289" r:id="rId65"/>
    <p:sldId id="290" r:id="rId66"/>
    <p:sldId id="291" r:id="rId67"/>
    <p:sldId id="292" r:id="rId68"/>
    <p:sldId id="266" r:id="rId69"/>
    <p:sldId id="350" r:id="rId70"/>
    <p:sldId id="351" r:id="rId71"/>
    <p:sldId id="352" r:id="rId72"/>
    <p:sldId id="353" r:id="rId73"/>
  </p:sldIdLst>
  <p:sldSz cx="9144000" cy="5143500" type="screen16x9"/>
  <p:notesSz cx="6858000" cy="9144000"/>
  <p:defaultTextStyle>
    <a:defPPr>
      <a:defRPr lang="en-US"/>
    </a:defPPr>
    <a:lvl1pPr marL="0" algn="l" defTabSz="914281" rtl="0" eaLnBrk="1" latinLnBrk="0" hangingPunct="1">
      <a:defRPr sz="1800" kern="1200">
        <a:solidFill>
          <a:schemeClr val="tx1"/>
        </a:solidFill>
        <a:latin typeface="+mn-lt"/>
        <a:ea typeface="+mn-ea"/>
        <a:cs typeface="+mn-cs"/>
      </a:defRPr>
    </a:lvl1pPr>
    <a:lvl2pPr marL="457141"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3" algn="l" defTabSz="914281" rtl="0" eaLnBrk="1" latinLnBrk="0" hangingPunct="1">
      <a:defRPr sz="1800" kern="1200">
        <a:solidFill>
          <a:schemeClr val="tx1"/>
        </a:solidFill>
        <a:latin typeface="+mn-lt"/>
        <a:ea typeface="+mn-ea"/>
        <a:cs typeface="+mn-cs"/>
      </a:defRPr>
    </a:lvl4pPr>
    <a:lvl5pPr marL="1828563" algn="l" defTabSz="914281" rtl="0" eaLnBrk="1" latinLnBrk="0" hangingPunct="1">
      <a:defRPr sz="1800" kern="1200">
        <a:solidFill>
          <a:schemeClr val="tx1"/>
        </a:solidFill>
        <a:latin typeface="+mn-lt"/>
        <a:ea typeface="+mn-ea"/>
        <a:cs typeface="+mn-cs"/>
      </a:defRPr>
    </a:lvl5pPr>
    <a:lvl6pPr marL="2285704" algn="l" defTabSz="914281" rtl="0" eaLnBrk="1" latinLnBrk="0" hangingPunct="1">
      <a:defRPr sz="1800" kern="1200">
        <a:solidFill>
          <a:schemeClr val="tx1"/>
        </a:solidFill>
        <a:latin typeface="+mn-lt"/>
        <a:ea typeface="+mn-ea"/>
        <a:cs typeface="+mn-cs"/>
      </a:defRPr>
    </a:lvl6pPr>
    <a:lvl7pPr marL="2742844" algn="l" defTabSz="914281" rtl="0" eaLnBrk="1" latinLnBrk="0" hangingPunct="1">
      <a:defRPr sz="1800" kern="1200">
        <a:solidFill>
          <a:schemeClr val="tx1"/>
        </a:solidFill>
        <a:latin typeface="+mn-lt"/>
        <a:ea typeface="+mn-ea"/>
        <a:cs typeface="+mn-cs"/>
      </a:defRPr>
    </a:lvl7pPr>
    <a:lvl8pPr marL="3199985" algn="l" defTabSz="914281" rtl="0" eaLnBrk="1" latinLnBrk="0" hangingPunct="1">
      <a:defRPr sz="1800" kern="1200">
        <a:solidFill>
          <a:schemeClr val="tx1"/>
        </a:solidFill>
        <a:latin typeface="+mn-lt"/>
        <a:ea typeface="+mn-ea"/>
        <a:cs typeface="+mn-cs"/>
      </a:defRPr>
    </a:lvl8pPr>
    <a:lvl9pPr marL="3657126" algn="l" defTabSz="914281"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100" d="100"/>
          <a:sy n="100" d="100"/>
        </p:scale>
        <p:origin x="-504" y="-72"/>
      </p:cViewPr>
      <p:guideLst>
        <p:guide orient="horz" pos="162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60.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_rels/data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image" Target="../media/image28.png"/><Relationship Id="rId4" Type="http://schemas.openxmlformats.org/officeDocument/2006/relationships/image" Target="../media/image31.png"/></Relationships>
</file>

<file path=ppt/diagrams/_rels/drawing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image" Target="../media/image28.png"/><Relationship Id="rId4"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F2C59E-EBF8-4516-B42D-7CFD1A3EDFC5}" type="doc">
      <dgm:prSet loTypeId="urn:microsoft.com/office/officeart/2005/8/layout/radial4" loCatId="relationship" qsTypeId="urn:microsoft.com/office/officeart/2005/8/quickstyle/simple1" qsCatId="simple" csTypeId="urn:microsoft.com/office/officeart/2005/8/colors/colorful4" csCatId="colorful" phldr="1"/>
      <dgm:spPr/>
      <dgm:t>
        <a:bodyPr/>
        <a:lstStyle/>
        <a:p>
          <a:endParaRPr lang="en-GB"/>
        </a:p>
      </dgm:t>
    </dgm:pt>
    <dgm:pt modelId="{F1BE0B64-C4A2-4BB1-A1B0-3C72FD335588}">
      <dgm:prSet phldrT="[Text]"/>
      <dgm:spPr>
        <a:solidFill>
          <a:srgbClr val="00B0F0"/>
        </a:solidFill>
      </dgm:spPr>
      <dgm:t>
        <a:bodyPr/>
        <a:lstStyle/>
        <a:p>
          <a:r>
            <a:rPr lang="en-GB" dirty="0" smtClean="0"/>
            <a:t>Quantify</a:t>
          </a:r>
        </a:p>
        <a:p>
          <a:r>
            <a:rPr lang="en-GB" dirty="0" smtClean="0"/>
            <a:t>Mitigate</a:t>
          </a:r>
        </a:p>
        <a:p>
          <a:r>
            <a:rPr lang="en-GB" dirty="0" smtClean="0"/>
            <a:t>Implement</a:t>
          </a:r>
          <a:endParaRPr lang="en-GB" dirty="0"/>
        </a:p>
      </dgm:t>
    </dgm:pt>
    <dgm:pt modelId="{EDE01320-CC22-4726-B6FD-6892CFD35DC7}" type="parTrans" cxnId="{47DAE3E1-1FE0-414A-8A11-8A876655CF0E}">
      <dgm:prSet/>
      <dgm:spPr/>
      <dgm:t>
        <a:bodyPr/>
        <a:lstStyle/>
        <a:p>
          <a:endParaRPr lang="en-GB"/>
        </a:p>
      </dgm:t>
    </dgm:pt>
    <dgm:pt modelId="{6D5AA272-639F-4D80-B7B0-8836019BCDB8}" type="sibTrans" cxnId="{47DAE3E1-1FE0-414A-8A11-8A876655CF0E}">
      <dgm:prSet/>
      <dgm:spPr/>
      <dgm:t>
        <a:bodyPr/>
        <a:lstStyle/>
        <a:p>
          <a:endParaRPr lang="en-GB"/>
        </a:p>
      </dgm:t>
    </dgm:pt>
    <dgm:pt modelId="{079F1FF5-EE0D-4BFF-B213-6EB9828B392F}">
      <dgm:prSet phldrT="[Text]">
        <dgm:style>
          <a:lnRef idx="3">
            <a:schemeClr val="lt1"/>
          </a:lnRef>
          <a:fillRef idx="1">
            <a:schemeClr val="accent4"/>
          </a:fillRef>
          <a:effectRef idx="1">
            <a:schemeClr val="accent4"/>
          </a:effectRef>
          <a:fontRef idx="minor">
            <a:schemeClr val="lt1"/>
          </a:fontRef>
        </dgm:style>
      </dgm:prSet>
      <dgm:spPr/>
      <dgm:t>
        <a:bodyPr/>
        <a:lstStyle/>
        <a:p>
          <a:r>
            <a:rPr lang="en-GB" u="none" dirty="0" smtClean="0"/>
            <a:t>Limit or reduce the number of people affected by significant aircraft </a:t>
          </a:r>
          <a:r>
            <a:rPr lang="en-GB" b="1" u="none" dirty="0" smtClean="0"/>
            <a:t>noise</a:t>
          </a:r>
          <a:endParaRPr lang="en-GB" b="1" u="none" dirty="0"/>
        </a:p>
      </dgm:t>
    </dgm:pt>
    <dgm:pt modelId="{21ABC0C6-5C9A-478F-9A93-F48A7DDF5CA9}" type="parTrans" cxnId="{7E92DDE4-8AA6-4896-B492-769854ACDC53}">
      <dgm:prSet>
        <dgm:style>
          <a:lnRef idx="3">
            <a:schemeClr val="lt1"/>
          </a:lnRef>
          <a:fillRef idx="1">
            <a:schemeClr val="accent4"/>
          </a:fillRef>
          <a:effectRef idx="1">
            <a:schemeClr val="accent4"/>
          </a:effectRef>
          <a:fontRef idx="minor">
            <a:schemeClr val="lt1"/>
          </a:fontRef>
        </dgm:style>
      </dgm:prSet>
      <dgm:spPr/>
      <dgm:t>
        <a:bodyPr/>
        <a:lstStyle/>
        <a:p>
          <a:endParaRPr lang="en-GB"/>
        </a:p>
      </dgm:t>
    </dgm:pt>
    <dgm:pt modelId="{9DBD081C-0E33-45BD-8A76-7EFB76168554}" type="sibTrans" cxnId="{7E92DDE4-8AA6-4896-B492-769854ACDC53}">
      <dgm:prSet/>
      <dgm:spPr/>
      <dgm:t>
        <a:bodyPr/>
        <a:lstStyle/>
        <a:p>
          <a:endParaRPr lang="en-GB"/>
        </a:p>
      </dgm:t>
    </dgm:pt>
    <dgm:pt modelId="{EC7940A8-5F9A-4FDC-8FB0-66EDE019D35F}">
      <dgm:prSet phldrT="[Text]">
        <dgm:style>
          <a:lnRef idx="3">
            <a:schemeClr val="lt1"/>
          </a:lnRef>
          <a:fillRef idx="1">
            <a:schemeClr val="accent5"/>
          </a:fillRef>
          <a:effectRef idx="1">
            <a:schemeClr val="accent5"/>
          </a:effectRef>
          <a:fontRef idx="minor">
            <a:schemeClr val="lt1"/>
          </a:fontRef>
        </dgm:style>
      </dgm:prSet>
      <dgm:spPr/>
      <dgm:t>
        <a:bodyPr/>
        <a:lstStyle/>
        <a:p>
          <a:r>
            <a:rPr lang="en-GB" dirty="0" smtClean="0"/>
            <a:t>Limit or reduce the impact of aviation GHG emissions on </a:t>
          </a:r>
          <a:r>
            <a:rPr lang="en-GB" b="1" u="sng" dirty="0" smtClean="0"/>
            <a:t>global climate</a:t>
          </a:r>
          <a:endParaRPr lang="en-GB" b="1" u="sng" dirty="0"/>
        </a:p>
      </dgm:t>
    </dgm:pt>
    <dgm:pt modelId="{140BBB5A-27BD-4378-8EDE-F68A39D4AB87}" type="parTrans" cxnId="{AC923670-9BDF-48F3-9738-7C6B2290EDB0}">
      <dgm:prSet>
        <dgm:style>
          <a:lnRef idx="3">
            <a:schemeClr val="lt1"/>
          </a:lnRef>
          <a:fillRef idx="1">
            <a:schemeClr val="accent5"/>
          </a:fillRef>
          <a:effectRef idx="1">
            <a:schemeClr val="accent5"/>
          </a:effectRef>
          <a:fontRef idx="minor">
            <a:schemeClr val="lt1"/>
          </a:fontRef>
        </dgm:style>
      </dgm:prSet>
      <dgm:spPr/>
      <dgm:t>
        <a:bodyPr/>
        <a:lstStyle/>
        <a:p>
          <a:endParaRPr lang="en-GB"/>
        </a:p>
      </dgm:t>
    </dgm:pt>
    <dgm:pt modelId="{8561AC3D-698C-4B39-B7E8-ECD7D53FA03F}" type="sibTrans" cxnId="{AC923670-9BDF-48F3-9738-7C6B2290EDB0}">
      <dgm:prSet/>
      <dgm:spPr/>
      <dgm:t>
        <a:bodyPr/>
        <a:lstStyle/>
        <a:p>
          <a:endParaRPr lang="en-GB"/>
        </a:p>
      </dgm:t>
    </dgm:pt>
    <dgm:pt modelId="{0D891002-BC8F-46AD-9093-3CA5190DDD46}">
      <dgm:prSet phldrT="[Text]">
        <dgm:style>
          <a:lnRef idx="3">
            <a:schemeClr val="lt1"/>
          </a:lnRef>
          <a:fillRef idx="1">
            <a:schemeClr val="accent3"/>
          </a:fillRef>
          <a:effectRef idx="1">
            <a:schemeClr val="accent3"/>
          </a:effectRef>
          <a:fontRef idx="minor">
            <a:schemeClr val="lt1"/>
          </a:fontRef>
        </dgm:style>
      </dgm:prSet>
      <dgm:spPr/>
      <dgm:t>
        <a:bodyPr/>
        <a:lstStyle/>
        <a:p>
          <a:r>
            <a:rPr lang="en-GB" u="none" dirty="0" smtClean="0"/>
            <a:t>Limit or reduce the impact of aviation emissions on </a:t>
          </a:r>
          <a:r>
            <a:rPr lang="en-GB" b="1" u="none" dirty="0" smtClean="0"/>
            <a:t>local air quality</a:t>
          </a:r>
          <a:endParaRPr lang="en-GB" b="1" u="none" dirty="0"/>
        </a:p>
      </dgm:t>
    </dgm:pt>
    <dgm:pt modelId="{4DA8F40F-C9FF-4C36-97A1-B59E40D5F6DD}" type="parTrans" cxnId="{38C6B357-1702-4F26-802D-278FE4EB1EB8}">
      <dgm:prSet>
        <dgm:style>
          <a:lnRef idx="3">
            <a:schemeClr val="lt1"/>
          </a:lnRef>
          <a:fillRef idx="1">
            <a:schemeClr val="accent3"/>
          </a:fillRef>
          <a:effectRef idx="1">
            <a:schemeClr val="accent3"/>
          </a:effectRef>
          <a:fontRef idx="minor">
            <a:schemeClr val="lt1"/>
          </a:fontRef>
        </dgm:style>
      </dgm:prSet>
      <dgm:spPr/>
      <dgm:t>
        <a:bodyPr/>
        <a:lstStyle/>
        <a:p>
          <a:endParaRPr lang="en-GB"/>
        </a:p>
      </dgm:t>
    </dgm:pt>
    <dgm:pt modelId="{D48F1E65-4B0C-464F-BA61-982F783D5142}" type="sibTrans" cxnId="{38C6B357-1702-4F26-802D-278FE4EB1EB8}">
      <dgm:prSet/>
      <dgm:spPr/>
      <dgm:t>
        <a:bodyPr/>
        <a:lstStyle/>
        <a:p>
          <a:endParaRPr lang="en-GB"/>
        </a:p>
      </dgm:t>
    </dgm:pt>
    <dgm:pt modelId="{C20A0F5F-C7CB-474F-8366-F5477ED94FD6}" type="pres">
      <dgm:prSet presAssocID="{1FF2C59E-EBF8-4516-B42D-7CFD1A3EDFC5}" presName="cycle" presStyleCnt="0">
        <dgm:presLayoutVars>
          <dgm:chMax val="1"/>
          <dgm:dir/>
          <dgm:animLvl val="ctr"/>
          <dgm:resizeHandles val="exact"/>
        </dgm:presLayoutVars>
      </dgm:prSet>
      <dgm:spPr/>
      <dgm:t>
        <a:bodyPr/>
        <a:lstStyle/>
        <a:p>
          <a:endParaRPr lang="en-GB"/>
        </a:p>
      </dgm:t>
    </dgm:pt>
    <dgm:pt modelId="{305A6CFA-E942-4F0E-B7E4-9F5823CC94D8}" type="pres">
      <dgm:prSet presAssocID="{F1BE0B64-C4A2-4BB1-A1B0-3C72FD335588}" presName="centerShape" presStyleLbl="node0" presStyleIdx="0" presStyleCnt="1" custScaleX="113760" custScaleY="82427" custLinFactNeighborX="-1099" custLinFactNeighborY="-4273"/>
      <dgm:spPr/>
      <dgm:t>
        <a:bodyPr/>
        <a:lstStyle/>
        <a:p>
          <a:endParaRPr lang="en-GB"/>
        </a:p>
      </dgm:t>
    </dgm:pt>
    <dgm:pt modelId="{E22C9DDD-2317-46CD-91B3-FA1475DC203B}" type="pres">
      <dgm:prSet presAssocID="{21ABC0C6-5C9A-478F-9A93-F48A7DDF5CA9}" presName="parTrans" presStyleLbl="bgSibTrans2D1" presStyleIdx="0" presStyleCnt="3"/>
      <dgm:spPr/>
      <dgm:t>
        <a:bodyPr/>
        <a:lstStyle/>
        <a:p>
          <a:endParaRPr lang="en-GB"/>
        </a:p>
      </dgm:t>
    </dgm:pt>
    <dgm:pt modelId="{91E4D6B0-ADE9-4163-9F6C-923A0DB1B1EE}" type="pres">
      <dgm:prSet presAssocID="{079F1FF5-EE0D-4BFF-B213-6EB9828B392F}" presName="node" presStyleLbl="node1" presStyleIdx="0" presStyleCnt="3" custScaleX="171685" custScaleY="67290" custRadScaleRad="145934" custRadScaleInc="-19760">
        <dgm:presLayoutVars>
          <dgm:bulletEnabled val="1"/>
        </dgm:presLayoutVars>
      </dgm:prSet>
      <dgm:spPr/>
      <dgm:t>
        <a:bodyPr/>
        <a:lstStyle/>
        <a:p>
          <a:endParaRPr lang="en-GB"/>
        </a:p>
      </dgm:t>
    </dgm:pt>
    <dgm:pt modelId="{51E4E176-E987-49A0-BC7B-8CEE835E8D62}" type="pres">
      <dgm:prSet presAssocID="{140BBB5A-27BD-4378-8EDE-F68A39D4AB87}" presName="parTrans" presStyleLbl="bgSibTrans2D1" presStyleIdx="1" presStyleCnt="3"/>
      <dgm:spPr/>
      <dgm:t>
        <a:bodyPr/>
        <a:lstStyle/>
        <a:p>
          <a:endParaRPr lang="en-GB"/>
        </a:p>
      </dgm:t>
    </dgm:pt>
    <dgm:pt modelId="{D10C4B17-B8F9-4BF1-85C8-26315051E064}" type="pres">
      <dgm:prSet presAssocID="{EC7940A8-5F9A-4FDC-8FB0-66EDE019D35F}" presName="node" presStyleLbl="node1" presStyleIdx="1" presStyleCnt="3" custScaleX="177640" custScaleY="63644" custRadScaleRad="109324">
        <dgm:presLayoutVars>
          <dgm:bulletEnabled val="1"/>
        </dgm:presLayoutVars>
      </dgm:prSet>
      <dgm:spPr/>
      <dgm:t>
        <a:bodyPr/>
        <a:lstStyle/>
        <a:p>
          <a:endParaRPr lang="en-GB"/>
        </a:p>
      </dgm:t>
    </dgm:pt>
    <dgm:pt modelId="{B0A0A27C-24A5-4CAC-A83B-42385DDF6644}" type="pres">
      <dgm:prSet presAssocID="{4DA8F40F-C9FF-4C36-97A1-B59E40D5F6DD}" presName="parTrans" presStyleLbl="bgSibTrans2D1" presStyleIdx="2" presStyleCnt="3"/>
      <dgm:spPr/>
      <dgm:t>
        <a:bodyPr/>
        <a:lstStyle/>
        <a:p>
          <a:endParaRPr lang="en-GB"/>
        </a:p>
      </dgm:t>
    </dgm:pt>
    <dgm:pt modelId="{A8DEDBD2-9CB9-4037-9D30-B9817E645B12}" type="pres">
      <dgm:prSet presAssocID="{0D891002-BC8F-46AD-9093-3CA5190DDD46}" presName="node" presStyleLbl="node1" presStyleIdx="2" presStyleCnt="3" custScaleX="171685" custScaleY="67290" custRadScaleRad="145934" custRadScaleInc="19760">
        <dgm:presLayoutVars>
          <dgm:bulletEnabled val="1"/>
        </dgm:presLayoutVars>
      </dgm:prSet>
      <dgm:spPr/>
      <dgm:t>
        <a:bodyPr/>
        <a:lstStyle/>
        <a:p>
          <a:endParaRPr lang="en-GB"/>
        </a:p>
      </dgm:t>
    </dgm:pt>
  </dgm:ptLst>
  <dgm:cxnLst>
    <dgm:cxn modelId="{E4B0B663-39A7-4E8D-BC3E-22958E6B619F}" type="presOf" srcId="{4DA8F40F-C9FF-4C36-97A1-B59E40D5F6DD}" destId="{B0A0A27C-24A5-4CAC-A83B-42385DDF6644}" srcOrd="0" destOrd="0" presId="urn:microsoft.com/office/officeart/2005/8/layout/radial4"/>
    <dgm:cxn modelId="{AC923670-9BDF-48F3-9738-7C6B2290EDB0}" srcId="{F1BE0B64-C4A2-4BB1-A1B0-3C72FD335588}" destId="{EC7940A8-5F9A-4FDC-8FB0-66EDE019D35F}" srcOrd="1" destOrd="0" parTransId="{140BBB5A-27BD-4378-8EDE-F68A39D4AB87}" sibTransId="{8561AC3D-698C-4B39-B7E8-ECD7D53FA03F}"/>
    <dgm:cxn modelId="{AC3DD7CC-34BC-4F34-9E70-EF5320655039}" type="presOf" srcId="{140BBB5A-27BD-4378-8EDE-F68A39D4AB87}" destId="{51E4E176-E987-49A0-BC7B-8CEE835E8D62}" srcOrd="0" destOrd="0" presId="urn:microsoft.com/office/officeart/2005/8/layout/radial4"/>
    <dgm:cxn modelId="{38C6B357-1702-4F26-802D-278FE4EB1EB8}" srcId="{F1BE0B64-C4A2-4BB1-A1B0-3C72FD335588}" destId="{0D891002-BC8F-46AD-9093-3CA5190DDD46}" srcOrd="2" destOrd="0" parTransId="{4DA8F40F-C9FF-4C36-97A1-B59E40D5F6DD}" sibTransId="{D48F1E65-4B0C-464F-BA61-982F783D5142}"/>
    <dgm:cxn modelId="{47DAE3E1-1FE0-414A-8A11-8A876655CF0E}" srcId="{1FF2C59E-EBF8-4516-B42D-7CFD1A3EDFC5}" destId="{F1BE0B64-C4A2-4BB1-A1B0-3C72FD335588}" srcOrd="0" destOrd="0" parTransId="{EDE01320-CC22-4726-B6FD-6892CFD35DC7}" sibTransId="{6D5AA272-639F-4D80-B7B0-8836019BCDB8}"/>
    <dgm:cxn modelId="{7E92DDE4-8AA6-4896-B492-769854ACDC53}" srcId="{F1BE0B64-C4A2-4BB1-A1B0-3C72FD335588}" destId="{079F1FF5-EE0D-4BFF-B213-6EB9828B392F}" srcOrd="0" destOrd="0" parTransId="{21ABC0C6-5C9A-478F-9A93-F48A7DDF5CA9}" sibTransId="{9DBD081C-0E33-45BD-8A76-7EFB76168554}"/>
    <dgm:cxn modelId="{206116DF-A055-4DDC-9792-AAD5413F7419}" type="presOf" srcId="{EC7940A8-5F9A-4FDC-8FB0-66EDE019D35F}" destId="{D10C4B17-B8F9-4BF1-85C8-26315051E064}" srcOrd="0" destOrd="0" presId="urn:microsoft.com/office/officeart/2005/8/layout/radial4"/>
    <dgm:cxn modelId="{BB27BBF0-CD20-452A-8447-5FB1A6C2D474}" type="presOf" srcId="{079F1FF5-EE0D-4BFF-B213-6EB9828B392F}" destId="{91E4D6B0-ADE9-4163-9F6C-923A0DB1B1EE}" srcOrd="0" destOrd="0" presId="urn:microsoft.com/office/officeart/2005/8/layout/radial4"/>
    <dgm:cxn modelId="{930F4CD9-462B-4AEA-9AB9-CE9DA1273166}" type="presOf" srcId="{1FF2C59E-EBF8-4516-B42D-7CFD1A3EDFC5}" destId="{C20A0F5F-C7CB-474F-8366-F5477ED94FD6}" srcOrd="0" destOrd="0" presId="urn:microsoft.com/office/officeart/2005/8/layout/radial4"/>
    <dgm:cxn modelId="{4922B819-4688-4A0A-B946-9C25F40DF953}" type="presOf" srcId="{21ABC0C6-5C9A-478F-9A93-F48A7DDF5CA9}" destId="{E22C9DDD-2317-46CD-91B3-FA1475DC203B}" srcOrd="0" destOrd="0" presId="urn:microsoft.com/office/officeart/2005/8/layout/radial4"/>
    <dgm:cxn modelId="{E9C3463F-DDB7-4AA5-BCF4-D82632D0170B}" type="presOf" srcId="{F1BE0B64-C4A2-4BB1-A1B0-3C72FD335588}" destId="{305A6CFA-E942-4F0E-B7E4-9F5823CC94D8}" srcOrd="0" destOrd="0" presId="urn:microsoft.com/office/officeart/2005/8/layout/radial4"/>
    <dgm:cxn modelId="{050879F4-2CD5-4412-B622-D447A1449960}" type="presOf" srcId="{0D891002-BC8F-46AD-9093-3CA5190DDD46}" destId="{A8DEDBD2-9CB9-4037-9D30-B9817E645B12}" srcOrd="0" destOrd="0" presId="urn:microsoft.com/office/officeart/2005/8/layout/radial4"/>
    <dgm:cxn modelId="{753DAC68-65BA-4F21-9BCC-562A728F322F}" type="presParOf" srcId="{C20A0F5F-C7CB-474F-8366-F5477ED94FD6}" destId="{305A6CFA-E942-4F0E-B7E4-9F5823CC94D8}" srcOrd="0" destOrd="0" presId="urn:microsoft.com/office/officeart/2005/8/layout/radial4"/>
    <dgm:cxn modelId="{8DD3506D-19DE-4F33-B366-77D4822F8BE3}" type="presParOf" srcId="{C20A0F5F-C7CB-474F-8366-F5477ED94FD6}" destId="{E22C9DDD-2317-46CD-91B3-FA1475DC203B}" srcOrd="1" destOrd="0" presId="urn:microsoft.com/office/officeart/2005/8/layout/radial4"/>
    <dgm:cxn modelId="{63E332C3-09B9-4EBF-9291-82DA101A3C59}" type="presParOf" srcId="{C20A0F5F-C7CB-474F-8366-F5477ED94FD6}" destId="{91E4D6B0-ADE9-4163-9F6C-923A0DB1B1EE}" srcOrd="2" destOrd="0" presId="urn:microsoft.com/office/officeart/2005/8/layout/radial4"/>
    <dgm:cxn modelId="{5E47BD65-5A1B-4858-B0C0-37FA9C62EB4D}" type="presParOf" srcId="{C20A0F5F-C7CB-474F-8366-F5477ED94FD6}" destId="{51E4E176-E987-49A0-BC7B-8CEE835E8D62}" srcOrd="3" destOrd="0" presId="urn:microsoft.com/office/officeart/2005/8/layout/radial4"/>
    <dgm:cxn modelId="{D8B0B691-3C6D-41A4-AB00-3B9F6B51A818}" type="presParOf" srcId="{C20A0F5F-C7CB-474F-8366-F5477ED94FD6}" destId="{D10C4B17-B8F9-4BF1-85C8-26315051E064}" srcOrd="4" destOrd="0" presId="urn:microsoft.com/office/officeart/2005/8/layout/radial4"/>
    <dgm:cxn modelId="{F8C949B0-B5EC-4B0D-85C7-A2AFA202048F}" type="presParOf" srcId="{C20A0F5F-C7CB-474F-8366-F5477ED94FD6}" destId="{B0A0A27C-24A5-4CAC-A83B-42385DDF6644}" srcOrd="5" destOrd="0" presId="urn:microsoft.com/office/officeart/2005/8/layout/radial4"/>
    <dgm:cxn modelId="{6D679B79-ECCF-4FF0-B5EF-556D1108FEE0}" type="presParOf" srcId="{C20A0F5F-C7CB-474F-8366-F5477ED94FD6}" destId="{A8DEDBD2-9CB9-4037-9D30-B9817E645B12}" srcOrd="6"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8B1A84-9478-4FB0-A12D-891568CF6814}" type="doc">
      <dgm:prSet loTypeId="urn:microsoft.com/office/officeart/2005/8/layout/arrow2" loCatId="process" qsTypeId="urn:microsoft.com/office/officeart/2005/8/quickstyle/simple1" qsCatId="simple" csTypeId="urn:microsoft.com/office/officeart/2005/8/colors/accent5_5" csCatId="accent5" phldr="1"/>
      <dgm:spPr/>
      <dgm:t>
        <a:bodyPr/>
        <a:lstStyle/>
        <a:p>
          <a:endParaRPr lang="en-GB"/>
        </a:p>
      </dgm:t>
    </dgm:pt>
    <dgm:pt modelId="{C0605643-7BEC-414F-A488-91D2253B1A68}">
      <dgm:prSet custT="1"/>
      <dgm:spPr/>
      <dgm:t>
        <a:bodyPr/>
        <a:lstStyle/>
        <a:p>
          <a:pPr algn="ctr" rtl="0"/>
          <a:r>
            <a:rPr lang="en-GB" sz="2800" b="1" u="sng" dirty="0" smtClean="0">
              <a:solidFill>
                <a:schemeClr val="accent5"/>
              </a:solidFill>
            </a:rPr>
            <a:t>Minimize the adverse effect of global civil aviation on the environment</a:t>
          </a:r>
          <a:endParaRPr lang="en-GB" sz="2800" b="1" u="sng" dirty="0">
            <a:solidFill>
              <a:schemeClr val="accent5"/>
            </a:solidFill>
          </a:endParaRPr>
        </a:p>
      </dgm:t>
    </dgm:pt>
    <dgm:pt modelId="{8DFEA2E5-1823-485B-ACFB-04ECB84885DA}" type="parTrans" cxnId="{35A28D1D-99F4-4C93-A852-3CB65369D4FF}">
      <dgm:prSet/>
      <dgm:spPr/>
      <dgm:t>
        <a:bodyPr/>
        <a:lstStyle/>
        <a:p>
          <a:endParaRPr lang="en-GB" sz="2400"/>
        </a:p>
      </dgm:t>
    </dgm:pt>
    <dgm:pt modelId="{0EE5D598-827E-4EE7-A29E-DBFB04075483}" type="sibTrans" cxnId="{35A28D1D-99F4-4C93-A852-3CB65369D4FF}">
      <dgm:prSet/>
      <dgm:spPr/>
      <dgm:t>
        <a:bodyPr/>
        <a:lstStyle/>
        <a:p>
          <a:endParaRPr lang="en-GB" sz="2400"/>
        </a:p>
      </dgm:t>
    </dgm:pt>
    <dgm:pt modelId="{2E354E41-D6D8-46A3-9BB5-FB6C022E452E}" type="pres">
      <dgm:prSet presAssocID="{A58B1A84-9478-4FB0-A12D-891568CF6814}" presName="arrowDiagram" presStyleCnt="0">
        <dgm:presLayoutVars>
          <dgm:chMax val="5"/>
          <dgm:dir/>
          <dgm:resizeHandles val="exact"/>
        </dgm:presLayoutVars>
      </dgm:prSet>
      <dgm:spPr/>
      <dgm:t>
        <a:bodyPr/>
        <a:lstStyle/>
        <a:p>
          <a:endParaRPr lang="en-GB"/>
        </a:p>
      </dgm:t>
    </dgm:pt>
    <dgm:pt modelId="{D139E97F-C539-4DB7-ACE9-FDFF0ED482A4}" type="pres">
      <dgm:prSet presAssocID="{A58B1A84-9478-4FB0-A12D-891568CF6814}" presName="arrow" presStyleLbl="bgShp" presStyleIdx="0" presStyleCnt="1" custScaleX="354263"/>
      <dgm:spPr/>
      <dgm:t>
        <a:bodyPr/>
        <a:lstStyle/>
        <a:p>
          <a:endParaRPr lang="en-GB"/>
        </a:p>
      </dgm:t>
    </dgm:pt>
    <dgm:pt modelId="{F8CC307E-5F56-4F96-A1AC-F769136B62BC}" type="pres">
      <dgm:prSet presAssocID="{A58B1A84-9478-4FB0-A12D-891568CF6814}" presName="arrowDiagram1" presStyleCnt="0">
        <dgm:presLayoutVars>
          <dgm:bulletEnabled val="1"/>
        </dgm:presLayoutVars>
      </dgm:prSet>
      <dgm:spPr/>
      <dgm:t>
        <a:bodyPr/>
        <a:lstStyle/>
        <a:p>
          <a:endParaRPr lang="en-GB"/>
        </a:p>
      </dgm:t>
    </dgm:pt>
    <dgm:pt modelId="{4B702267-7018-46BF-BBE5-0A2EC5E2D6E4}" type="pres">
      <dgm:prSet presAssocID="{C0605643-7BEC-414F-A488-91D2253B1A68}" presName="bullet1" presStyleLbl="node1" presStyleIdx="0" presStyleCnt="1" custLinFactX="877576" custLinFactNeighborX="900000" custLinFactNeighborY="-7266"/>
      <dgm:spPr/>
      <dgm:t>
        <a:bodyPr/>
        <a:lstStyle/>
        <a:p>
          <a:endParaRPr lang="en-GB"/>
        </a:p>
      </dgm:t>
    </dgm:pt>
    <dgm:pt modelId="{AD9C7666-C280-4240-AF39-6B599BC50DF1}" type="pres">
      <dgm:prSet presAssocID="{C0605643-7BEC-414F-A488-91D2253B1A68}" presName="textBox1" presStyleLbl="revTx" presStyleIdx="0" presStyleCnt="1" custScaleX="897662" custScaleY="45465" custLinFactNeighborX="-3178" custLinFactNeighborY="-40257">
        <dgm:presLayoutVars>
          <dgm:bulletEnabled val="1"/>
        </dgm:presLayoutVars>
      </dgm:prSet>
      <dgm:spPr/>
      <dgm:t>
        <a:bodyPr/>
        <a:lstStyle/>
        <a:p>
          <a:endParaRPr lang="en-GB"/>
        </a:p>
      </dgm:t>
    </dgm:pt>
  </dgm:ptLst>
  <dgm:cxnLst>
    <dgm:cxn modelId="{C9190B68-FD44-4F7E-B1BA-81C4C1B6FD3E}" type="presOf" srcId="{A58B1A84-9478-4FB0-A12D-891568CF6814}" destId="{2E354E41-D6D8-46A3-9BB5-FB6C022E452E}" srcOrd="0" destOrd="0" presId="urn:microsoft.com/office/officeart/2005/8/layout/arrow2"/>
    <dgm:cxn modelId="{1BB8E753-573C-4171-8DC0-099671FB1DE0}" type="presOf" srcId="{C0605643-7BEC-414F-A488-91D2253B1A68}" destId="{AD9C7666-C280-4240-AF39-6B599BC50DF1}" srcOrd="0" destOrd="0" presId="urn:microsoft.com/office/officeart/2005/8/layout/arrow2"/>
    <dgm:cxn modelId="{35A28D1D-99F4-4C93-A852-3CB65369D4FF}" srcId="{A58B1A84-9478-4FB0-A12D-891568CF6814}" destId="{C0605643-7BEC-414F-A488-91D2253B1A68}" srcOrd="0" destOrd="0" parTransId="{8DFEA2E5-1823-485B-ACFB-04ECB84885DA}" sibTransId="{0EE5D598-827E-4EE7-A29E-DBFB04075483}"/>
    <dgm:cxn modelId="{8C9DD11F-1B86-430B-BA6A-43F0E496833E}" type="presParOf" srcId="{2E354E41-D6D8-46A3-9BB5-FB6C022E452E}" destId="{D139E97F-C539-4DB7-ACE9-FDFF0ED482A4}" srcOrd="0" destOrd="0" presId="urn:microsoft.com/office/officeart/2005/8/layout/arrow2"/>
    <dgm:cxn modelId="{CE31C73D-42CD-4F15-B270-6B4507963823}" type="presParOf" srcId="{2E354E41-D6D8-46A3-9BB5-FB6C022E452E}" destId="{F8CC307E-5F56-4F96-A1AC-F769136B62BC}" srcOrd="1" destOrd="0" presId="urn:microsoft.com/office/officeart/2005/8/layout/arrow2"/>
    <dgm:cxn modelId="{A73E2AFD-C00B-4DF0-8904-5C91882601D0}" type="presParOf" srcId="{F8CC307E-5F56-4F96-A1AC-F769136B62BC}" destId="{4B702267-7018-46BF-BBE5-0A2EC5E2D6E4}" srcOrd="0" destOrd="0" presId="urn:microsoft.com/office/officeart/2005/8/layout/arrow2"/>
    <dgm:cxn modelId="{084A407B-4A83-46B8-A3D5-9405ADF7E0D7}" type="presParOf" srcId="{F8CC307E-5F56-4F96-A1AC-F769136B62BC}" destId="{AD9C7666-C280-4240-AF39-6B599BC50DF1}" srcOrd="1" destOrd="0" presId="urn:microsoft.com/office/officeart/2005/8/layout/arrow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75174B1-7152-402D-B9B9-7DDC02ED0FE1}"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CA"/>
        </a:p>
      </dgm:t>
    </dgm:pt>
    <dgm:pt modelId="{AB070204-A580-4A1C-B151-F8B09593FE26}">
      <dgm:prSet phldrT="[Texte]"/>
      <dgm:spPr>
        <a:blipFill rotWithShape="0">
          <a:blip xmlns:r="http://schemas.openxmlformats.org/officeDocument/2006/relationships" r:embed="rId1"/>
          <a:stretch>
            <a:fillRect/>
          </a:stretch>
        </a:blipFill>
      </dgm:spPr>
      <dgm:t>
        <a:bodyPr/>
        <a:lstStyle/>
        <a:p>
          <a:r>
            <a:rPr lang="en-US" dirty="0" smtClean="0"/>
            <a:t> </a:t>
          </a:r>
          <a:endParaRPr lang="en-CA" dirty="0"/>
        </a:p>
      </dgm:t>
    </dgm:pt>
    <dgm:pt modelId="{BD64A585-6896-478B-9EA8-A1309C0A46EA}" type="parTrans" cxnId="{5BDE9059-3BFD-49AA-81C4-7CA0CDD0C943}">
      <dgm:prSet/>
      <dgm:spPr/>
      <dgm:t>
        <a:bodyPr/>
        <a:lstStyle/>
        <a:p>
          <a:endParaRPr lang="en-CA"/>
        </a:p>
      </dgm:t>
    </dgm:pt>
    <dgm:pt modelId="{50089BB9-1910-46F9-8AA5-6025C08C39A9}" type="sibTrans" cxnId="{5BDE9059-3BFD-49AA-81C4-7CA0CDD0C943}">
      <dgm:prSet/>
      <dgm:spPr/>
      <dgm:t>
        <a:bodyPr/>
        <a:lstStyle/>
        <a:p>
          <a:endParaRPr lang="en-CA"/>
        </a:p>
      </dgm:t>
    </dgm:pt>
    <dgm:pt modelId="{B0067EF8-1AA6-4D3B-BDD8-C6005451288B}">
      <dgm:prSet phldrT="[Texte]"/>
      <dgm:spPr>
        <a:blipFill rotWithShape="0">
          <a:blip xmlns:r="http://schemas.openxmlformats.org/officeDocument/2006/relationships" r:embed="rId2"/>
          <a:stretch>
            <a:fillRect/>
          </a:stretch>
        </a:blipFill>
      </dgm:spPr>
      <dgm:t>
        <a:bodyPr/>
        <a:lstStyle/>
        <a:p>
          <a:r>
            <a:rPr lang="en-US" dirty="0" smtClean="0"/>
            <a:t> </a:t>
          </a:r>
          <a:endParaRPr lang="en-CA" dirty="0"/>
        </a:p>
      </dgm:t>
    </dgm:pt>
    <dgm:pt modelId="{59ED6FFB-7B25-45A8-994F-6229DB7496FD}" type="parTrans" cxnId="{564A50B4-00F0-4924-AD48-C3B069CB47D5}">
      <dgm:prSet/>
      <dgm:spPr/>
      <dgm:t>
        <a:bodyPr/>
        <a:lstStyle/>
        <a:p>
          <a:endParaRPr lang="en-CA"/>
        </a:p>
      </dgm:t>
    </dgm:pt>
    <dgm:pt modelId="{BC0CC8AD-0210-46BC-811D-081A9904706F}" type="sibTrans" cxnId="{564A50B4-00F0-4924-AD48-C3B069CB47D5}">
      <dgm:prSet/>
      <dgm:spPr/>
      <dgm:t>
        <a:bodyPr/>
        <a:lstStyle/>
        <a:p>
          <a:endParaRPr lang="en-CA"/>
        </a:p>
      </dgm:t>
    </dgm:pt>
    <dgm:pt modelId="{FF68FD6E-B02E-4307-A407-5F8B32B77CD8}">
      <dgm:prSet phldrT="[Texte]"/>
      <dgm:spPr/>
      <dgm:t>
        <a:bodyPr/>
        <a:lstStyle/>
        <a:p>
          <a:r>
            <a:rPr lang="en-US" dirty="0" smtClean="0">
              <a:solidFill>
                <a:srgbClr val="FF0000"/>
              </a:solidFill>
            </a:rPr>
            <a:t>CO</a:t>
          </a:r>
          <a:r>
            <a:rPr lang="en-US" baseline="-25000" dirty="0" smtClean="0">
              <a:solidFill>
                <a:srgbClr val="FF0000"/>
              </a:solidFill>
            </a:rPr>
            <a:t>2</a:t>
          </a:r>
          <a:endParaRPr lang="en-CA" baseline="-25000" dirty="0">
            <a:solidFill>
              <a:srgbClr val="FF0000"/>
            </a:solidFill>
          </a:endParaRPr>
        </a:p>
      </dgm:t>
    </dgm:pt>
    <dgm:pt modelId="{937C60CE-F262-4E2B-AE1E-1446BD343E6E}" type="parTrans" cxnId="{C85C6DEB-76C8-40BC-BA42-C9DDA9D9088B}">
      <dgm:prSet/>
      <dgm:spPr/>
      <dgm:t>
        <a:bodyPr/>
        <a:lstStyle/>
        <a:p>
          <a:endParaRPr lang="en-CA"/>
        </a:p>
      </dgm:t>
    </dgm:pt>
    <dgm:pt modelId="{90948133-F3F6-4B93-B7B0-17AF742FD51D}" type="sibTrans" cxnId="{C85C6DEB-76C8-40BC-BA42-C9DDA9D9088B}">
      <dgm:prSet/>
      <dgm:spPr/>
      <dgm:t>
        <a:bodyPr/>
        <a:lstStyle/>
        <a:p>
          <a:endParaRPr lang="en-CA"/>
        </a:p>
      </dgm:t>
    </dgm:pt>
    <dgm:pt modelId="{FA8526EC-85C0-428C-8A50-4CCAA0A0BA08}">
      <dgm:prSet phldrT="[Texte]"/>
      <dgm:spPr>
        <a:blipFill rotWithShape="0">
          <a:blip xmlns:r="http://schemas.openxmlformats.org/officeDocument/2006/relationships" r:embed="rId3"/>
          <a:stretch>
            <a:fillRect/>
          </a:stretch>
        </a:blipFill>
      </dgm:spPr>
      <dgm:t>
        <a:bodyPr/>
        <a:lstStyle/>
        <a:p>
          <a:r>
            <a:rPr lang="en-US" dirty="0" smtClean="0"/>
            <a:t> </a:t>
          </a:r>
          <a:endParaRPr lang="en-CA" dirty="0"/>
        </a:p>
      </dgm:t>
    </dgm:pt>
    <dgm:pt modelId="{5751AC39-C58B-4D43-A92A-14BAD6C7FCC3}" type="parTrans" cxnId="{12B81967-B456-49C9-9ABE-4CA3957C0488}">
      <dgm:prSet/>
      <dgm:spPr/>
      <dgm:t>
        <a:bodyPr/>
        <a:lstStyle/>
        <a:p>
          <a:endParaRPr lang="en-CA"/>
        </a:p>
      </dgm:t>
    </dgm:pt>
    <dgm:pt modelId="{AE702E27-0F0B-4B2C-B933-8696CAD6D80F}" type="sibTrans" cxnId="{12B81967-B456-49C9-9ABE-4CA3957C0488}">
      <dgm:prSet/>
      <dgm:spPr/>
      <dgm:t>
        <a:bodyPr/>
        <a:lstStyle/>
        <a:p>
          <a:endParaRPr lang="en-CA"/>
        </a:p>
      </dgm:t>
    </dgm:pt>
    <dgm:pt modelId="{C31C351F-848C-4EE8-9DC7-3B575D6BA4AC}">
      <dgm:prSet phldrT="[Texte]"/>
      <dgm:spPr>
        <a:blipFill rotWithShape="0">
          <a:blip xmlns:r="http://schemas.openxmlformats.org/officeDocument/2006/relationships" r:embed="rId4"/>
          <a:stretch>
            <a:fillRect/>
          </a:stretch>
        </a:blipFill>
      </dgm:spPr>
      <dgm:t>
        <a:bodyPr/>
        <a:lstStyle/>
        <a:p>
          <a:r>
            <a:rPr lang="en-US" dirty="0" smtClean="0"/>
            <a:t> </a:t>
          </a:r>
          <a:endParaRPr lang="en-CA" dirty="0"/>
        </a:p>
      </dgm:t>
    </dgm:pt>
    <dgm:pt modelId="{6CA4DE77-A08E-4883-BD61-B4A6B0011642}" type="sibTrans" cxnId="{1E21EC68-A8B8-49D0-91E5-D1BC4B43E9F4}">
      <dgm:prSet/>
      <dgm:spPr/>
      <dgm:t>
        <a:bodyPr/>
        <a:lstStyle/>
        <a:p>
          <a:endParaRPr lang="en-CA"/>
        </a:p>
      </dgm:t>
    </dgm:pt>
    <dgm:pt modelId="{7465FA7A-D025-461F-A871-340CFC17748A}" type="parTrans" cxnId="{1E21EC68-A8B8-49D0-91E5-D1BC4B43E9F4}">
      <dgm:prSet/>
      <dgm:spPr/>
      <dgm:t>
        <a:bodyPr/>
        <a:lstStyle/>
        <a:p>
          <a:endParaRPr lang="en-CA"/>
        </a:p>
      </dgm:t>
    </dgm:pt>
    <dgm:pt modelId="{060155C8-1A7A-4487-82A0-2F0322E57341}" type="pres">
      <dgm:prSet presAssocID="{875174B1-7152-402D-B9B9-7DDC02ED0FE1}" presName="cycle" presStyleCnt="0">
        <dgm:presLayoutVars>
          <dgm:dir/>
          <dgm:resizeHandles val="exact"/>
        </dgm:presLayoutVars>
      </dgm:prSet>
      <dgm:spPr/>
      <dgm:t>
        <a:bodyPr/>
        <a:lstStyle/>
        <a:p>
          <a:endParaRPr lang="en-CA"/>
        </a:p>
      </dgm:t>
    </dgm:pt>
    <dgm:pt modelId="{A3A4B2A0-3A28-4275-BE8B-7773D2133FCF}" type="pres">
      <dgm:prSet presAssocID="{AB070204-A580-4A1C-B151-F8B09593FE26}" presName="dummy" presStyleCnt="0"/>
      <dgm:spPr/>
    </dgm:pt>
    <dgm:pt modelId="{AF5FF492-E780-4A64-8127-87F974F8FB93}" type="pres">
      <dgm:prSet presAssocID="{AB070204-A580-4A1C-B151-F8B09593FE26}" presName="node" presStyleLbl="revTx" presStyleIdx="0" presStyleCnt="5">
        <dgm:presLayoutVars>
          <dgm:bulletEnabled val="1"/>
        </dgm:presLayoutVars>
      </dgm:prSet>
      <dgm:spPr/>
      <dgm:t>
        <a:bodyPr/>
        <a:lstStyle/>
        <a:p>
          <a:endParaRPr lang="en-CA"/>
        </a:p>
      </dgm:t>
    </dgm:pt>
    <dgm:pt modelId="{02BC43F9-714C-453E-BE02-82B381E70E77}" type="pres">
      <dgm:prSet presAssocID="{50089BB9-1910-46F9-8AA5-6025C08C39A9}" presName="sibTrans" presStyleLbl="node1" presStyleIdx="0" presStyleCnt="5"/>
      <dgm:spPr/>
      <dgm:t>
        <a:bodyPr/>
        <a:lstStyle/>
        <a:p>
          <a:endParaRPr lang="en-CA"/>
        </a:p>
      </dgm:t>
    </dgm:pt>
    <dgm:pt modelId="{A278E37F-5F5C-416E-B68D-6E235E768A8E}" type="pres">
      <dgm:prSet presAssocID="{B0067EF8-1AA6-4D3B-BDD8-C6005451288B}" presName="dummy" presStyleCnt="0"/>
      <dgm:spPr/>
    </dgm:pt>
    <dgm:pt modelId="{5DB59003-6D34-440E-B129-44FA5617B239}" type="pres">
      <dgm:prSet presAssocID="{B0067EF8-1AA6-4D3B-BDD8-C6005451288B}" presName="node" presStyleLbl="revTx" presStyleIdx="1" presStyleCnt="5">
        <dgm:presLayoutVars>
          <dgm:bulletEnabled val="1"/>
        </dgm:presLayoutVars>
      </dgm:prSet>
      <dgm:spPr/>
      <dgm:t>
        <a:bodyPr/>
        <a:lstStyle/>
        <a:p>
          <a:endParaRPr lang="en-CA"/>
        </a:p>
      </dgm:t>
    </dgm:pt>
    <dgm:pt modelId="{175D3E0B-1C8B-4931-8AD7-513FC743758C}" type="pres">
      <dgm:prSet presAssocID="{BC0CC8AD-0210-46BC-811D-081A9904706F}" presName="sibTrans" presStyleLbl="node1" presStyleIdx="1" presStyleCnt="5"/>
      <dgm:spPr/>
      <dgm:t>
        <a:bodyPr/>
        <a:lstStyle/>
        <a:p>
          <a:endParaRPr lang="en-CA"/>
        </a:p>
      </dgm:t>
    </dgm:pt>
    <dgm:pt modelId="{791A0E96-3C62-4683-A6BB-B935720CEBEF}" type="pres">
      <dgm:prSet presAssocID="{FF68FD6E-B02E-4307-A407-5F8B32B77CD8}" presName="dummy" presStyleCnt="0"/>
      <dgm:spPr/>
    </dgm:pt>
    <dgm:pt modelId="{2CE2074A-0B12-41BC-A593-32CA98E47929}" type="pres">
      <dgm:prSet presAssocID="{FF68FD6E-B02E-4307-A407-5F8B32B77CD8}" presName="node" presStyleLbl="revTx" presStyleIdx="2" presStyleCnt="5">
        <dgm:presLayoutVars>
          <dgm:bulletEnabled val="1"/>
        </dgm:presLayoutVars>
      </dgm:prSet>
      <dgm:spPr/>
      <dgm:t>
        <a:bodyPr/>
        <a:lstStyle/>
        <a:p>
          <a:endParaRPr lang="en-CA"/>
        </a:p>
      </dgm:t>
    </dgm:pt>
    <dgm:pt modelId="{FEC19210-E0EB-4032-A2F7-A0E80B7A9E53}" type="pres">
      <dgm:prSet presAssocID="{90948133-F3F6-4B93-B7B0-17AF742FD51D}" presName="sibTrans" presStyleLbl="node1" presStyleIdx="2" presStyleCnt="5"/>
      <dgm:spPr/>
      <dgm:t>
        <a:bodyPr/>
        <a:lstStyle/>
        <a:p>
          <a:endParaRPr lang="en-CA"/>
        </a:p>
      </dgm:t>
    </dgm:pt>
    <dgm:pt modelId="{689578BF-9903-49D3-9649-8B9D814B2E0E}" type="pres">
      <dgm:prSet presAssocID="{FA8526EC-85C0-428C-8A50-4CCAA0A0BA08}" presName="dummy" presStyleCnt="0"/>
      <dgm:spPr/>
    </dgm:pt>
    <dgm:pt modelId="{F183A5D6-4CC4-4561-BCE1-F87DC605943E}" type="pres">
      <dgm:prSet presAssocID="{FA8526EC-85C0-428C-8A50-4CCAA0A0BA08}" presName="node" presStyleLbl="revTx" presStyleIdx="3" presStyleCnt="5" custScaleX="80565" custScaleY="91638">
        <dgm:presLayoutVars>
          <dgm:bulletEnabled val="1"/>
        </dgm:presLayoutVars>
      </dgm:prSet>
      <dgm:spPr/>
      <dgm:t>
        <a:bodyPr/>
        <a:lstStyle/>
        <a:p>
          <a:endParaRPr lang="en-CA"/>
        </a:p>
      </dgm:t>
    </dgm:pt>
    <dgm:pt modelId="{C457B129-5BDB-4CB4-B14F-FF1000EA9821}" type="pres">
      <dgm:prSet presAssocID="{AE702E27-0F0B-4B2C-B933-8696CAD6D80F}" presName="sibTrans" presStyleLbl="node1" presStyleIdx="3" presStyleCnt="5"/>
      <dgm:spPr/>
      <dgm:t>
        <a:bodyPr/>
        <a:lstStyle/>
        <a:p>
          <a:endParaRPr lang="en-CA"/>
        </a:p>
      </dgm:t>
    </dgm:pt>
    <dgm:pt modelId="{4524578E-3176-4A87-8C3F-A039D8016CC5}" type="pres">
      <dgm:prSet presAssocID="{C31C351F-848C-4EE8-9DC7-3B575D6BA4AC}" presName="dummy" presStyleCnt="0"/>
      <dgm:spPr/>
    </dgm:pt>
    <dgm:pt modelId="{658B5312-5364-4E56-B448-2B73D50BB05F}" type="pres">
      <dgm:prSet presAssocID="{C31C351F-848C-4EE8-9DC7-3B575D6BA4AC}" presName="node" presStyleLbl="revTx" presStyleIdx="4" presStyleCnt="5">
        <dgm:presLayoutVars>
          <dgm:bulletEnabled val="1"/>
        </dgm:presLayoutVars>
      </dgm:prSet>
      <dgm:spPr/>
      <dgm:t>
        <a:bodyPr/>
        <a:lstStyle/>
        <a:p>
          <a:endParaRPr lang="en-CA"/>
        </a:p>
      </dgm:t>
    </dgm:pt>
    <dgm:pt modelId="{844C723B-33F9-4695-9D46-DC0BD1951545}" type="pres">
      <dgm:prSet presAssocID="{6CA4DE77-A08E-4883-BD61-B4A6B0011642}" presName="sibTrans" presStyleLbl="node1" presStyleIdx="4" presStyleCnt="5"/>
      <dgm:spPr/>
      <dgm:t>
        <a:bodyPr/>
        <a:lstStyle/>
        <a:p>
          <a:endParaRPr lang="en-CA"/>
        </a:p>
      </dgm:t>
    </dgm:pt>
  </dgm:ptLst>
  <dgm:cxnLst>
    <dgm:cxn modelId="{12B81967-B456-49C9-9ABE-4CA3957C0488}" srcId="{875174B1-7152-402D-B9B9-7DDC02ED0FE1}" destId="{FA8526EC-85C0-428C-8A50-4CCAA0A0BA08}" srcOrd="3" destOrd="0" parTransId="{5751AC39-C58B-4D43-A92A-14BAD6C7FCC3}" sibTransId="{AE702E27-0F0B-4B2C-B933-8696CAD6D80F}"/>
    <dgm:cxn modelId="{210FE7C3-E9DF-4A35-A887-7B987255C911}" type="presOf" srcId="{AE702E27-0F0B-4B2C-B933-8696CAD6D80F}" destId="{C457B129-5BDB-4CB4-B14F-FF1000EA9821}" srcOrd="0" destOrd="0" presId="urn:microsoft.com/office/officeart/2005/8/layout/cycle1"/>
    <dgm:cxn modelId="{74D19D15-AEF7-4506-931B-6C2647E3E385}" type="presOf" srcId="{50089BB9-1910-46F9-8AA5-6025C08C39A9}" destId="{02BC43F9-714C-453E-BE02-82B381E70E77}" srcOrd="0" destOrd="0" presId="urn:microsoft.com/office/officeart/2005/8/layout/cycle1"/>
    <dgm:cxn modelId="{5BDE9059-3BFD-49AA-81C4-7CA0CDD0C943}" srcId="{875174B1-7152-402D-B9B9-7DDC02ED0FE1}" destId="{AB070204-A580-4A1C-B151-F8B09593FE26}" srcOrd="0" destOrd="0" parTransId="{BD64A585-6896-478B-9EA8-A1309C0A46EA}" sibTransId="{50089BB9-1910-46F9-8AA5-6025C08C39A9}"/>
    <dgm:cxn modelId="{24B18C59-F319-44BB-BF61-C1D56737025F}" type="presOf" srcId="{875174B1-7152-402D-B9B9-7DDC02ED0FE1}" destId="{060155C8-1A7A-4487-82A0-2F0322E57341}" srcOrd="0" destOrd="0" presId="urn:microsoft.com/office/officeart/2005/8/layout/cycle1"/>
    <dgm:cxn modelId="{564A50B4-00F0-4924-AD48-C3B069CB47D5}" srcId="{875174B1-7152-402D-B9B9-7DDC02ED0FE1}" destId="{B0067EF8-1AA6-4D3B-BDD8-C6005451288B}" srcOrd="1" destOrd="0" parTransId="{59ED6FFB-7B25-45A8-994F-6229DB7496FD}" sibTransId="{BC0CC8AD-0210-46BC-811D-081A9904706F}"/>
    <dgm:cxn modelId="{D9353C1E-E19B-4F01-A156-23D5D6DDF99C}" type="presOf" srcId="{90948133-F3F6-4B93-B7B0-17AF742FD51D}" destId="{FEC19210-E0EB-4032-A2F7-A0E80B7A9E53}" srcOrd="0" destOrd="0" presId="urn:microsoft.com/office/officeart/2005/8/layout/cycle1"/>
    <dgm:cxn modelId="{F12914C0-BA3F-4A5C-BB86-1806D838D829}" type="presOf" srcId="{6CA4DE77-A08E-4883-BD61-B4A6B0011642}" destId="{844C723B-33F9-4695-9D46-DC0BD1951545}" srcOrd="0" destOrd="0" presId="urn:microsoft.com/office/officeart/2005/8/layout/cycle1"/>
    <dgm:cxn modelId="{1B9922FF-8287-4B08-8209-37326BBB3A38}" type="presOf" srcId="{FA8526EC-85C0-428C-8A50-4CCAA0A0BA08}" destId="{F183A5D6-4CC4-4561-BCE1-F87DC605943E}" srcOrd="0" destOrd="0" presId="urn:microsoft.com/office/officeart/2005/8/layout/cycle1"/>
    <dgm:cxn modelId="{735F4BC7-A432-4D69-B4E4-0640E752D058}" type="presOf" srcId="{BC0CC8AD-0210-46BC-811D-081A9904706F}" destId="{175D3E0B-1C8B-4931-8AD7-513FC743758C}" srcOrd="0" destOrd="0" presId="urn:microsoft.com/office/officeart/2005/8/layout/cycle1"/>
    <dgm:cxn modelId="{9668FDF7-00C6-4C18-864C-5DCB03856FFA}" type="presOf" srcId="{AB070204-A580-4A1C-B151-F8B09593FE26}" destId="{AF5FF492-E780-4A64-8127-87F974F8FB93}" srcOrd="0" destOrd="0" presId="urn:microsoft.com/office/officeart/2005/8/layout/cycle1"/>
    <dgm:cxn modelId="{C85C6DEB-76C8-40BC-BA42-C9DDA9D9088B}" srcId="{875174B1-7152-402D-B9B9-7DDC02ED0FE1}" destId="{FF68FD6E-B02E-4307-A407-5F8B32B77CD8}" srcOrd="2" destOrd="0" parTransId="{937C60CE-F262-4E2B-AE1E-1446BD343E6E}" sibTransId="{90948133-F3F6-4B93-B7B0-17AF742FD51D}"/>
    <dgm:cxn modelId="{A89F7099-A24D-42B7-A5DE-0F5FE9E401A5}" type="presOf" srcId="{C31C351F-848C-4EE8-9DC7-3B575D6BA4AC}" destId="{658B5312-5364-4E56-B448-2B73D50BB05F}" srcOrd="0" destOrd="0" presId="urn:microsoft.com/office/officeart/2005/8/layout/cycle1"/>
    <dgm:cxn modelId="{1E21EC68-A8B8-49D0-91E5-D1BC4B43E9F4}" srcId="{875174B1-7152-402D-B9B9-7DDC02ED0FE1}" destId="{C31C351F-848C-4EE8-9DC7-3B575D6BA4AC}" srcOrd="4" destOrd="0" parTransId="{7465FA7A-D025-461F-A871-340CFC17748A}" sibTransId="{6CA4DE77-A08E-4883-BD61-B4A6B0011642}"/>
    <dgm:cxn modelId="{7F8BF42B-79E0-4A27-B552-422A00839312}" type="presOf" srcId="{B0067EF8-1AA6-4D3B-BDD8-C6005451288B}" destId="{5DB59003-6D34-440E-B129-44FA5617B239}" srcOrd="0" destOrd="0" presId="urn:microsoft.com/office/officeart/2005/8/layout/cycle1"/>
    <dgm:cxn modelId="{DCBC1511-2827-475D-A721-B119EA9704C1}" type="presOf" srcId="{FF68FD6E-B02E-4307-A407-5F8B32B77CD8}" destId="{2CE2074A-0B12-41BC-A593-32CA98E47929}" srcOrd="0" destOrd="0" presId="urn:microsoft.com/office/officeart/2005/8/layout/cycle1"/>
    <dgm:cxn modelId="{8559AF67-57EA-4A1D-83D5-C98AEE9F51C8}" type="presParOf" srcId="{060155C8-1A7A-4487-82A0-2F0322E57341}" destId="{A3A4B2A0-3A28-4275-BE8B-7773D2133FCF}" srcOrd="0" destOrd="0" presId="urn:microsoft.com/office/officeart/2005/8/layout/cycle1"/>
    <dgm:cxn modelId="{168690A3-6CEF-4724-B064-1EF00DE75B7B}" type="presParOf" srcId="{060155C8-1A7A-4487-82A0-2F0322E57341}" destId="{AF5FF492-E780-4A64-8127-87F974F8FB93}" srcOrd="1" destOrd="0" presId="urn:microsoft.com/office/officeart/2005/8/layout/cycle1"/>
    <dgm:cxn modelId="{6CC9DE0C-265C-4F79-8D1C-28D50E296C39}" type="presParOf" srcId="{060155C8-1A7A-4487-82A0-2F0322E57341}" destId="{02BC43F9-714C-453E-BE02-82B381E70E77}" srcOrd="2" destOrd="0" presId="urn:microsoft.com/office/officeart/2005/8/layout/cycle1"/>
    <dgm:cxn modelId="{ABAC6B15-EB0D-4A88-8BAE-E3570B711168}" type="presParOf" srcId="{060155C8-1A7A-4487-82A0-2F0322E57341}" destId="{A278E37F-5F5C-416E-B68D-6E235E768A8E}" srcOrd="3" destOrd="0" presId="urn:microsoft.com/office/officeart/2005/8/layout/cycle1"/>
    <dgm:cxn modelId="{C9B0F362-F5E1-420F-8462-09F0E71833F8}" type="presParOf" srcId="{060155C8-1A7A-4487-82A0-2F0322E57341}" destId="{5DB59003-6D34-440E-B129-44FA5617B239}" srcOrd="4" destOrd="0" presId="urn:microsoft.com/office/officeart/2005/8/layout/cycle1"/>
    <dgm:cxn modelId="{7702CE18-39EF-4A28-AAAD-5CE617E5107D}" type="presParOf" srcId="{060155C8-1A7A-4487-82A0-2F0322E57341}" destId="{175D3E0B-1C8B-4931-8AD7-513FC743758C}" srcOrd="5" destOrd="0" presId="urn:microsoft.com/office/officeart/2005/8/layout/cycle1"/>
    <dgm:cxn modelId="{53440432-12C7-4530-90B0-B6385CDABAC9}" type="presParOf" srcId="{060155C8-1A7A-4487-82A0-2F0322E57341}" destId="{791A0E96-3C62-4683-A6BB-B935720CEBEF}" srcOrd="6" destOrd="0" presId="urn:microsoft.com/office/officeart/2005/8/layout/cycle1"/>
    <dgm:cxn modelId="{5942ADA1-42AF-4151-99DC-43B26A6B7B92}" type="presParOf" srcId="{060155C8-1A7A-4487-82A0-2F0322E57341}" destId="{2CE2074A-0B12-41BC-A593-32CA98E47929}" srcOrd="7" destOrd="0" presId="urn:microsoft.com/office/officeart/2005/8/layout/cycle1"/>
    <dgm:cxn modelId="{318FB8FD-84DB-4E9D-B34D-AA90A6688397}" type="presParOf" srcId="{060155C8-1A7A-4487-82A0-2F0322E57341}" destId="{FEC19210-E0EB-4032-A2F7-A0E80B7A9E53}" srcOrd="8" destOrd="0" presId="urn:microsoft.com/office/officeart/2005/8/layout/cycle1"/>
    <dgm:cxn modelId="{D616C154-510A-4B76-A8A7-6A26B20F5ED1}" type="presParOf" srcId="{060155C8-1A7A-4487-82A0-2F0322E57341}" destId="{689578BF-9903-49D3-9649-8B9D814B2E0E}" srcOrd="9" destOrd="0" presId="urn:microsoft.com/office/officeart/2005/8/layout/cycle1"/>
    <dgm:cxn modelId="{14D25C44-E93F-4100-902C-BB192DB341A7}" type="presParOf" srcId="{060155C8-1A7A-4487-82A0-2F0322E57341}" destId="{F183A5D6-4CC4-4561-BCE1-F87DC605943E}" srcOrd="10" destOrd="0" presId="urn:microsoft.com/office/officeart/2005/8/layout/cycle1"/>
    <dgm:cxn modelId="{ED7236D4-94EB-4319-914B-656084D9C6BC}" type="presParOf" srcId="{060155C8-1A7A-4487-82A0-2F0322E57341}" destId="{C457B129-5BDB-4CB4-B14F-FF1000EA9821}" srcOrd="11" destOrd="0" presId="urn:microsoft.com/office/officeart/2005/8/layout/cycle1"/>
    <dgm:cxn modelId="{59F5EDF4-7B92-4F6A-AAA3-7043CAE971C1}" type="presParOf" srcId="{060155C8-1A7A-4487-82A0-2F0322E57341}" destId="{4524578E-3176-4A87-8C3F-A039D8016CC5}" srcOrd="12" destOrd="0" presId="urn:microsoft.com/office/officeart/2005/8/layout/cycle1"/>
    <dgm:cxn modelId="{135CF582-2CCF-4F18-994E-2BEB9B7E83F1}" type="presParOf" srcId="{060155C8-1A7A-4487-82A0-2F0322E57341}" destId="{658B5312-5364-4E56-B448-2B73D50BB05F}" srcOrd="13" destOrd="0" presId="urn:microsoft.com/office/officeart/2005/8/layout/cycle1"/>
    <dgm:cxn modelId="{056759A2-6DDD-44A1-AEF7-920A78E503DB}" type="presParOf" srcId="{060155C8-1A7A-4487-82A0-2F0322E57341}" destId="{844C723B-33F9-4695-9D46-DC0BD1951545}" srcOrd="14"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BB6328A-BB7F-4A7C-A3FB-2A31DAE9379D}" type="doc">
      <dgm:prSet loTypeId="urn:microsoft.com/office/officeart/2005/8/layout/lProcess3" loCatId="process" qsTypeId="urn:microsoft.com/office/officeart/2005/8/quickstyle/simple1" qsCatId="simple" csTypeId="urn:microsoft.com/office/officeart/2005/8/colors/colorful3" csCatId="colorful" phldr="1"/>
      <dgm:spPr/>
      <dgm:t>
        <a:bodyPr/>
        <a:lstStyle/>
        <a:p>
          <a:endParaRPr lang="en-US"/>
        </a:p>
      </dgm:t>
    </dgm:pt>
    <dgm:pt modelId="{6BB4F1B3-727A-4780-86AB-6EA821389C6F}">
      <dgm:prSet/>
      <dgm:spPr/>
      <dgm:t>
        <a:bodyPr/>
        <a:lstStyle/>
        <a:p>
          <a:pPr rtl="0"/>
          <a:r>
            <a:rPr lang="en-US" dirty="0" smtClean="0"/>
            <a:t>Regulatory</a:t>
          </a:r>
          <a:r>
            <a:rPr lang="pt-BR" dirty="0" smtClean="0"/>
            <a:t> Framework</a:t>
          </a:r>
          <a:endParaRPr lang="en-US" dirty="0"/>
        </a:p>
      </dgm:t>
    </dgm:pt>
    <dgm:pt modelId="{337C170C-F8DF-460B-95C3-E8B3DA371FA2}" type="parTrans" cxnId="{AA6EFC72-60AF-467C-A451-677085D96E15}">
      <dgm:prSet/>
      <dgm:spPr/>
      <dgm:t>
        <a:bodyPr/>
        <a:lstStyle/>
        <a:p>
          <a:endParaRPr lang="en-US"/>
        </a:p>
      </dgm:t>
    </dgm:pt>
    <dgm:pt modelId="{7C52F836-1317-44DB-A7F8-DFAC38E8B13A}" type="sibTrans" cxnId="{AA6EFC72-60AF-467C-A451-677085D96E15}">
      <dgm:prSet/>
      <dgm:spPr/>
      <dgm:t>
        <a:bodyPr/>
        <a:lstStyle/>
        <a:p>
          <a:endParaRPr lang="en-US"/>
        </a:p>
      </dgm:t>
    </dgm:pt>
    <dgm:pt modelId="{E2BE6C22-E03C-4A54-98D6-29233F46DBA7}">
      <dgm:prSet custT="1"/>
      <dgm:spPr/>
      <dgm:t>
        <a:bodyPr/>
        <a:lstStyle/>
        <a:p>
          <a:pPr rtl="0"/>
          <a:r>
            <a:rPr lang="pt-BR" sz="2000" dirty="0" smtClean="0"/>
            <a:t>ANP</a:t>
          </a:r>
        </a:p>
        <a:p>
          <a:pPr rtl="0"/>
          <a:r>
            <a:rPr lang="en-US" sz="2000" dirty="0" smtClean="0"/>
            <a:t>Resolution</a:t>
          </a:r>
          <a:r>
            <a:rPr lang="pt-BR" sz="2000" dirty="0" smtClean="0"/>
            <a:t> 20</a:t>
          </a:r>
        </a:p>
        <a:p>
          <a:pPr rtl="0"/>
          <a:r>
            <a:rPr lang="pt-BR" sz="2000" dirty="0" err="1" smtClean="0"/>
            <a:t>June</a:t>
          </a:r>
          <a:r>
            <a:rPr lang="pt-BR" sz="2000" dirty="0" smtClean="0"/>
            <a:t> 2013</a:t>
          </a:r>
          <a:endParaRPr lang="en-US" sz="2000" dirty="0"/>
        </a:p>
      </dgm:t>
    </dgm:pt>
    <dgm:pt modelId="{B9EEB15F-6927-4FF9-AFE0-84148668E5FC}" type="parTrans" cxnId="{31CA1859-48FF-4200-AC0C-6D0DBB0E4B16}">
      <dgm:prSet/>
      <dgm:spPr/>
      <dgm:t>
        <a:bodyPr/>
        <a:lstStyle/>
        <a:p>
          <a:endParaRPr lang="en-US"/>
        </a:p>
      </dgm:t>
    </dgm:pt>
    <dgm:pt modelId="{C08FC609-3747-415F-9B51-2A6389AFC607}" type="sibTrans" cxnId="{31CA1859-48FF-4200-AC0C-6D0DBB0E4B16}">
      <dgm:prSet/>
      <dgm:spPr/>
      <dgm:t>
        <a:bodyPr/>
        <a:lstStyle/>
        <a:p>
          <a:endParaRPr lang="en-US"/>
        </a:p>
      </dgm:t>
    </dgm:pt>
    <dgm:pt modelId="{0F8F6A19-D044-404D-9E97-A2800E33BE1B}">
      <dgm:prSet custT="1"/>
      <dgm:spPr/>
      <dgm:t>
        <a:bodyPr/>
        <a:lstStyle/>
        <a:p>
          <a:pPr rtl="0"/>
          <a:r>
            <a:rPr lang="en-US" sz="1800" dirty="0" smtClean="0"/>
            <a:t>Approves the usage of alternative fuels in country; (ASTM 7566).</a:t>
          </a:r>
          <a:endParaRPr lang="en-US" sz="1800" dirty="0"/>
        </a:p>
      </dgm:t>
    </dgm:pt>
    <dgm:pt modelId="{E84B86BA-E4EC-4A91-9F94-2F7786B4972E}" type="parTrans" cxnId="{A756F483-C07E-4EE7-849D-5A6C2706F3CA}">
      <dgm:prSet/>
      <dgm:spPr/>
      <dgm:t>
        <a:bodyPr/>
        <a:lstStyle/>
        <a:p>
          <a:endParaRPr lang="en-US"/>
        </a:p>
      </dgm:t>
    </dgm:pt>
    <dgm:pt modelId="{896B95CD-2DE3-461C-96F0-57006FFB6C30}" type="sibTrans" cxnId="{A756F483-C07E-4EE7-849D-5A6C2706F3CA}">
      <dgm:prSet/>
      <dgm:spPr/>
      <dgm:t>
        <a:bodyPr/>
        <a:lstStyle/>
        <a:p>
          <a:endParaRPr lang="en-US"/>
        </a:p>
      </dgm:t>
    </dgm:pt>
    <dgm:pt modelId="{E3AF4A05-F2BC-42FD-B3FC-2142BFE4D0D0}">
      <dgm:prSet/>
      <dgm:spPr/>
      <dgm:t>
        <a:bodyPr/>
        <a:lstStyle/>
        <a:p>
          <a:pPr rtl="0"/>
          <a:r>
            <a:rPr lang="pt-BR" dirty="0" err="1" smtClean="0"/>
            <a:t>Brazilian</a:t>
          </a:r>
          <a:r>
            <a:rPr lang="pt-BR" dirty="0" smtClean="0"/>
            <a:t> </a:t>
          </a:r>
          <a:r>
            <a:rPr lang="pt-BR" dirty="0" err="1" smtClean="0"/>
            <a:t>Action</a:t>
          </a:r>
          <a:r>
            <a:rPr lang="pt-BR" dirty="0" smtClean="0"/>
            <a:t> </a:t>
          </a:r>
          <a:r>
            <a:rPr lang="pt-BR" dirty="0" err="1" smtClean="0"/>
            <a:t>Plan</a:t>
          </a:r>
          <a:endParaRPr lang="en-US" dirty="0"/>
        </a:p>
      </dgm:t>
    </dgm:pt>
    <dgm:pt modelId="{7F902802-4358-438D-99B0-09BCD2B3F0B0}" type="parTrans" cxnId="{6CCEA73D-70EE-4700-B257-3F5B6912E795}">
      <dgm:prSet/>
      <dgm:spPr/>
      <dgm:t>
        <a:bodyPr/>
        <a:lstStyle/>
        <a:p>
          <a:endParaRPr lang="en-US"/>
        </a:p>
      </dgm:t>
    </dgm:pt>
    <dgm:pt modelId="{77E6A7E8-D7ED-4E47-971A-089A7F251D88}" type="sibTrans" cxnId="{6CCEA73D-70EE-4700-B257-3F5B6912E795}">
      <dgm:prSet/>
      <dgm:spPr/>
      <dgm:t>
        <a:bodyPr/>
        <a:lstStyle/>
        <a:p>
          <a:endParaRPr lang="en-US"/>
        </a:p>
      </dgm:t>
    </dgm:pt>
    <dgm:pt modelId="{4B281F25-B813-4E84-87D8-B95A44B170B9}">
      <dgm:prSet custT="1"/>
      <dgm:spPr/>
      <dgm:t>
        <a:bodyPr/>
        <a:lstStyle/>
        <a:p>
          <a:pPr rtl="0"/>
          <a:r>
            <a:rPr lang="en-US" sz="2000" dirty="0" smtClean="0"/>
            <a:t>Presented to ICAO during the 38</a:t>
          </a:r>
          <a:r>
            <a:rPr lang="en-US" sz="2000" baseline="30000" dirty="0" smtClean="0"/>
            <a:t>th</a:t>
          </a:r>
          <a:r>
            <a:rPr lang="en-US" sz="2000" dirty="0" smtClean="0"/>
            <a:t> Assembly;</a:t>
          </a:r>
          <a:endParaRPr lang="en-US" sz="2000" dirty="0"/>
        </a:p>
      </dgm:t>
    </dgm:pt>
    <dgm:pt modelId="{CEF22CE3-D424-47AB-9678-73DD609D400F}" type="parTrans" cxnId="{AEFEF8A3-4E10-4621-9184-916FF2C2484F}">
      <dgm:prSet/>
      <dgm:spPr/>
      <dgm:t>
        <a:bodyPr/>
        <a:lstStyle/>
        <a:p>
          <a:endParaRPr lang="en-US"/>
        </a:p>
      </dgm:t>
    </dgm:pt>
    <dgm:pt modelId="{A0CC7E25-4B6F-4420-92EB-FCA5ABE12807}" type="sibTrans" cxnId="{AEFEF8A3-4E10-4621-9184-916FF2C2484F}">
      <dgm:prSet/>
      <dgm:spPr/>
      <dgm:t>
        <a:bodyPr/>
        <a:lstStyle/>
        <a:p>
          <a:endParaRPr lang="en-US"/>
        </a:p>
      </dgm:t>
    </dgm:pt>
    <dgm:pt modelId="{377D6C0E-EECB-46B2-8A1D-EA18D4A5055D}">
      <dgm:prSet custT="1"/>
      <dgm:spPr/>
      <dgm:t>
        <a:bodyPr/>
        <a:lstStyle/>
        <a:p>
          <a:pPr rtl="0"/>
          <a:r>
            <a:rPr lang="en-US" sz="1800" dirty="0" smtClean="0"/>
            <a:t>Brazil presented a reservation to the item in the resolution that propose the 2020 carbon neutral growth.</a:t>
          </a:r>
          <a:endParaRPr lang="en-US" sz="1800" dirty="0"/>
        </a:p>
      </dgm:t>
    </dgm:pt>
    <dgm:pt modelId="{59FDDDF6-44F3-4E59-8053-1A8A853D8DD7}" type="parTrans" cxnId="{BAB6B766-36CB-4EA4-9A51-42DDB0FD1D3D}">
      <dgm:prSet/>
      <dgm:spPr/>
      <dgm:t>
        <a:bodyPr/>
        <a:lstStyle/>
        <a:p>
          <a:endParaRPr lang="en-US"/>
        </a:p>
      </dgm:t>
    </dgm:pt>
    <dgm:pt modelId="{44DCFE9A-E045-4B80-BE60-6B453D777842}" type="sibTrans" cxnId="{BAB6B766-36CB-4EA4-9A51-42DDB0FD1D3D}">
      <dgm:prSet/>
      <dgm:spPr/>
      <dgm:t>
        <a:bodyPr/>
        <a:lstStyle/>
        <a:p>
          <a:endParaRPr lang="en-US"/>
        </a:p>
      </dgm:t>
    </dgm:pt>
    <dgm:pt modelId="{F7F9E4EB-3A63-4565-A4E4-7F95B2414A23}" type="pres">
      <dgm:prSet presAssocID="{7BB6328A-BB7F-4A7C-A3FB-2A31DAE9379D}" presName="Name0" presStyleCnt="0">
        <dgm:presLayoutVars>
          <dgm:chPref val="3"/>
          <dgm:dir/>
          <dgm:animLvl val="lvl"/>
          <dgm:resizeHandles/>
        </dgm:presLayoutVars>
      </dgm:prSet>
      <dgm:spPr/>
      <dgm:t>
        <a:bodyPr/>
        <a:lstStyle/>
        <a:p>
          <a:endParaRPr lang="en-US"/>
        </a:p>
      </dgm:t>
    </dgm:pt>
    <dgm:pt modelId="{CB43DC03-2D06-49FC-A72E-BB8559CD3EB5}" type="pres">
      <dgm:prSet presAssocID="{6BB4F1B3-727A-4780-86AB-6EA821389C6F}" presName="horFlow" presStyleCnt="0"/>
      <dgm:spPr/>
    </dgm:pt>
    <dgm:pt modelId="{360A874D-9707-4FF0-BDFE-6B005695EF70}" type="pres">
      <dgm:prSet presAssocID="{6BB4F1B3-727A-4780-86AB-6EA821389C6F}" presName="bigChev" presStyleLbl="node1" presStyleIdx="0" presStyleCnt="2" custScaleY="132603"/>
      <dgm:spPr/>
      <dgm:t>
        <a:bodyPr/>
        <a:lstStyle/>
        <a:p>
          <a:endParaRPr lang="en-US"/>
        </a:p>
      </dgm:t>
    </dgm:pt>
    <dgm:pt modelId="{EA901F13-0BAE-481F-99DB-503111AA9EAC}" type="pres">
      <dgm:prSet presAssocID="{B9EEB15F-6927-4FF9-AFE0-84148668E5FC}" presName="parTrans" presStyleCnt="0"/>
      <dgm:spPr/>
    </dgm:pt>
    <dgm:pt modelId="{4B7C378F-C778-4F11-A7E2-B2E84900C567}" type="pres">
      <dgm:prSet presAssocID="{E2BE6C22-E03C-4A54-98D6-29233F46DBA7}" presName="node" presStyleLbl="alignAccFollowNode1" presStyleIdx="0" presStyleCnt="4" custScaleX="125495" custScaleY="165368">
        <dgm:presLayoutVars>
          <dgm:bulletEnabled val="1"/>
        </dgm:presLayoutVars>
      </dgm:prSet>
      <dgm:spPr/>
      <dgm:t>
        <a:bodyPr/>
        <a:lstStyle/>
        <a:p>
          <a:endParaRPr lang="en-US"/>
        </a:p>
      </dgm:t>
    </dgm:pt>
    <dgm:pt modelId="{17E88E88-44F9-4510-8AAA-94FF3906917C}" type="pres">
      <dgm:prSet presAssocID="{C08FC609-3747-415F-9B51-2A6389AFC607}" presName="sibTrans" presStyleCnt="0"/>
      <dgm:spPr/>
    </dgm:pt>
    <dgm:pt modelId="{8EDE20D8-72BE-4456-BBF4-7FD333231DA7}" type="pres">
      <dgm:prSet presAssocID="{0F8F6A19-D044-404D-9E97-A2800E33BE1B}" presName="node" presStyleLbl="alignAccFollowNode1" presStyleIdx="1" presStyleCnt="4" custScaleX="152130" custScaleY="160852">
        <dgm:presLayoutVars>
          <dgm:bulletEnabled val="1"/>
        </dgm:presLayoutVars>
      </dgm:prSet>
      <dgm:spPr/>
      <dgm:t>
        <a:bodyPr/>
        <a:lstStyle/>
        <a:p>
          <a:endParaRPr lang="en-US"/>
        </a:p>
      </dgm:t>
    </dgm:pt>
    <dgm:pt modelId="{4CE93279-1990-4D0E-8A02-021CC5E8B921}" type="pres">
      <dgm:prSet presAssocID="{6BB4F1B3-727A-4780-86AB-6EA821389C6F}" presName="vSp" presStyleCnt="0"/>
      <dgm:spPr/>
    </dgm:pt>
    <dgm:pt modelId="{D931621D-1D3E-4408-885C-20F8F5115D5B}" type="pres">
      <dgm:prSet presAssocID="{E3AF4A05-F2BC-42FD-B3FC-2142BFE4D0D0}" presName="horFlow" presStyleCnt="0"/>
      <dgm:spPr/>
    </dgm:pt>
    <dgm:pt modelId="{5635B6F5-0628-4D69-8DC5-CBDEA2613FB1}" type="pres">
      <dgm:prSet presAssocID="{E3AF4A05-F2BC-42FD-B3FC-2142BFE4D0D0}" presName="bigChev" presStyleLbl="node1" presStyleIdx="1" presStyleCnt="2" custScaleY="146915"/>
      <dgm:spPr/>
      <dgm:t>
        <a:bodyPr/>
        <a:lstStyle/>
        <a:p>
          <a:endParaRPr lang="en-US"/>
        </a:p>
      </dgm:t>
    </dgm:pt>
    <dgm:pt modelId="{C0223B8E-24D3-4497-9644-8CA02D3BC1F6}" type="pres">
      <dgm:prSet presAssocID="{CEF22CE3-D424-47AB-9678-73DD609D400F}" presName="parTrans" presStyleCnt="0"/>
      <dgm:spPr/>
    </dgm:pt>
    <dgm:pt modelId="{F71A3ADC-147F-43E3-8285-5E60792CE94E}" type="pres">
      <dgm:prSet presAssocID="{4B281F25-B813-4E84-87D8-B95A44B170B9}" presName="node" presStyleLbl="alignAccFollowNode1" presStyleIdx="2" presStyleCnt="4" custScaleX="131158" custScaleY="177007">
        <dgm:presLayoutVars>
          <dgm:bulletEnabled val="1"/>
        </dgm:presLayoutVars>
      </dgm:prSet>
      <dgm:spPr/>
      <dgm:t>
        <a:bodyPr/>
        <a:lstStyle/>
        <a:p>
          <a:endParaRPr lang="en-US"/>
        </a:p>
      </dgm:t>
    </dgm:pt>
    <dgm:pt modelId="{E47AFF76-0D0E-4BA0-ADEC-B4C580F0D380}" type="pres">
      <dgm:prSet presAssocID="{A0CC7E25-4B6F-4420-92EB-FCA5ABE12807}" presName="sibTrans" presStyleCnt="0"/>
      <dgm:spPr/>
    </dgm:pt>
    <dgm:pt modelId="{B0BB6040-83A5-4C80-8205-7ED935F9ABFC}" type="pres">
      <dgm:prSet presAssocID="{377D6C0E-EECB-46B2-8A1D-EA18D4A5055D}" presName="node" presStyleLbl="alignAccFollowNode1" presStyleIdx="3" presStyleCnt="4" custScaleX="147273" custScaleY="177007">
        <dgm:presLayoutVars>
          <dgm:bulletEnabled val="1"/>
        </dgm:presLayoutVars>
      </dgm:prSet>
      <dgm:spPr/>
      <dgm:t>
        <a:bodyPr/>
        <a:lstStyle/>
        <a:p>
          <a:endParaRPr lang="en-US"/>
        </a:p>
      </dgm:t>
    </dgm:pt>
  </dgm:ptLst>
  <dgm:cxnLst>
    <dgm:cxn modelId="{0A59994E-8AA3-43A0-B0F4-87B0E2E4260F}" type="presOf" srcId="{0F8F6A19-D044-404D-9E97-A2800E33BE1B}" destId="{8EDE20D8-72BE-4456-BBF4-7FD333231DA7}" srcOrd="0" destOrd="0" presId="urn:microsoft.com/office/officeart/2005/8/layout/lProcess3"/>
    <dgm:cxn modelId="{BAB6B766-36CB-4EA4-9A51-42DDB0FD1D3D}" srcId="{E3AF4A05-F2BC-42FD-B3FC-2142BFE4D0D0}" destId="{377D6C0E-EECB-46B2-8A1D-EA18D4A5055D}" srcOrd="1" destOrd="0" parTransId="{59FDDDF6-44F3-4E59-8053-1A8A853D8DD7}" sibTransId="{44DCFE9A-E045-4B80-BE60-6B453D777842}"/>
    <dgm:cxn modelId="{534A69A0-329D-4B8D-8414-61748FE3548F}" type="presOf" srcId="{E2BE6C22-E03C-4A54-98D6-29233F46DBA7}" destId="{4B7C378F-C778-4F11-A7E2-B2E84900C567}" srcOrd="0" destOrd="0" presId="urn:microsoft.com/office/officeart/2005/8/layout/lProcess3"/>
    <dgm:cxn modelId="{24FD1139-C345-430F-95F9-4CE2F8A811D6}" type="presOf" srcId="{E3AF4A05-F2BC-42FD-B3FC-2142BFE4D0D0}" destId="{5635B6F5-0628-4D69-8DC5-CBDEA2613FB1}" srcOrd="0" destOrd="0" presId="urn:microsoft.com/office/officeart/2005/8/layout/lProcess3"/>
    <dgm:cxn modelId="{94689B3F-AD45-46B6-88A0-768930EB3553}" type="presOf" srcId="{7BB6328A-BB7F-4A7C-A3FB-2A31DAE9379D}" destId="{F7F9E4EB-3A63-4565-A4E4-7F95B2414A23}" srcOrd="0" destOrd="0" presId="urn:microsoft.com/office/officeart/2005/8/layout/lProcess3"/>
    <dgm:cxn modelId="{AEFEF8A3-4E10-4621-9184-916FF2C2484F}" srcId="{E3AF4A05-F2BC-42FD-B3FC-2142BFE4D0D0}" destId="{4B281F25-B813-4E84-87D8-B95A44B170B9}" srcOrd="0" destOrd="0" parTransId="{CEF22CE3-D424-47AB-9678-73DD609D400F}" sibTransId="{A0CC7E25-4B6F-4420-92EB-FCA5ABE12807}"/>
    <dgm:cxn modelId="{2397BCCB-F0D4-4F58-8A2F-5292F4B834E5}" type="presOf" srcId="{6BB4F1B3-727A-4780-86AB-6EA821389C6F}" destId="{360A874D-9707-4FF0-BDFE-6B005695EF70}" srcOrd="0" destOrd="0" presId="urn:microsoft.com/office/officeart/2005/8/layout/lProcess3"/>
    <dgm:cxn modelId="{AA6EFC72-60AF-467C-A451-677085D96E15}" srcId="{7BB6328A-BB7F-4A7C-A3FB-2A31DAE9379D}" destId="{6BB4F1B3-727A-4780-86AB-6EA821389C6F}" srcOrd="0" destOrd="0" parTransId="{337C170C-F8DF-460B-95C3-E8B3DA371FA2}" sibTransId="{7C52F836-1317-44DB-A7F8-DFAC38E8B13A}"/>
    <dgm:cxn modelId="{BA1516E2-E0D7-4DF3-9254-E277474162DC}" type="presOf" srcId="{377D6C0E-EECB-46B2-8A1D-EA18D4A5055D}" destId="{B0BB6040-83A5-4C80-8205-7ED935F9ABFC}" srcOrd="0" destOrd="0" presId="urn:microsoft.com/office/officeart/2005/8/layout/lProcess3"/>
    <dgm:cxn modelId="{A756F483-C07E-4EE7-849D-5A6C2706F3CA}" srcId="{6BB4F1B3-727A-4780-86AB-6EA821389C6F}" destId="{0F8F6A19-D044-404D-9E97-A2800E33BE1B}" srcOrd="1" destOrd="0" parTransId="{E84B86BA-E4EC-4A91-9F94-2F7786B4972E}" sibTransId="{896B95CD-2DE3-461C-96F0-57006FFB6C30}"/>
    <dgm:cxn modelId="{31CA1859-48FF-4200-AC0C-6D0DBB0E4B16}" srcId="{6BB4F1B3-727A-4780-86AB-6EA821389C6F}" destId="{E2BE6C22-E03C-4A54-98D6-29233F46DBA7}" srcOrd="0" destOrd="0" parTransId="{B9EEB15F-6927-4FF9-AFE0-84148668E5FC}" sibTransId="{C08FC609-3747-415F-9B51-2A6389AFC607}"/>
    <dgm:cxn modelId="{F248DDE2-F955-4158-A3FC-E7F4DC1AEE29}" type="presOf" srcId="{4B281F25-B813-4E84-87D8-B95A44B170B9}" destId="{F71A3ADC-147F-43E3-8285-5E60792CE94E}" srcOrd="0" destOrd="0" presId="urn:microsoft.com/office/officeart/2005/8/layout/lProcess3"/>
    <dgm:cxn modelId="{6CCEA73D-70EE-4700-B257-3F5B6912E795}" srcId="{7BB6328A-BB7F-4A7C-A3FB-2A31DAE9379D}" destId="{E3AF4A05-F2BC-42FD-B3FC-2142BFE4D0D0}" srcOrd="1" destOrd="0" parTransId="{7F902802-4358-438D-99B0-09BCD2B3F0B0}" sibTransId="{77E6A7E8-D7ED-4E47-971A-089A7F251D88}"/>
    <dgm:cxn modelId="{4B4D5F0D-2B98-47D6-8883-15714CB19610}" type="presParOf" srcId="{F7F9E4EB-3A63-4565-A4E4-7F95B2414A23}" destId="{CB43DC03-2D06-49FC-A72E-BB8559CD3EB5}" srcOrd="0" destOrd="0" presId="urn:microsoft.com/office/officeart/2005/8/layout/lProcess3"/>
    <dgm:cxn modelId="{24D27EA4-8E84-4844-91D2-161F0145DDE6}" type="presParOf" srcId="{CB43DC03-2D06-49FC-A72E-BB8559CD3EB5}" destId="{360A874D-9707-4FF0-BDFE-6B005695EF70}" srcOrd="0" destOrd="0" presId="urn:microsoft.com/office/officeart/2005/8/layout/lProcess3"/>
    <dgm:cxn modelId="{61AF25B9-E6CF-40DA-A06A-83FD298CAC87}" type="presParOf" srcId="{CB43DC03-2D06-49FC-A72E-BB8559CD3EB5}" destId="{EA901F13-0BAE-481F-99DB-503111AA9EAC}" srcOrd="1" destOrd="0" presId="urn:microsoft.com/office/officeart/2005/8/layout/lProcess3"/>
    <dgm:cxn modelId="{8216E430-D536-47D9-94F7-90689E8A40E6}" type="presParOf" srcId="{CB43DC03-2D06-49FC-A72E-BB8559CD3EB5}" destId="{4B7C378F-C778-4F11-A7E2-B2E84900C567}" srcOrd="2" destOrd="0" presId="urn:microsoft.com/office/officeart/2005/8/layout/lProcess3"/>
    <dgm:cxn modelId="{C3A66C85-F10A-49A4-880D-872203FA3ADD}" type="presParOf" srcId="{CB43DC03-2D06-49FC-A72E-BB8559CD3EB5}" destId="{17E88E88-44F9-4510-8AAA-94FF3906917C}" srcOrd="3" destOrd="0" presId="urn:microsoft.com/office/officeart/2005/8/layout/lProcess3"/>
    <dgm:cxn modelId="{4C5ED5B5-4AC6-405A-802A-CC6E274B683B}" type="presParOf" srcId="{CB43DC03-2D06-49FC-A72E-BB8559CD3EB5}" destId="{8EDE20D8-72BE-4456-BBF4-7FD333231DA7}" srcOrd="4" destOrd="0" presId="urn:microsoft.com/office/officeart/2005/8/layout/lProcess3"/>
    <dgm:cxn modelId="{22B4BCA8-872D-4600-8709-1E3870292576}" type="presParOf" srcId="{F7F9E4EB-3A63-4565-A4E4-7F95B2414A23}" destId="{4CE93279-1990-4D0E-8A02-021CC5E8B921}" srcOrd="1" destOrd="0" presId="urn:microsoft.com/office/officeart/2005/8/layout/lProcess3"/>
    <dgm:cxn modelId="{D8FA53B3-D8E7-46CD-8D39-25E7567224BC}" type="presParOf" srcId="{F7F9E4EB-3A63-4565-A4E4-7F95B2414A23}" destId="{D931621D-1D3E-4408-885C-20F8F5115D5B}" srcOrd="2" destOrd="0" presId="urn:microsoft.com/office/officeart/2005/8/layout/lProcess3"/>
    <dgm:cxn modelId="{CC2AF11C-1684-4F36-8BBD-EC1B31B8D0C7}" type="presParOf" srcId="{D931621D-1D3E-4408-885C-20F8F5115D5B}" destId="{5635B6F5-0628-4D69-8DC5-CBDEA2613FB1}" srcOrd="0" destOrd="0" presId="urn:microsoft.com/office/officeart/2005/8/layout/lProcess3"/>
    <dgm:cxn modelId="{93FCFAC2-2BF7-40B0-976C-3B068C3BD286}" type="presParOf" srcId="{D931621D-1D3E-4408-885C-20F8F5115D5B}" destId="{C0223B8E-24D3-4497-9644-8CA02D3BC1F6}" srcOrd="1" destOrd="0" presId="urn:microsoft.com/office/officeart/2005/8/layout/lProcess3"/>
    <dgm:cxn modelId="{A640D5E5-01FA-4CFA-978B-58EF7333A053}" type="presParOf" srcId="{D931621D-1D3E-4408-885C-20F8F5115D5B}" destId="{F71A3ADC-147F-43E3-8285-5E60792CE94E}" srcOrd="2" destOrd="0" presId="urn:microsoft.com/office/officeart/2005/8/layout/lProcess3"/>
    <dgm:cxn modelId="{A0FC3A1C-5E1B-46E7-82C2-0A0DC0F0825A}" type="presParOf" srcId="{D931621D-1D3E-4408-885C-20F8F5115D5B}" destId="{E47AFF76-0D0E-4BA0-ADEC-B4C580F0D380}" srcOrd="3" destOrd="0" presId="urn:microsoft.com/office/officeart/2005/8/layout/lProcess3"/>
    <dgm:cxn modelId="{06BC29CF-88B8-4F51-A819-747BBBFFFC87}" type="presParOf" srcId="{D931621D-1D3E-4408-885C-20F8F5115D5B}" destId="{B0BB6040-83A5-4C80-8205-7ED935F9ABFC}" srcOrd="4"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F20BDB0-58BF-457B-9420-10D4FB7B7BA3}"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BAF28B9A-FE32-4F49-A264-35225376377E}">
      <dgm:prSet/>
      <dgm:spPr/>
      <dgm:t>
        <a:bodyPr/>
        <a:lstStyle/>
        <a:p>
          <a:pPr rtl="0"/>
          <a:r>
            <a:rPr lang="en-US" dirty="0" smtClean="0"/>
            <a:t>ALTERNATIVE JET FUEL SUSTAINABILITY ANALYSIS LCA FOR SUGARCANE FEEDSTOCK</a:t>
          </a:r>
        </a:p>
      </dgm:t>
    </dgm:pt>
    <dgm:pt modelId="{D901D9B7-C67F-48E7-895C-86F3C96CCC49}" type="parTrans" cxnId="{1F356EB9-ADDE-47B8-A959-6C8C027E2691}">
      <dgm:prSet/>
      <dgm:spPr/>
      <dgm:t>
        <a:bodyPr/>
        <a:lstStyle/>
        <a:p>
          <a:endParaRPr lang="en-US"/>
        </a:p>
      </dgm:t>
    </dgm:pt>
    <dgm:pt modelId="{C042FF75-3115-44D5-B1E2-F52BC17C03A1}" type="sibTrans" cxnId="{1F356EB9-ADDE-47B8-A959-6C8C027E2691}">
      <dgm:prSet/>
      <dgm:spPr/>
      <dgm:t>
        <a:bodyPr/>
        <a:lstStyle/>
        <a:p>
          <a:endParaRPr lang="en-US"/>
        </a:p>
      </dgm:t>
    </dgm:pt>
    <dgm:pt modelId="{DE3AE69B-B2F4-4D9A-A476-4F78FAE9B062}">
      <dgm:prSet/>
      <dgm:spPr/>
      <dgm:t>
        <a:bodyPr/>
        <a:lstStyle/>
        <a:p>
          <a:pPr rtl="0"/>
          <a:r>
            <a:rPr lang="en-US" dirty="0" smtClean="0"/>
            <a:t>ASSESSMENT OF CNG NEEDS FOR BRAZILIAN AVIATION</a:t>
          </a:r>
          <a:endParaRPr lang="en-US" dirty="0"/>
        </a:p>
      </dgm:t>
    </dgm:pt>
    <dgm:pt modelId="{97CD14AC-0E19-4E24-9926-8A4FCB882DD0}" type="parTrans" cxnId="{781BA50D-4239-404F-80AF-F00E34A61AA8}">
      <dgm:prSet/>
      <dgm:spPr/>
      <dgm:t>
        <a:bodyPr/>
        <a:lstStyle/>
        <a:p>
          <a:endParaRPr lang="en-US"/>
        </a:p>
      </dgm:t>
    </dgm:pt>
    <dgm:pt modelId="{1C03A445-599A-47B2-BF49-7CC932F878A8}" type="sibTrans" cxnId="{781BA50D-4239-404F-80AF-F00E34A61AA8}">
      <dgm:prSet/>
      <dgm:spPr/>
      <dgm:t>
        <a:bodyPr/>
        <a:lstStyle/>
        <a:p>
          <a:endParaRPr lang="en-US"/>
        </a:p>
      </dgm:t>
    </dgm:pt>
    <dgm:pt modelId="{1BDCF155-418B-4371-B098-C9DEE5A67F0B}">
      <dgm:prSet/>
      <dgm:spPr/>
      <dgm:t>
        <a:bodyPr/>
        <a:lstStyle/>
        <a:p>
          <a:r>
            <a:rPr lang="en-US" dirty="0" smtClean="0"/>
            <a:t>Objective: Foster the development and adoption of locally produced biofuel, based on existing feedstock sugarcane by providing precise information regarding the environment benefits of this particular type of renewable biofuel.</a:t>
          </a:r>
          <a:endParaRPr lang="en-US" dirty="0"/>
        </a:p>
      </dgm:t>
    </dgm:pt>
    <dgm:pt modelId="{E4ACAD2C-0D34-4A7F-808E-8F6061EB5426}" type="parTrans" cxnId="{0EE906E0-18D5-4578-82BB-B87897C9EB65}">
      <dgm:prSet/>
      <dgm:spPr/>
      <dgm:t>
        <a:bodyPr/>
        <a:lstStyle/>
        <a:p>
          <a:endParaRPr lang="en-US"/>
        </a:p>
      </dgm:t>
    </dgm:pt>
    <dgm:pt modelId="{BED6EAD0-C2D0-4F7A-8BB0-9BFBEBA5585A}" type="sibTrans" cxnId="{0EE906E0-18D5-4578-82BB-B87897C9EB65}">
      <dgm:prSet/>
      <dgm:spPr/>
      <dgm:t>
        <a:bodyPr/>
        <a:lstStyle/>
        <a:p>
          <a:endParaRPr lang="en-US"/>
        </a:p>
      </dgm:t>
    </dgm:pt>
    <dgm:pt modelId="{F1C0169F-20F2-4059-AD23-2950372FB4CA}">
      <dgm:prSet/>
      <dgm:spPr/>
      <dgm:t>
        <a:bodyPr/>
        <a:lstStyle/>
        <a:p>
          <a:r>
            <a:rPr lang="en-US" dirty="0" smtClean="0"/>
            <a:t>Objective: Provide support for government and industry actions/decisions based on a common goal for renewable bio-jet fuel production within the country. </a:t>
          </a:r>
          <a:endParaRPr lang="en-US" dirty="0"/>
        </a:p>
      </dgm:t>
    </dgm:pt>
    <dgm:pt modelId="{7B9E49A3-CFE9-4E66-931D-FE1D385F309F}" type="parTrans" cxnId="{861D1D9B-1FD8-4868-AC8C-DB5730860DF3}">
      <dgm:prSet/>
      <dgm:spPr/>
      <dgm:t>
        <a:bodyPr/>
        <a:lstStyle/>
        <a:p>
          <a:endParaRPr lang="en-US"/>
        </a:p>
      </dgm:t>
    </dgm:pt>
    <dgm:pt modelId="{99C6EA59-179F-4C2F-86A0-F800FACB6F5E}" type="sibTrans" cxnId="{861D1D9B-1FD8-4868-AC8C-DB5730860DF3}">
      <dgm:prSet/>
      <dgm:spPr/>
      <dgm:t>
        <a:bodyPr/>
        <a:lstStyle/>
        <a:p>
          <a:endParaRPr lang="en-US"/>
        </a:p>
      </dgm:t>
    </dgm:pt>
    <dgm:pt modelId="{245876D6-1787-4E22-8232-05CDDC929BBA}" type="pres">
      <dgm:prSet presAssocID="{EF20BDB0-58BF-457B-9420-10D4FB7B7BA3}" presName="Name0" presStyleCnt="0">
        <dgm:presLayoutVars>
          <dgm:dir/>
          <dgm:animLvl val="lvl"/>
          <dgm:resizeHandles val="exact"/>
        </dgm:presLayoutVars>
      </dgm:prSet>
      <dgm:spPr/>
      <dgm:t>
        <a:bodyPr/>
        <a:lstStyle/>
        <a:p>
          <a:endParaRPr lang="en-US"/>
        </a:p>
      </dgm:t>
    </dgm:pt>
    <dgm:pt modelId="{68E72A42-FA26-4F3B-B4EE-71EE29B263A4}" type="pres">
      <dgm:prSet presAssocID="{BAF28B9A-FE32-4F49-A264-35225376377E}" presName="linNode" presStyleCnt="0"/>
      <dgm:spPr/>
    </dgm:pt>
    <dgm:pt modelId="{30159C95-75D8-4048-A7CF-1E79E05CD77F}" type="pres">
      <dgm:prSet presAssocID="{BAF28B9A-FE32-4F49-A264-35225376377E}" presName="parentText" presStyleLbl="node1" presStyleIdx="0" presStyleCnt="2">
        <dgm:presLayoutVars>
          <dgm:chMax val="1"/>
          <dgm:bulletEnabled val="1"/>
        </dgm:presLayoutVars>
      </dgm:prSet>
      <dgm:spPr/>
      <dgm:t>
        <a:bodyPr/>
        <a:lstStyle/>
        <a:p>
          <a:endParaRPr lang="en-US"/>
        </a:p>
      </dgm:t>
    </dgm:pt>
    <dgm:pt modelId="{C2BC272A-001E-4335-85A4-017FD9308A02}" type="pres">
      <dgm:prSet presAssocID="{BAF28B9A-FE32-4F49-A264-35225376377E}" presName="descendantText" presStyleLbl="alignAccFollowNode1" presStyleIdx="0" presStyleCnt="2" custScaleX="97396">
        <dgm:presLayoutVars>
          <dgm:bulletEnabled val="1"/>
        </dgm:presLayoutVars>
      </dgm:prSet>
      <dgm:spPr/>
      <dgm:t>
        <a:bodyPr/>
        <a:lstStyle/>
        <a:p>
          <a:endParaRPr lang="en-US"/>
        </a:p>
      </dgm:t>
    </dgm:pt>
    <dgm:pt modelId="{02FD6425-88D8-49AD-9FC1-08CA6BF1F80F}" type="pres">
      <dgm:prSet presAssocID="{C042FF75-3115-44D5-B1E2-F52BC17C03A1}" presName="sp" presStyleCnt="0"/>
      <dgm:spPr/>
    </dgm:pt>
    <dgm:pt modelId="{EBE82740-1707-4BB2-B538-732529C56F72}" type="pres">
      <dgm:prSet presAssocID="{DE3AE69B-B2F4-4D9A-A476-4F78FAE9B062}" presName="linNode" presStyleCnt="0"/>
      <dgm:spPr/>
    </dgm:pt>
    <dgm:pt modelId="{4288CB79-85AD-4055-ADCE-6B36169E8637}" type="pres">
      <dgm:prSet presAssocID="{DE3AE69B-B2F4-4D9A-A476-4F78FAE9B062}" presName="parentText" presStyleLbl="node1" presStyleIdx="1" presStyleCnt="2">
        <dgm:presLayoutVars>
          <dgm:chMax val="1"/>
          <dgm:bulletEnabled val="1"/>
        </dgm:presLayoutVars>
      </dgm:prSet>
      <dgm:spPr/>
      <dgm:t>
        <a:bodyPr/>
        <a:lstStyle/>
        <a:p>
          <a:endParaRPr lang="en-US"/>
        </a:p>
      </dgm:t>
    </dgm:pt>
    <dgm:pt modelId="{09597B70-C898-4446-AF8F-97A33213C24A}" type="pres">
      <dgm:prSet presAssocID="{DE3AE69B-B2F4-4D9A-A476-4F78FAE9B062}" presName="descendantText" presStyleLbl="alignAccFollowNode1" presStyleIdx="1" presStyleCnt="2" custScaleX="94792" custLinFactNeighborX="2316">
        <dgm:presLayoutVars>
          <dgm:bulletEnabled val="1"/>
        </dgm:presLayoutVars>
      </dgm:prSet>
      <dgm:spPr/>
      <dgm:t>
        <a:bodyPr/>
        <a:lstStyle/>
        <a:p>
          <a:endParaRPr lang="en-US"/>
        </a:p>
      </dgm:t>
    </dgm:pt>
  </dgm:ptLst>
  <dgm:cxnLst>
    <dgm:cxn modelId="{781BA50D-4239-404F-80AF-F00E34A61AA8}" srcId="{EF20BDB0-58BF-457B-9420-10D4FB7B7BA3}" destId="{DE3AE69B-B2F4-4D9A-A476-4F78FAE9B062}" srcOrd="1" destOrd="0" parTransId="{97CD14AC-0E19-4E24-9926-8A4FCB882DD0}" sibTransId="{1C03A445-599A-47B2-BF49-7CC932F878A8}"/>
    <dgm:cxn modelId="{4CDE6B51-D447-4C16-9BBA-7DD1424786B7}" type="presOf" srcId="{F1C0169F-20F2-4059-AD23-2950372FB4CA}" destId="{09597B70-C898-4446-AF8F-97A33213C24A}" srcOrd="0" destOrd="0" presId="urn:microsoft.com/office/officeart/2005/8/layout/vList5"/>
    <dgm:cxn modelId="{2D4D854E-C402-449A-9F7E-F641EAE5A275}" type="presOf" srcId="{1BDCF155-418B-4371-B098-C9DEE5A67F0B}" destId="{C2BC272A-001E-4335-85A4-017FD9308A02}" srcOrd="0" destOrd="0" presId="urn:microsoft.com/office/officeart/2005/8/layout/vList5"/>
    <dgm:cxn modelId="{0EE906E0-18D5-4578-82BB-B87897C9EB65}" srcId="{BAF28B9A-FE32-4F49-A264-35225376377E}" destId="{1BDCF155-418B-4371-B098-C9DEE5A67F0B}" srcOrd="0" destOrd="0" parTransId="{E4ACAD2C-0D34-4A7F-808E-8F6061EB5426}" sibTransId="{BED6EAD0-C2D0-4F7A-8BB0-9BFBEBA5585A}"/>
    <dgm:cxn modelId="{54B0E453-7432-4D02-AB39-94FA109E4156}" type="presOf" srcId="{DE3AE69B-B2F4-4D9A-A476-4F78FAE9B062}" destId="{4288CB79-85AD-4055-ADCE-6B36169E8637}" srcOrd="0" destOrd="0" presId="urn:microsoft.com/office/officeart/2005/8/layout/vList5"/>
    <dgm:cxn modelId="{BC9B8351-0C04-4E06-AA35-55414CF3723D}" type="presOf" srcId="{BAF28B9A-FE32-4F49-A264-35225376377E}" destId="{30159C95-75D8-4048-A7CF-1E79E05CD77F}" srcOrd="0" destOrd="0" presId="urn:microsoft.com/office/officeart/2005/8/layout/vList5"/>
    <dgm:cxn modelId="{1F356EB9-ADDE-47B8-A959-6C8C027E2691}" srcId="{EF20BDB0-58BF-457B-9420-10D4FB7B7BA3}" destId="{BAF28B9A-FE32-4F49-A264-35225376377E}" srcOrd="0" destOrd="0" parTransId="{D901D9B7-C67F-48E7-895C-86F3C96CCC49}" sibTransId="{C042FF75-3115-44D5-B1E2-F52BC17C03A1}"/>
    <dgm:cxn modelId="{B2A4630E-7C88-40BB-B9AE-6D8112C97DBA}" type="presOf" srcId="{EF20BDB0-58BF-457B-9420-10D4FB7B7BA3}" destId="{245876D6-1787-4E22-8232-05CDDC929BBA}" srcOrd="0" destOrd="0" presId="urn:microsoft.com/office/officeart/2005/8/layout/vList5"/>
    <dgm:cxn modelId="{861D1D9B-1FD8-4868-AC8C-DB5730860DF3}" srcId="{DE3AE69B-B2F4-4D9A-A476-4F78FAE9B062}" destId="{F1C0169F-20F2-4059-AD23-2950372FB4CA}" srcOrd="0" destOrd="0" parTransId="{7B9E49A3-CFE9-4E66-931D-FE1D385F309F}" sibTransId="{99C6EA59-179F-4C2F-86A0-F800FACB6F5E}"/>
    <dgm:cxn modelId="{13B3468C-33F4-44AA-9713-BAA0B4F0E4E4}" type="presParOf" srcId="{245876D6-1787-4E22-8232-05CDDC929BBA}" destId="{68E72A42-FA26-4F3B-B4EE-71EE29B263A4}" srcOrd="0" destOrd="0" presId="urn:microsoft.com/office/officeart/2005/8/layout/vList5"/>
    <dgm:cxn modelId="{403C565F-80F8-42FC-A9F9-AC4E4C13C20F}" type="presParOf" srcId="{68E72A42-FA26-4F3B-B4EE-71EE29B263A4}" destId="{30159C95-75D8-4048-A7CF-1E79E05CD77F}" srcOrd="0" destOrd="0" presId="urn:microsoft.com/office/officeart/2005/8/layout/vList5"/>
    <dgm:cxn modelId="{CE49EBDF-A895-4391-81C3-1E9139ABB316}" type="presParOf" srcId="{68E72A42-FA26-4F3B-B4EE-71EE29B263A4}" destId="{C2BC272A-001E-4335-85A4-017FD9308A02}" srcOrd="1" destOrd="0" presId="urn:microsoft.com/office/officeart/2005/8/layout/vList5"/>
    <dgm:cxn modelId="{E63EB48A-FDDB-4E5A-9BBE-D20AB7CCD03D}" type="presParOf" srcId="{245876D6-1787-4E22-8232-05CDDC929BBA}" destId="{02FD6425-88D8-49AD-9FC1-08CA6BF1F80F}" srcOrd="1" destOrd="0" presId="urn:microsoft.com/office/officeart/2005/8/layout/vList5"/>
    <dgm:cxn modelId="{104FBBAA-B16E-46B2-9C15-F50915A40CFF}" type="presParOf" srcId="{245876D6-1787-4E22-8232-05CDDC929BBA}" destId="{EBE82740-1707-4BB2-B538-732529C56F72}" srcOrd="2" destOrd="0" presId="urn:microsoft.com/office/officeart/2005/8/layout/vList5"/>
    <dgm:cxn modelId="{28D822D7-E2B7-4380-8ABC-BB089AC89632}" type="presParOf" srcId="{EBE82740-1707-4BB2-B538-732529C56F72}" destId="{4288CB79-85AD-4055-ADCE-6B36169E8637}" srcOrd="0" destOrd="0" presId="urn:microsoft.com/office/officeart/2005/8/layout/vList5"/>
    <dgm:cxn modelId="{AD29D84D-685D-472D-8266-1CED5D98D2DE}" type="presParOf" srcId="{EBE82740-1707-4BB2-B538-732529C56F72}" destId="{09597B70-C898-4446-AF8F-97A33213C24A}"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5A6CFA-E942-4F0E-B7E4-9F5823CC94D8}">
      <dsp:nvSpPr>
        <dsp:cNvPr id="0" name=""/>
        <dsp:cNvSpPr/>
      </dsp:nvSpPr>
      <dsp:spPr>
        <a:xfrm>
          <a:off x="3096325" y="1786506"/>
          <a:ext cx="1779984" cy="1289722"/>
        </a:xfrm>
        <a:prstGeom prst="ellips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GB" sz="1600" kern="1200" dirty="0" smtClean="0"/>
            <a:t>Quantify</a:t>
          </a:r>
        </a:p>
        <a:p>
          <a:pPr lvl="0" algn="ctr" defTabSz="711200">
            <a:lnSpc>
              <a:spcPct val="90000"/>
            </a:lnSpc>
            <a:spcBef>
              <a:spcPct val="0"/>
            </a:spcBef>
            <a:spcAft>
              <a:spcPct val="35000"/>
            </a:spcAft>
          </a:pPr>
          <a:r>
            <a:rPr lang="en-GB" sz="1600" kern="1200" dirty="0" smtClean="0"/>
            <a:t>Mitigate</a:t>
          </a:r>
        </a:p>
        <a:p>
          <a:pPr lvl="0" algn="ctr" defTabSz="711200">
            <a:lnSpc>
              <a:spcPct val="90000"/>
            </a:lnSpc>
            <a:spcBef>
              <a:spcPct val="0"/>
            </a:spcBef>
            <a:spcAft>
              <a:spcPct val="35000"/>
            </a:spcAft>
          </a:pPr>
          <a:r>
            <a:rPr lang="en-GB" sz="1600" kern="1200" dirty="0" smtClean="0"/>
            <a:t>Implement</a:t>
          </a:r>
          <a:endParaRPr lang="en-GB" sz="1600" kern="1200" dirty="0"/>
        </a:p>
      </dsp:txBody>
      <dsp:txXfrm>
        <a:off x="3356998" y="1975381"/>
        <a:ext cx="1258638" cy="911972"/>
      </dsp:txXfrm>
    </dsp:sp>
    <dsp:sp modelId="{E22C9DDD-2317-46CD-91B3-FA1475DC203B}">
      <dsp:nvSpPr>
        <dsp:cNvPr id="0" name=""/>
        <dsp:cNvSpPr/>
      </dsp:nvSpPr>
      <dsp:spPr>
        <a:xfrm rot="12017710">
          <a:off x="1219732" y="1541862"/>
          <a:ext cx="1928465" cy="445934"/>
        </a:xfrm>
        <a:prstGeom prst="leftArrow">
          <a:avLst>
            <a:gd name="adj1" fmla="val 60000"/>
            <a:gd name="adj2" fmla="val 50000"/>
          </a:avLst>
        </a:prstGeom>
        <a:solidFill>
          <a:schemeClr val="accent4"/>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4"/>
        </a:fillRef>
        <a:effectRef idx="1">
          <a:schemeClr val="accent4"/>
        </a:effectRef>
        <a:fontRef idx="minor">
          <a:schemeClr val="lt1"/>
        </a:fontRef>
      </dsp:style>
    </dsp:sp>
    <dsp:sp modelId="{91E4D6B0-ADE9-4163-9F6C-923A0DB1B1EE}">
      <dsp:nvSpPr>
        <dsp:cNvPr id="0" name=""/>
        <dsp:cNvSpPr/>
      </dsp:nvSpPr>
      <dsp:spPr>
        <a:xfrm>
          <a:off x="3588" y="1030286"/>
          <a:ext cx="2552011" cy="800185"/>
        </a:xfrm>
        <a:prstGeom prst="roundRect">
          <a:avLst>
            <a:gd name="adj" fmla="val 10000"/>
          </a:avLst>
        </a:prstGeom>
        <a:solidFill>
          <a:schemeClr val="accent4"/>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4"/>
        </a:fillRef>
        <a:effectRef idx="1">
          <a:schemeClr val="accent4"/>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GB" sz="1500" u="none" kern="1200" dirty="0" smtClean="0"/>
            <a:t>Limit or reduce the number of people affected by significant aircraft </a:t>
          </a:r>
          <a:r>
            <a:rPr lang="en-GB" sz="1500" b="1" u="none" kern="1200" dirty="0" smtClean="0"/>
            <a:t>noise</a:t>
          </a:r>
          <a:endParaRPr lang="en-GB" sz="1500" b="1" u="none" kern="1200" dirty="0"/>
        </a:p>
      </dsp:txBody>
      <dsp:txXfrm>
        <a:off x="27025" y="1053723"/>
        <a:ext cx="2505137" cy="753311"/>
      </dsp:txXfrm>
    </dsp:sp>
    <dsp:sp modelId="{51E4E176-E987-49A0-BC7B-8CEE835E8D62}">
      <dsp:nvSpPr>
        <dsp:cNvPr id="0" name=""/>
        <dsp:cNvSpPr/>
      </dsp:nvSpPr>
      <dsp:spPr>
        <a:xfrm rot="16275466">
          <a:off x="3351261" y="820809"/>
          <a:ext cx="1331044" cy="445934"/>
        </a:xfrm>
        <a:prstGeom prst="leftArrow">
          <a:avLst>
            <a:gd name="adj1" fmla="val 60000"/>
            <a:gd name="adj2" fmla="val 50000"/>
          </a:avLst>
        </a:prstGeom>
        <a:solidFill>
          <a:schemeClr val="accent5"/>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5"/>
        </a:fillRef>
        <a:effectRef idx="1">
          <a:schemeClr val="accent5"/>
        </a:effectRef>
        <a:fontRef idx="minor">
          <a:schemeClr val="lt1"/>
        </a:fontRef>
      </dsp:style>
    </dsp:sp>
    <dsp:sp modelId="{D10C4B17-B8F9-4BF1-85C8-26315051E064}">
      <dsp:nvSpPr>
        <dsp:cNvPr id="0" name=""/>
        <dsp:cNvSpPr/>
      </dsp:nvSpPr>
      <dsp:spPr>
        <a:xfrm>
          <a:off x="2711127" y="0"/>
          <a:ext cx="2640529" cy="756828"/>
        </a:xfrm>
        <a:prstGeom prst="roundRect">
          <a:avLst>
            <a:gd name="adj" fmla="val 10000"/>
          </a:avLst>
        </a:prstGeom>
        <a:solidFill>
          <a:schemeClr val="accent5"/>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5"/>
        </a:fillRef>
        <a:effectRef idx="1">
          <a:schemeClr val="accent5"/>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GB" sz="1500" kern="1200" dirty="0" smtClean="0"/>
            <a:t>Limit or reduce the impact of aviation GHG emissions on </a:t>
          </a:r>
          <a:r>
            <a:rPr lang="en-GB" sz="1500" b="1" u="sng" kern="1200" dirty="0" smtClean="0"/>
            <a:t>global climate</a:t>
          </a:r>
          <a:endParaRPr lang="en-GB" sz="1500" b="1" u="sng" kern="1200" dirty="0"/>
        </a:p>
      </dsp:txBody>
      <dsp:txXfrm>
        <a:off x="2733294" y="22167"/>
        <a:ext cx="2596195" cy="712494"/>
      </dsp:txXfrm>
    </dsp:sp>
    <dsp:sp modelId="{B0A0A27C-24A5-4CAC-A83B-42385DDF6644}">
      <dsp:nvSpPr>
        <dsp:cNvPr id="0" name=""/>
        <dsp:cNvSpPr/>
      </dsp:nvSpPr>
      <dsp:spPr>
        <a:xfrm rot="20418476">
          <a:off x="4835548" y="1545439"/>
          <a:ext cx="2006308" cy="445934"/>
        </a:xfrm>
        <a:prstGeom prst="leftArrow">
          <a:avLst>
            <a:gd name="adj1" fmla="val 60000"/>
            <a:gd name="adj2" fmla="val 5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sp>
    <dsp:sp modelId="{A8DEDBD2-9CB9-4037-9D30-B9817E645B12}">
      <dsp:nvSpPr>
        <dsp:cNvPr id="0" name=""/>
        <dsp:cNvSpPr/>
      </dsp:nvSpPr>
      <dsp:spPr>
        <a:xfrm>
          <a:off x="5507184" y="1030286"/>
          <a:ext cx="2552011" cy="800185"/>
        </a:xfrm>
        <a:prstGeom prst="roundRect">
          <a:avLst>
            <a:gd name="adj" fmla="val 10000"/>
          </a:avLst>
        </a:prstGeom>
        <a:solidFill>
          <a:schemeClr val="accent3"/>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3"/>
        </a:fillRef>
        <a:effectRef idx="1">
          <a:schemeClr val="accent3"/>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GB" sz="1500" u="none" kern="1200" dirty="0" smtClean="0"/>
            <a:t>Limit or reduce the impact of aviation emissions on </a:t>
          </a:r>
          <a:r>
            <a:rPr lang="en-GB" sz="1500" b="1" u="none" kern="1200" dirty="0" smtClean="0"/>
            <a:t>local air quality</a:t>
          </a:r>
          <a:endParaRPr lang="en-GB" sz="1500" b="1" u="none" kern="1200" dirty="0"/>
        </a:p>
      </dsp:txBody>
      <dsp:txXfrm>
        <a:off x="5530621" y="1053723"/>
        <a:ext cx="2505137" cy="7533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39E97F-C539-4DB7-ACE9-FDFF0ED482A4}">
      <dsp:nvSpPr>
        <dsp:cNvPr id="0" name=""/>
        <dsp:cNvSpPr/>
      </dsp:nvSpPr>
      <dsp:spPr>
        <a:xfrm>
          <a:off x="934211" y="0"/>
          <a:ext cx="5731907" cy="1011238"/>
        </a:xfrm>
        <a:prstGeom prst="swooshArrow">
          <a:avLst>
            <a:gd name="adj1" fmla="val 25000"/>
            <a:gd name="adj2" fmla="val 25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B702267-7018-46BF-BBE5-0A2EC5E2D6E4}">
      <dsp:nvSpPr>
        <dsp:cNvPr id="0" name=""/>
        <dsp:cNvSpPr/>
      </dsp:nvSpPr>
      <dsp:spPr>
        <a:xfrm>
          <a:off x="6353996" y="196379"/>
          <a:ext cx="119730" cy="119730"/>
        </a:xfrm>
        <a:prstGeom prst="ellipse">
          <a:avLst/>
        </a:prstGeom>
        <a:solidFill>
          <a:schemeClr val="accent5">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9C7666-C280-4240-AF39-6B599BC50DF1}">
      <dsp:nvSpPr>
        <dsp:cNvPr id="0" name=""/>
        <dsp:cNvSpPr/>
      </dsp:nvSpPr>
      <dsp:spPr>
        <a:xfrm>
          <a:off x="1036595" y="168004"/>
          <a:ext cx="5809599" cy="339302"/>
        </a:xfrm>
        <a:prstGeom prst="round2Diag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63443" bIns="0" numCol="1" spcCol="1270" anchor="t" anchorCtr="0">
          <a:noAutofit/>
        </a:bodyPr>
        <a:lstStyle/>
        <a:p>
          <a:pPr lvl="0" algn="ctr" defTabSz="1244600" rtl="0">
            <a:lnSpc>
              <a:spcPct val="90000"/>
            </a:lnSpc>
            <a:spcBef>
              <a:spcPct val="0"/>
            </a:spcBef>
            <a:spcAft>
              <a:spcPct val="35000"/>
            </a:spcAft>
          </a:pPr>
          <a:r>
            <a:rPr lang="en-GB" sz="2800" b="1" u="sng" kern="1200" dirty="0" smtClean="0">
              <a:solidFill>
                <a:schemeClr val="accent5"/>
              </a:solidFill>
            </a:rPr>
            <a:t>Minimize the adverse effect of global civil aviation on the environment</a:t>
          </a:r>
          <a:endParaRPr lang="en-GB" sz="2800" b="1" u="sng" kern="1200" dirty="0">
            <a:solidFill>
              <a:schemeClr val="accent5"/>
            </a:solidFill>
          </a:endParaRPr>
        </a:p>
      </dsp:txBody>
      <dsp:txXfrm>
        <a:off x="1053158" y="184567"/>
        <a:ext cx="5776473" cy="30617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5FF492-E780-4A64-8127-87F974F8FB93}">
      <dsp:nvSpPr>
        <dsp:cNvPr id="0" name=""/>
        <dsp:cNvSpPr/>
      </dsp:nvSpPr>
      <dsp:spPr>
        <a:xfrm>
          <a:off x="1087472" y="7467"/>
          <a:ext cx="246659" cy="246659"/>
        </a:xfrm>
        <a:prstGeom prst="rect">
          <a:avLst/>
        </a:prstGeom>
        <a:blipFill rotWithShape="0">
          <a:blip xmlns:r="http://schemas.openxmlformats.org/officeDocument/2006/relationships" r:embed="rId1"/>
          <a:stretch>
            <a:fillRect/>
          </a:stretch>
        </a:blip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 </a:t>
          </a:r>
          <a:endParaRPr lang="en-CA" sz="1100" kern="1200" dirty="0"/>
        </a:p>
      </dsp:txBody>
      <dsp:txXfrm>
        <a:off x="1087472" y="7467"/>
        <a:ext cx="246659" cy="246659"/>
      </dsp:txXfrm>
    </dsp:sp>
    <dsp:sp modelId="{02BC43F9-714C-453E-BE02-82B381E70E77}">
      <dsp:nvSpPr>
        <dsp:cNvPr id="0" name=""/>
        <dsp:cNvSpPr/>
      </dsp:nvSpPr>
      <dsp:spPr>
        <a:xfrm>
          <a:off x="507115" y="316"/>
          <a:ext cx="924954" cy="924954"/>
        </a:xfrm>
        <a:prstGeom prst="circularArrow">
          <a:avLst>
            <a:gd name="adj1" fmla="val 5200"/>
            <a:gd name="adj2" fmla="val 335909"/>
            <a:gd name="adj3" fmla="val 21293260"/>
            <a:gd name="adj4" fmla="val 19766223"/>
            <a:gd name="adj5" fmla="val 606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DB59003-6D34-440E-B129-44FA5617B239}">
      <dsp:nvSpPr>
        <dsp:cNvPr id="0" name=""/>
        <dsp:cNvSpPr/>
      </dsp:nvSpPr>
      <dsp:spPr>
        <a:xfrm>
          <a:off x="1236548" y="466275"/>
          <a:ext cx="246659" cy="246659"/>
        </a:xfrm>
        <a:prstGeom prst="rect">
          <a:avLst/>
        </a:prstGeom>
        <a:blipFill rotWithShape="0">
          <a:blip xmlns:r="http://schemas.openxmlformats.org/officeDocument/2006/relationships" r:embed="rId2"/>
          <a:stretch>
            <a:fillRect/>
          </a:stretch>
        </a:blip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 </a:t>
          </a:r>
          <a:endParaRPr lang="en-CA" sz="1100" kern="1200" dirty="0"/>
        </a:p>
      </dsp:txBody>
      <dsp:txXfrm>
        <a:off x="1236548" y="466275"/>
        <a:ext cx="246659" cy="246659"/>
      </dsp:txXfrm>
    </dsp:sp>
    <dsp:sp modelId="{175D3E0B-1C8B-4931-8AD7-513FC743758C}">
      <dsp:nvSpPr>
        <dsp:cNvPr id="0" name=""/>
        <dsp:cNvSpPr/>
      </dsp:nvSpPr>
      <dsp:spPr>
        <a:xfrm>
          <a:off x="507115" y="316"/>
          <a:ext cx="924954" cy="924954"/>
        </a:xfrm>
        <a:prstGeom prst="circularArrow">
          <a:avLst>
            <a:gd name="adj1" fmla="val 5200"/>
            <a:gd name="adj2" fmla="val 335909"/>
            <a:gd name="adj3" fmla="val 4014717"/>
            <a:gd name="adj4" fmla="val 2253415"/>
            <a:gd name="adj5" fmla="val 606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E2074A-0B12-41BC-A593-32CA98E47929}">
      <dsp:nvSpPr>
        <dsp:cNvPr id="0" name=""/>
        <dsp:cNvSpPr/>
      </dsp:nvSpPr>
      <dsp:spPr>
        <a:xfrm>
          <a:off x="846262" y="749834"/>
          <a:ext cx="246659" cy="246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solidFill>
                <a:srgbClr val="FF0000"/>
              </a:solidFill>
            </a:rPr>
            <a:t>CO</a:t>
          </a:r>
          <a:r>
            <a:rPr lang="en-US" sz="1100" kern="1200" baseline="-25000" dirty="0" smtClean="0">
              <a:solidFill>
                <a:srgbClr val="FF0000"/>
              </a:solidFill>
            </a:rPr>
            <a:t>2</a:t>
          </a:r>
          <a:endParaRPr lang="en-CA" sz="1100" kern="1200" baseline="-25000" dirty="0">
            <a:solidFill>
              <a:srgbClr val="FF0000"/>
            </a:solidFill>
          </a:endParaRPr>
        </a:p>
      </dsp:txBody>
      <dsp:txXfrm>
        <a:off x="846262" y="749834"/>
        <a:ext cx="246659" cy="246659"/>
      </dsp:txXfrm>
    </dsp:sp>
    <dsp:sp modelId="{FEC19210-E0EB-4032-A2F7-A0E80B7A9E53}">
      <dsp:nvSpPr>
        <dsp:cNvPr id="0" name=""/>
        <dsp:cNvSpPr/>
      </dsp:nvSpPr>
      <dsp:spPr>
        <a:xfrm>
          <a:off x="507115" y="316"/>
          <a:ext cx="924954" cy="924954"/>
        </a:xfrm>
        <a:prstGeom prst="circularArrow">
          <a:avLst>
            <a:gd name="adj1" fmla="val 5200"/>
            <a:gd name="adj2" fmla="val 335909"/>
            <a:gd name="adj3" fmla="val 8318375"/>
            <a:gd name="adj4" fmla="val 6449375"/>
            <a:gd name="adj5" fmla="val 606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83A5D6-4CC4-4561-BCE1-F87DC605943E}">
      <dsp:nvSpPr>
        <dsp:cNvPr id="0" name=""/>
        <dsp:cNvSpPr/>
      </dsp:nvSpPr>
      <dsp:spPr>
        <a:xfrm>
          <a:off x="479946" y="476588"/>
          <a:ext cx="198720" cy="226033"/>
        </a:xfrm>
        <a:prstGeom prst="rect">
          <a:avLst/>
        </a:prstGeom>
        <a:blipFill rotWithShape="0">
          <a:blip xmlns:r="http://schemas.openxmlformats.org/officeDocument/2006/relationships" r:embed="rId3"/>
          <a:stretch>
            <a:fillRect/>
          </a:stretch>
        </a:blip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 </a:t>
          </a:r>
          <a:endParaRPr lang="en-CA" sz="1100" kern="1200" dirty="0"/>
        </a:p>
      </dsp:txBody>
      <dsp:txXfrm>
        <a:off x="479946" y="476588"/>
        <a:ext cx="198720" cy="226033"/>
      </dsp:txXfrm>
    </dsp:sp>
    <dsp:sp modelId="{C457B129-5BDB-4CB4-B14F-FF1000EA9821}">
      <dsp:nvSpPr>
        <dsp:cNvPr id="0" name=""/>
        <dsp:cNvSpPr/>
      </dsp:nvSpPr>
      <dsp:spPr>
        <a:xfrm>
          <a:off x="507115" y="316"/>
          <a:ext cx="924954" cy="924954"/>
        </a:xfrm>
        <a:prstGeom prst="circularArrow">
          <a:avLst>
            <a:gd name="adj1" fmla="val 5200"/>
            <a:gd name="adj2" fmla="val 335909"/>
            <a:gd name="adj3" fmla="val 12297868"/>
            <a:gd name="adj4" fmla="val 10684418"/>
            <a:gd name="adj5" fmla="val 606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58B5312-5364-4E56-B448-2B73D50BB05F}">
      <dsp:nvSpPr>
        <dsp:cNvPr id="0" name=""/>
        <dsp:cNvSpPr/>
      </dsp:nvSpPr>
      <dsp:spPr>
        <a:xfrm>
          <a:off x="605053" y="7467"/>
          <a:ext cx="246659" cy="246659"/>
        </a:xfrm>
        <a:prstGeom prst="rect">
          <a:avLst/>
        </a:prstGeom>
        <a:blipFill rotWithShape="0">
          <a:blip xmlns:r="http://schemas.openxmlformats.org/officeDocument/2006/relationships" r:embed="rId4"/>
          <a:stretch>
            <a:fillRect/>
          </a:stretch>
        </a:blip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 </a:t>
          </a:r>
          <a:endParaRPr lang="en-CA" sz="1100" kern="1200" dirty="0"/>
        </a:p>
      </dsp:txBody>
      <dsp:txXfrm>
        <a:off x="605053" y="7467"/>
        <a:ext cx="246659" cy="246659"/>
      </dsp:txXfrm>
    </dsp:sp>
    <dsp:sp modelId="{844C723B-33F9-4695-9D46-DC0BD1951545}">
      <dsp:nvSpPr>
        <dsp:cNvPr id="0" name=""/>
        <dsp:cNvSpPr/>
      </dsp:nvSpPr>
      <dsp:spPr>
        <a:xfrm>
          <a:off x="507115" y="316"/>
          <a:ext cx="924954" cy="924954"/>
        </a:xfrm>
        <a:prstGeom prst="circularArrow">
          <a:avLst>
            <a:gd name="adj1" fmla="val 5200"/>
            <a:gd name="adj2" fmla="val 335909"/>
            <a:gd name="adj3" fmla="val 16865705"/>
            <a:gd name="adj4" fmla="val 15198386"/>
            <a:gd name="adj5" fmla="val 6067"/>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0A874D-9707-4FF0-BDFE-6B005695EF70}">
      <dsp:nvSpPr>
        <dsp:cNvPr id="0" name=""/>
        <dsp:cNvSpPr/>
      </dsp:nvSpPr>
      <dsp:spPr>
        <a:xfrm>
          <a:off x="1626" y="428832"/>
          <a:ext cx="2982515" cy="1581962"/>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14605" rIns="0" bIns="14605" numCol="1" spcCol="1270" anchor="ctr" anchorCtr="0">
          <a:noAutofit/>
        </a:bodyPr>
        <a:lstStyle/>
        <a:p>
          <a:pPr lvl="0" algn="ctr" defTabSz="1022350" rtl="0">
            <a:lnSpc>
              <a:spcPct val="90000"/>
            </a:lnSpc>
            <a:spcBef>
              <a:spcPct val="0"/>
            </a:spcBef>
            <a:spcAft>
              <a:spcPct val="35000"/>
            </a:spcAft>
          </a:pPr>
          <a:r>
            <a:rPr lang="en-US" sz="2300" kern="1200" dirty="0" smtClean="0"/>
            <a:t>Regulatory</a:t>
          </a:r>
          <a:r>
            <a:rPr lang="pt-BR" sz="2300" kern="1200" dirty="0" smtClean="0"/>
            <a:t> Framework</a:t>
          </a:r>
          <a:endParaRPr lang="en-US" sz="2300" kern="1200" dirty="0"/>
        </a:p>
      </dsp:txBody>
      <dsp:txXfrm>
        <a:off x="792607" y="428832"/>
        <a:ext cx="1400553" cy="1581962"/>
      </dsp:txXfrm>
    </dsp:sp>
    <dsp:sp modelId="{4B7C378F-C778-4F11-A7E2-B2E84900C567}">
      <dsp:nvSpPr>
        <dsp:cNvPr id="0" name=""/>
        <dsp:cNvSpPr/>
      </dsp:nvSpPr>
      <dsp:spPr>
        <a:xfrm>
          <a:off x="2596415" y="401080"/>
          <a:ext cx="3106613" cy="1637465"/>
        </a:xfrm>
        <a:prstGeom prst="chevron">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889000" rtl="0">
            <a:lnSpc>
              <a:spcPct val="90000"/>
            </a:lnSpc>
            <a:spcBef>
              <a:spcPct val="0"/>
            </a:spcBef>
            <a:spcAft>
              <a:spcPct val="35000"/>
            </a:spcAft>
          </a:pPr>
          <a:r>
            <a:rPr lang="pt-BR" sz="2000" kern="1200" dirty="0" smtClean="0"/>
            <a:t>ANP</a:t>
          </a:r>
        </a:p>
        <a:p>
          <a:pPr lvl="0" algn="ctr" defTabSz="889000" rtl="0">
            <a:lnSpc>
              <a:spcPct val="90000"/>
            </a:lnSpc>
            <a:spcBef>
              <a:spcPct val="0"/>
            </a:spcBef>
            <a:spcAft>
              <a:spcPct val="35000"/>
            </a:spcAft>
          </a:pPr>
          <a:r>
            <a:rPr lang="en-US" sz="2000" kern="1200" dirty="0" smtClean="0"/>
            <a:t>Resolution</a:t>
          </a:r>
          <a:r>
            <a:rPr lang="pt-BR" sz="2000" kern="1200" dirty="0" smtClean="0"/>
            <a:t> 20</a:t>
          </a:r>
        </a:p>
        <a:p>
          <a:pPr lvl="0" algn="ctr" defTabSz="889000" rtl="0">
            <a:lnSpc>
              <a:spcPct val="90000"/>
            </a:lnSpc>
            <a:spcBef>
              <a:spcPct val="0"/>
            </a:spcBef>
            <a:spcAft>
              <a:spcPct val="35000"/>
            </a:spcAft>
          </a:pPr>
          <a:r>
            <a:rPr lang="pt-BR" sz="2000" kern="1200" dirty="0" err="1" smtClean="0"/>
            <a:t>June</a:t>
          </a:r>
          <a:r>
            <a:rPr lang="pt-BR" sz="2000" kern="1200" dirty="0" smtClean="0"/>
            <a:t> 2013</a:t>
          </a:r>
          <a:endParaRPr lang="en-US" sz="2000" kern="1200" dirty="0"/>
        </a:p>
      </dsp:txBody>
      <dsp:txXfrm>
        <a:off x="3415148" y="401080"/>
        <a:ext cx="1469148" cy="1637465"/>
      </dsp:txXfrm>
    </dsp:sp>
    <dsp:sp modelId="{8EDE20D8-72BE-4456-BBF4-7FD333231DA7}">
      <dsp:nvSpPr>
        <dsp:cNvPr id="0" name=""/>
        <dsp:cNvSpPr/>
      </dsp:nvSpPr>
      <dsp:spPr>
        <a:xfrm>
          <a:off x="5356460" y="423438"/>
          <a:ext cx="3765959" cy="1592748"/>
        </a:xfrm>
        <a:prstGeom prst="chevron">
          <a:avLst/>
        </a:prstGeom>
        <a:solidFill>
          <a:schemeClr val="accent3">
            <a:tint val="40000"/>
            <a:alpha val="90000"/>
            <a:hueOff val="3572283"/>
            <a:satOff val="-4598"/>
            <a:lumOff val="-358"/>
            <a:alphaOff val="0"/>
          </a:schemeClr>
        </a:solidFill>
        <a:ln w="25400" cap="flat" cmpd="sng" algn="ctr">
          <a:solidFill>
            <a:schemeClr val="accent3">
              <a:tint val="40000"/>
              <a:alpha val="90000"/>
              <a:hueOff val="3572283"/>
              <a:satOff val="-4598"/>
              <a:lumOff val="-35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lvl="0" algn="ctr" defTabSz="800100" rtl="0">
            <a:lnSpc>
              <a:spcPct val="90000"/>
            </a:lnSpc>
            <a:spcBef>
              <a:spcPct val="0"/>
            </a:spcBef>
            <a:spcAft>
              <a:spcPct val="35000"/>
            </a:spcAft>
          </a:pPr>
          <a:r>
            <a:rPr lang="en-US" sz="1800" kern="1200" dirty="0" smtClean="0"/>
            <a:t>Approves the usage of alternative fuels in country; (ASTM 7566).</a:t>
          </a:r>
          <a:endParaRPr lang="en-US" sz="1800" kern="1200" dirty="0"/>
        </a:p>
      </dsp:txBody>
      <dsp:txXfrm>
        <a:off x="6152834" y="423438"/>
        <a:ext cx="2173211" cy="1592748"/>
      </dsp:txXfrm>
    </dsp:sp>
    <dsp:sp modelId="{5635B6F5-0628-4D69-8DC5-CBDEA2613FB1}">
      <dsp:nvSpPr>
        <dsp:cNvPr id="0" name=""/>
        <dsp:cNvSpPr/>
      </dsp:nvSpPr>
      <dsp:spPr>
        <a:xfrm>
          <a:off x="1626" y="2205571"/>
          <a:ext cx="2982515" cy="1752705"/>
        </a:xfrm>
        <a:prstGeom prst="chevron">
          <a:avLst/>
        </a:prstGeom>
        <a:solidFill>
          <a:schemeClr val="accent3">
            <a:hueOff val="11250264"/>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14605" rIns="0" bIns="14605" numCol="1" spcCol="1270" anchor="ctr" anchorCtr="0">
          <a:noAutofit/>
        </a:bodyPr>
        <a:lstStyle/>
        <a:p>
          <a:pPr lvl="0" algn="ctr" defTabSz="1022350" rtl="0">
            <a:lnSpc>
              <a:spcPct val="90000"/>
            </a:lnSpc>
            <a:spcBef>
              <a:spcPct val="0"/>
            </a:spcBef>
            <a:spcAft>
              <a:spcPct val="35000"/>
            </a:spcAft>
          </a:pPr>
          <a:r>
            <a:rPr lang="pt-BR" sz="2300" kern="1200" dirty="0" err="1" smtClean="0"/>
            <a:t>Brazilian</a:t>
          </a:r>
          <a:r>
            <a:rPr lang="pt-BR" sz="2300" kern="1200" dirty="0" smtClean="0"/>
            <a:t> </a:t>
          </a:r>
          <a:r>
            <a:rPr lang="pt-BR" sz="2300" kern="1200" dirty="0" err="1" smtClean="0"/>
            <a:t>Action</a:t>
          </a:r>
          <a:r>
            <a:rPr lang="pt-BR" sz="2300" kern="1200" dirty="0" smtClean="0"/>
            <a:t> </a:t>
          </a:r>
          <a:r>
            <a:rPr lang="pt-BR" sz="2300" kern="1200" dirty="0" err="1" smtClean="0"/>
            <a:t>Plan</a:t>
          </a:r>
          <a:endParaRPr lang="en-US" sz="2300" kern="1200" dirty="0"/>
        </a:p>
      </dsp:txBody>
      <dsp:txXfrm>
        <a:off x="877979" y="2205571"/>
        <a:ext cx="1229810" cy="1752705"/>
      </dsp:txXfrm>
    </dsp:sp>
    <dsp:sp modelId="{F71A3ADC-147F-43E3-8285-5E60792CE94E}">
      <dsp:nvSpPr>
        <dsp:cNvPr id="0" name=""/>
        <dsp:cNvSpPr/>
      </dsp:nvSpPr>
      <dsp:spPr>
        <a:xfrm>
          <a:off x="2596415" y="2205567"/>
          <a:ext cx="3246800" cy="1752714"/>
        </a:xfrm>
        <a:prstGeom prst="chevron">
          <a:avLst/>
        </a:prstGeom>
        <a:solidFill>
          <a:schemeClr val="accent3">
            <a:tint val="40000"/>
            <a:alpha val="90000"/>
            <a:hueOff val="7144567"/>
            <a:satOff val="-9195"/>
            <a:lumOff val="-717"/>
            <a:alphaOff val="0"/>
          </a:schemeClr>
        </a:solidFill>
        <a:ln w="25400" cap="flat" cmpd="sng" algn="ctr">
          <a:solidFill>
            <a:schemeClr val="accent3">
              <a:tint val="40000"/>
              <a:alpha val="90000"/>
              <a:hueOff val="7144567"/>
              <a:satOff val="-9195"/>
              <a:lumOff val="-71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889000" rtl="0">
            <a:lnSpc>
              <a:spcPct val="90000"/>
            </a:lnSpc>
            <a:spcBef>
              <a:spcPct val="0"/>
            </a:spcBef>
            <a:spcAft>
              <a:spcPct val="35000"/>
            </a:spcAft>
          </a:pPr>
          <a:r>
            <a:rPr lang="en-US" sz="2000" kern="1200" dirty="0" smtClean="0"/>
            <a:t>Presented to ICAO during the 38</a:t>
          </a:r>
          <a:r>
            <a:rPr lang="en-US" sz="2000" kern="1200" baseline="30000" dirty="0" smtClean="0"/>
            <a:t>th</a:t>
          </a:r>
          <a:r>
            <a:rPr lang="en-US" sz="2000" kern="1200" dirty="0" smtClean="0"/>
            <a:t> Assembly;</a:t>
          </a:r>
          <a:endParaRPr lang="en-US" sz="2000" kern="1200" dirty="0"/>
        </a:p>
      </dsp:txBody>
      <dsp:txXfrm>
        <a:off x="3472772" y="2205567"/>
        <a:ext cx="1494086" cy="1752714"/>
      </dsp:txXfrm>
    </dsp:sp>
    <dsp:sp modelId="{B0BB6040-83A5-4C80-8205-7ED935F9ABFC}">
      <dsp:nvSpPr>
        <dsp:cNvPr id="0" name=""/>
        <dsp:cNvSpPr/>
      </dsp:nvSpPr>
      <dsp:spPr>
        <a:xfrm>
          <a:off x="5496647" y="2205567"/>
          <a:ext cx="3645725" cy="1752714"/>
        </a:xfrm>
        <a:prstGeom prst="chevron">
          <a:avLst/>
        </a:prstGeom>
        <a:solidFill>
          <a:schemeClr val="accent3">
            <a:tint val="40000"/>
            <a:alpha val="90000"/>
            <a:hueOff val="10716850"/>
            <a:satOff val="-13793"/>
            <a:lumOff val="-1075"/>
            <a:alphaOff val="0"/>
          </a:schemeClr>
        </a:solidFill>
        <a:ln w="25400" cap="flat" cmpd="sng" algn="ctr">
          <a:solidFill>
            <a:schemeClr val="accent3">
              <a:tint val="40000"/>
              <a:alpha val="90000"/>
              <a:hueOff val="10716850"/>
              <a:satOff val="-13793"/>
              <a:lumOff val="-107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lvl="0" algn="ctr" defTabSz="800100" rtl="0">
            <a:lnSpc>
              <a:spcPct val="90000"/>
            </a:lnSpc>
            <a:spcBef>
              <a:spcPct val="0"/>
            </a:spcBef>
            <a:spcAft>
              <a:spcPct val="35000"/>
            </a:spcAft>
          </a:pPr>
          <a:r>
            <a:rPr lang="en-US" sz="1800" kern="1200" dirty="0" smtClean="0"/>
            <a:t>Brazil presented a reservation to the item in the resolution that propose the 2020 carbon neutral growth.</a:t>
          </a:r>
          <a:endParaRPr lang="en-US" sz="1800" kern="1200" dirty="0"/>
        </a:p>
      </dsp:txBody>
      <dsp:txXfrm>
        <a:off x="6373004" y="2205567"/>
        <a:ext cx="1893011" cy="17527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BC272A-001E-4335-85A4-017FD9308A02}">
      <dsp:nvSpPr>
        <dsp:cNvPr id="0" name=""/>
        <dsp:cNvSpPr/>
      </dsp:nvSpPr>
      <dsp:spPr>
        <a:xfrm rot="5400000">
          <a:off x="5542329" y="-2005354"/>
          <a:ext cx="1351181" cy="5699769"/>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smtClean="0"/>
            <a:t>Objective: Foster the development and adoption of locally produced biofuel, based on existing feedstock sugarcane by providing precise information regarding the environment benefits of this particular type of renewable biofuel.</a:t>
          </a:r>
          <a:endParaRPr lang="en-US" sz="1700" kern="1200" dirty="0"/>
        </a:p>
      </dsp:txBody>
      <dsp:txXfrm rot="-5400000">
        <a:off x="3368036" y="234898"/>
        <a:ext cx="5633810" cy="1219263"/>
      </dsp:txXfrm>
    </dsp:sp>
    <dsp:sp modelId="{30159C95-75D8-4048-A7CF-1E79E05CD77F}">
      <dsp:nvSpPr>
        <dsp:cNvPr id="0" name=""/>
        <dsp:cNvSpPr/>
      </dsp:nvSpPr>
      <dsp:spPr>
        <a:xfrm>
          <a:off x="76195" y="42"/>
          <a:ext cx="3291840" cy="1688976"/>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rtl="0">
            <a:lnSpc>
              <a:spcPct val="90000"/>
            </a:lnSpc>
            <a:spcBef>
              <a:spcPct val="0"/>
            </a:spcBef>
            <a:spcAft>
              <a:spcPct val="35000"/>
            </a:spcAft>
          </a:pPr>
          <a:r>
            <a:rPr lang="en-US" sz="2300" kern="1200" dirty="0" smtClean="0"/>
            <a:t>ALTERNATIVE JET FUEL SUSTAINABILITY ANALYSIS LCA FOR SUGARCANE FEEDSTOCK</a:t>
          </a:r>
        </a:p>
      </dsp:txBody>
      <dsp:txXfrm>
        <a:off x="158644" y="82491"/>
        <a:ext cx="3126942" cy="1524078"/>
      </dsp:txXfrm>
    </dsp:sp>
    <dsp:sp modelId="{09597B70-C898-4446-AF8F-97A33213C24A}">
      <dsp:nvSpPr>
        <dsp:cNvPr id="0" name=""/>
        <dsp:cNvSpPr/>
      </dsp:nvSpPr>
      <dsp:spPr>
        <a:xfrm rot="5400000">
          <a:off x="5542373" y="-155734"/>
          <a:ext cx="1351181" cy="5547379"/>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smtClean="0"/>
            <a:t>Objective: Provide support for government and industry actions/decisions based on a common goal for renewable bio-jet fuel production within the country. </a:t>
          </a:r>
          <a:endParaRPr lang="en-US" sz="1700" kern="1200" dirty="0"/>
        </a:p>
      </dsp:txBody>
      <dsp:txXfrm rot="-5400000">
        <a:off x="3444275" y="2008323"/>
        <a:ext cx="5481420" cy="1219263"/>
      </dsp:txXfrm>
    </dsp:sp>
    <dsp:sp modelId="{4288CB79-85AD-4055-ADCE-6B36169E8637}">
      <dsp:nvSpPr>
        <dsp:cNvPr id="0" name=""/>
        <dsp:cNvSpPr/>
      </dsp:nvSpPr>
      <dsp:spPr>
        <a:xfrm>
          <a:off x="76195" y="1773467"/>
          <a:ext cx="3291840" cy="1688976"/>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rtl="0">
            <a:lnSpc>
              <a:spcPct val="90000"/>
            </a:lnSpc>
            <a:spcBef>
              <a:spcPct val="0"/>
            </a:spcBef>
            <a:spcAft>
              <a:spcPct val="35000"/>
            </a:spcAft>
          </a:pPr>
          <a:r>
            <a:rPr lang="en-US" sz="2300" kern="1200" dirty="0" smtClean="0"/>
            <a:t>ASSESSMENT OF CNG NEEDS FOR BRAZILIAN AVIATION</a:t>
          </a:r>
          <a:endParaRPr lang="en-US" sz="2300" kern="1200" dirty="0"/>
        </a:p>
      </dsp:txBody>
      <dsp:txXfrm>
        <a:off x="158644" y="1855916"/>
        <a:ext cx="3126942" cy="1524078"/>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3.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3BE3925-CAC9-443C-A298-E21C3BC823DC}" type="datetimeFigureOut">
              <a:rPr lang="en-US" smtClean="0"/>
              <a:t>1/29/201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593751-CA86-4C5C-90F2-928F79F49543}" type="slidenum">
              <a:rPr lang="en-US" smtClean="0"/>
              <a:t>‹#›</a:t>
            </a:fld>
            <a:endParaRPr lang="en-US"/>
          </a:p>
        </p:txBody>
      </p:sp>
    </p:spTree>
    <p:extLst>
      <p:ext uri="{BB962C8B-B14F-4D97-AF65-F5344CB8AC3E}">
        <p14:creationId xmlns:p14="http://schemas.microsoft.com/office/powerpoint/2010/main" val="473277447"/>
      </p:ext>
    </p:extLst>
  </p:cSld>
  <p:clrMap bg1="lt1" tx1="dk1" bg2="lt2" tx2="dk2" accent1="accent1" accent2="accent2" accent3="accent3" accent4="accent4" accent5="accent5" accent6="accent6" hlink="hlink" folHlink="folHlink"/>
  <p:notesStyle>
    <a:lvl1pPr marL="0" algn="l" defTabSz="914281" rtl="0" eaLnBrk="1" latinLnBrk="0" hangingPunct="1">
      <a:defRPr sz="1200" kern="1200">
        <a:solidFill>
          <a:schemeClr val="tx1"/>
        </a:solidFill>
        <a:latin typeface="+mn-lt"/>
        <a:ea typeface="+mn-ea"/>
        <a:cs typeface="+mn-cs"/>
      </a:defRPr>
    </a:lvl1pPr>
    <a:lvl2pPr marL="457141" algn="l" defTabSz="914281" rtl="0" eaLnBrk="1" latinLnBrk="0" hangingPunct="1">
      <a:defRPr sz="1200" kern="1200">
        <a:solidFill>
          <a:schemeClr val="tx1"/>
        </a:solidFill>
        <a:latin typeface="+mn-lt"/>
        <a:ea typeface="+mn-ea"/>
        <a:cs typeface="+mn-cs"/>
      </a:defRPr>
    </a:lvl2pPr>
    <a:lvl3pPr marL="914281" algn="l" defTabSz="914281" rtl="0" eaLnBrk="1" latinLnBrk="0" hangingPunct="1">
      <a:defRPr sz="1200" kern="1200">
        <a:solidFill>
          <a:schemeClr val="tx1"/>
        </a:solidFill>
        <a:latin typeface="+mn-lt"/>
        <a:ea typeface="+mn-ea"/>
        <a:cs typeface="+mn-cs"/>
      </a:defRPr>
    </a:lvl3pPr>
    <a:lvl4pPr marL="1371423" algn="l" defTabSz="914281" rtl="0" eaLnBrk="1" latinLnBrk="0" hangingPunct="1">
      <a:defRPr sz="1200" kern="1200">
        <a:solidFill>
          <a:schemeClr val="tx1"/>
        </a:solidFill>
        <a:latin typeface="+mn-lt"/>
        <a:ea typeface="+mn-ea"/>
        <a:cs typeface="+mn-cs"/>
      </a:defRPr>
    </a:lvl4pPr>
    <a:lvl5pPr marL="1828563" algn="l" defTabSz="914281" rtl="0" eaLnBrk="1" latinLnBrk="0" hangingPunct="1">
      <a:defRPr sz="1200" kern="1200">
        <a:solidFill>
          <a:schemeClr val="tx1"/>
        </a:solidFill>
        <a:latin typeface="+mn-lt"/>
        <a:ea typeface="+mn-ea"/>
        <a:cs typeface="+mn-cs"/>
      </a:defRPr>
    </a:lvl5pPr>
    <a:lvl6pPr marL="2285704" algn="l" defTabSz="914281" rtl="0" eaLnBrk="1" latinLnBrk="0" hangingPunct="1">
      <a:defRPr sz="1200" kern="1200">
        <a:solidFill>
          <a:schemeClr val="tx1"/>
        </a:solidFill>
        <a:latin typeface="+mn-lt"/>
        <a:ea typeface="+mn-ea"/>
        <a:cs typeface="+mn-cs"/>
      </a:defRPr>
    </a:lvl6pPr>
    <a:lvl7pPr marL="2742844" algn="l" defTabSz="914281" rtl="0" eaLnBrk="1" latinLnBrk="0" hangingPunct="1">
      <a:defRPr sz="1200" kern="1200">
        <a:solidFill>
          <a:schemeClr val="tx1"/>
        </a:solidFill>
        <a:latin typeface="+mn-lt"/>
        <a:ea typeface="+mn-ea"/>
        <a:cs typeface="+mn-cs"/>
      </a:defRPr>
    </a:lvl7pPr>
    <a:lvl8pPr marL="3199985" algn="l" defTabSz="914281" rtl="0" eaLnBrk="1" latinLnBrk="0" hangingPunct="1">
      <a:defRPr sz="1200" kern="1200">
        <a:solidFill>
          <a:schemeClr val="tx1"/>
        </a:solidFill>
        <a:latin typeface="+mn-lt"/>
        <a:ea typeface="+mn-ea"/>
        <a:cs typeface="+mn-cs"/>
      </a:defRPr>
    </a:lvl8pPr>
    <a:lvl9pPr marL="3657126" algn="l" defTabSz="91428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381000" y="685800"/>
            <a:ext cx="6096000" cy="3429000"/>
          </a:xfrm>
          <a:solidFill>
            <a:srgbClr val="FFFFFF"/>
          </a:solidFill>
          <a:ln/>
        </p:spPr>
      </p:sp>
      <p:sp>
        <p:nvSpPr>
          <p:cNvPr id="32771" name="Rectangle 3"/>
          <p:cNvSpPr>
            <a:spLocks noGrp="1" noChangeArrowheads="1"/>
          </p:cNvSpPr>
          <p:nvPr>
            <p:ph type="body" idx="1"/>
          </p:nvPr>
        </p:nvSpPr>
        <p:spPr>
          <a:solidFill>
            <a:srgbClr val="FFFFFF"/>
          </a:solidFill>
          <a:ln>
            <a:solidFill>
              <a:srgbClr val="000000"/>
            </a:solidFill>
          </a:ln>
        </p:spPr>
        <p:txBody>
          <a:bodyPr/>
          <a:lstStyle/>
          <a:p>
            <a:pPr defTabSz="910956">
              <a:defRPr/>
            </a:pPr>
            <a:r>
              <a:rPr lang="en-US" sz="1400" dirty="0"/>
              <a:t>Effort is truly a global one</a:t>
            </a:r>
          </a:p>
          <a:p>
            <a:pPr defTabSz="910956">
              <a:defRPr/>
            </a:pPr>
            <a:endParaRPr lang="en-US" sz="1400" dirty="0"/>
          </a:p>
          <a:p>
            <a:pPr defTabSz="910956">
              <a:defRPr/>
            </a:pPr>
            <a:r>
              <a:rPr lang="en-US" sz="1400" dirty="0"/>
              <a:t>Many different initiatives emerging – </a:t>
            </a:r>
          </a:p>
          <a:p>
            <a:pPr defTabSz="910956">
              <a:defRPr/>
            </a:pPr>
            <a:r>
              <a:rPr lang="en-US" sz="1400" dirty="0"/>
              <a:t>	public-private partnerships, public R&amp;D initiatives, Supply chain efforts </a:t>
            </a:r>
          </a:p>
          <a:p>
            <a:pPr defTabSz="910956">
              <a:defRPr/>
            </a:pPr>
            <a:endParaRPr lang="en-US" sz="1400" dirty="0"/>
          </a:p>
          <a:p>
            <a:pPr defTabSz="910956">
              <a:defRPr/>
            </a:pPr>
            <a:r>
              <a:rPr lang="en-US" sz="1400" dirty="0"/>
              <a:t>FAA &amp; CAAFI have been working to coordinate formally and informally</a:t>
            </a:r>
          </a:p>
          <a:p>
            <a:pPr defTabSz="910956">
              <a:defRPr/>
            </a:pPr>
            <a:r>
              <a:rPr lang="en-US" sz="1400" dirty="0"/>
              <a:t>	</a:t>
            </a:r>
          </a:p>
          <a:p>
            <a:pPr defTabSz="910956">
              <a:defRPr/>
            </a:pPr>
            <a:r>
              <a:rPr lang="en-US" sz="1400" dirty="0" err="1"/>
              <a:t>Inlcuding</a:t>
            </a:r>
            <a:r>
              <a:rPr lang="en-US" sz="1400" dirty="0"/>
              <a:t>:</a:t>
            </a:r>
          </a:p>
          <a:p>
            <a:pPr defTabSz="910956">
              <a:defRPr/>
            </a:pPr>
            <a:r>
              <a:rPr lang="en-US" sz="1400" dirty="0"/>
              <a:t>Govt. to govt. agreements – non-binding cooperative – umbrella for private sector activity – mutual strengthening at policy making level</a:t>
            </a:r>
          </a:p>
          <a:p>
            <a:pPr defTabSz="910956">
              <a:defRPr/>
            </a:pPr>
            <a:r>
              <a:rPr lang="en-US" sz="1400" dirty="0"/>
              <a:t>We also support and participate with[UN organization] ICAO in it’s role for exchange of best practices among member States.</a:t>
            </a:r>
          </a:p>
          <a:p>
            <a:pPr eaLnBrk="1" hangingPunct="1"/>
            <a:endParaRPr lang="en-US" sz="1400"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7565" y="685488"/>
            <a:ext cx="6062870" cy="3429000"/>
          </a:xfrm>
        </p:spPr>
      </p:sp>
      <p:sp>
        <p:nvSpPr>
          <p:cNvPr id="3" name="Espace réservé des commentaires 2"/>
          <p:cNvSpPr>
            <a:spLocks noGrp="1"/>
          </p:cNvSpPr>
          <p:nvPr>
            <p:ph type="body" idx="1"/>
          </p:nvPr>
        </p:nvSpPr>
        <p:spPr/>
        <p:txBody>
          <a:bodyPr/>
          <a:lstStyle/>
          <a:p>
            <a:r>
              <a:rPr lang="en-CA" dirty="0" smtClean="0"/>
              <a:t>The information on the previous slide was presented to the Assembly</a:t>
            </a:r>
            <a:r>
              <a:rPr lang="en-CA" baseline="0" dirty="0" smtClean="0"/>
              <a:t> last September.  Their new resolution included a strong mandate for ICAO in the area of alternative fuels.  Specifically on:</a:t>
            </a:r>
          </a:p>
          <a:p>
            <a:endParaRPr lang="en-CA" baseline="0" dirty="0" smtClean="0"/>
          </a:p>
          <a:p>
            <a:pPr marL="168244" indent="-168244">
              <a:buFont typeface="Arial" panose="020B0604020202020204" pitchFamily="34" charset="0"/>
              <a:buChar char="•"/>
            </a:pPr>
            <a:r>
              <a:rPr lang="en-CA" baseline="0" dirty="0" smtClean="0"/>
              <a:t>Bringing together States, industry, financial institutions, and other international organizations to actively participate in an exchange of information and best practices, under ICAO, on sustainable alternative fuels for aviation.</a:t>
            </a:r>
          </a:p>
          <a:p>
            <a:pPr marL="168244" indent="-168244">
              <a:buFont typeface="Arial" panose="020B0604020202020204" pitchFamily="34" charset="0"/>
              <a:buChar char="•"/>
            </a:pPr>
            <a:r>
              <a:rPr lang="en-CA" baseline="0" dirty="0" smtClean="0"/>
              <a:t>Continued update of the Global Framework</a:t>
            </a:r>
          </a:p>
          <a:p>
            <a:pPr marL="168244" indent="-168244">
              <a:buFont typeface="Arial" panose="020B0604020202020204" pitchFamily="34" charset="0"/>
              <a:buChar char="•"/>
            </a:pPr>
            <a:r>
              <a:rPr lang="en-CA" dirty="0" smtClean="0"/>
              <a:t>Collecting</a:t>
            </a:r>
            <a:r>
              <a:rPr lang="en-CA" baseline="0" dirty="0" smtClean="0"/>
              <a:t> information on progress of alternative fuels to give a </a:t>
            </a:r>
            <a:r>
              <a:rPr lang="en-CA" u="sng" baseline="0" dirty="0" smtClean="0"/>
              <a:t>global</a:t>
            </a:r>
            <a:r>
              <a:rPr lang="en-CA" u="none" baseline="0" dirty="0" smtClean="0"/>
              <a:t> view</a:t>
            </a:r>
          </a:p>
          <a:p>
            <a:pPr marL="168244" indent="-168244">
              <a:buFont typeface="Arial" panose="020B0604020202020204" pitchFamily="34" charset="0"/>
              <a:buChar char="•"/>
            </a:pPr>
            <a:r>
              <a:rPr lang="en-CA" u="none" baseline="0" dirty="0" smtClean="0"/>
              <a:t>Working with financial institutions to facilitate access to financing  for sustainable alternative fuels projects as well as incentives to overcome initial market hurdles.</a:t>
            </a:r>
            <a:endParaRPr lang="en-CA" dirty="0"/>
          </a:p>
        </p:txBody>
      </p:sp>
      <p:sp>
        <p:nvSpPr>
          <p:cNvPr id="4" name="Espace réservé du numéro de diapositive 3"/>
          <p:cNvSpPr>
            <a:spLocks noGrp="1"/>
          </p:cNvSpPr>
          <p:nvPr>
            <p:ph type="sldNum" sz="quarter" idx="10"/>
          </p:nvPr>
        </p:nvSpPr>
        <p:spPr/>
        <p:txBody>
          <a:bodyPr/>
          <a:lstStyle/>
          <a:p>
            <a:fld id="{75940940-A47B-47AE-9EAB-B9A5D788279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4090019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7565" y="685488"/>
            <a:ext cx="606287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5940940-A47B-47AE-9EAB-B9A5D788279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8865890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7565" y="685488"/>
            <a:ext cx="6062870" cy="3429000"/>
          </a:xfrm>
        </p:spPr>
      </p:sp>
      <p:sp>
        <p:nvSpPr>
          <p:cNvPr id="3" name="Notes Placeholder 2"/>
          <p:cNvSpPr>
            <a:spLocks noGrp="1"/>
          </p:cNvSpPr>
          <p:nvPr>
            <p:ph type="body" idx="1"/>
          </p:nvPr>
        </p:nvSpPr>
        <p:spPr/>
        <p:txBody>
          <a:bodyPr/>
          <a:lstStyle/>
          <a:p>
            <a:r>
              <a:rPr lang="en-GB" dirty="0" smtClean="0"/>
              <a:t>Alternative Fuels Task Force will contribute in 2 important areas:</a:t>
            </a:r>
          </a:p>
          <a:p>
            <a:endParaRPr lang="en-GB" dirty="0" smtClean="0"/>
          </a:p>
          <a:p>
            <a:pPr fontAlgn="base">
              <a:spcAft>
                <a:spcPct val="0"/>
              </a:spcAft>
              <a:defRPr/>
            </a:pPr>
            <a:endParaRPr lang="en-US" sz="1400" dirty="0">
              <a:solidFill>
                <a:schemeClr val="accent1"/>
              </a:solidFill>
              <a:ea typeface="宋体" pitchFamily="2" charset="-122"/>
            </a:endParaRPr>
          </a:p>
          <a:p>
            <a:pPr marL="168244" indent="-168244" fontAlgn="base">
              <a:spcAft>
                <a:spcPct val="0"/>
              </a:spcAft>
              <a:buFont typeface="Arial" pitchFamily="34" charset="0"/>
              <a:buChar char="•"/>
              <a:defRPr/>
            </a:pPr>
            <a:r>
              <a:rPr lang="en-US" dirty="0" smtClean="0">
                <a:solidFill>
                  <a:schemeClr val="accent1"/>
                </a:solidFill>
                <a:ea typeface="宋体" pitchFamily="2" charset="-122"/>
              </a:rPr>
              <a:t>Projections for future sustainable alternative fuels production</a:t>
            </a:r>
          </a:p>
          <a:p>
            <a:pPr marL="168244" indent="-168244" fontAlgn="base">
              <a:spcAft>
                <a:spcPct val="0"/>
              </a:spcAft>
              <a:buFont typeface="Arial" pitchFamily="34" charset="0"/>
              <a:buChar char="•"/>
              <a:defRPr/>
            </a:pPr>
            <a:r>
              <a:rPr lang="en-US" dirty="0" smtClean="0">
                <a:solidFill>
                  <a:schemeClr val="accent1"/>
                </a:solidFill>
                <a:ea typeface="宋体" pitchFamily="2" charset="-122"/>
              </a:rPr>
              <a:t>Fuels life cycle emissions </a:t>
            </a:r>
          </a:p>
          <a:p>
            <a:endParaRPr lang="en-GB" dirty="0"/>
          </a:p>
        </p:txBody>
      </p:sp>
      <p:sp>
        <p:nvSpPr>
          <p:cNvPr id="4" name="Slide Number Placeholder 3"/>
          <p:cNvSpPr>
            <a:spLocks noGrp="1"/>
          </p:cNvSpPr>
          <p:nvPr>
            <p:ph type="sldNum" sz="quarter" idx="10"/>
          </p:nvPr>
        </p:nvSpPr>
        <p:spPr/>
        <p:txBody>
          <a:bodyPr/>
          <a:lstStyle/>
          <a:p>
            <a:fld id="{75940940-A47B-47AE-9EAB-B9A5D788279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2648586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endParaRPr lang="en-US" dirty="0"/>
          </a:p>
          <a:p>
            <a:r>
              <a:rPr lang="en-US" dirty="0" smtClean="0"/>
              <a:t>The purpose of the new Alternative Task Force is to assess the </a:t>
            </a:r>
            <a:r>
              <a:rPr lang="en-US" dirty="0"/>
              <a:t>range of potential emissions reductions from the use of alternative fuels to 2050. </a:t>
            </a:r>
            <a:r>
              <a:rPr lang="en-US" dirty="0" smtClean="0"/>
              <a:t>It </a:t>
            </a:r>
            <a:r>
              <a:rPr lang="en-US" dirty="0"/>
              <a:t>will have to address two critical issues to achieve its work:</a:t>
            </a:r>
          </a:p>
          <a:p>
            <a:pPr marL="168244" indent="-168244">
              <a:buFontTx/>
              <a:buChar char="-"/>
            </a:pPr>
            <a:r>
              <a:rPr lang="en-US" dirty="0"/>
              <a:t>One is the way life cycle emissions reduction from alternative fuels should be estimated and accounted for;</a:t>
            </a:r>
          </a:p>
          <a:p>
            <a:pPr marL="168244" indent="-168244">
              <a:buFontTx/>
              <a:buChar char="-"/>
            </a:pPr>
            <a:r>
              <a:rPr lang="en-US" dirty="0"/>
              <a:t>The other is the projection of the future production of alternative fuels.</a:t>
            </a:r>
          </a:p>
          <a:p>
            <a:endParaRPr lang="en-US" dirty="0"/>
          </a:p>
          <a:p>
            <a:r>
              <a:rPr lang="en-US" dirty="0" smtClean="0"/>
              <a:t>This work will also so allow to provide </a:t>
            </a:r>
            <a:r>
              <a:rPr lang="en-US" dirty="0"/>
              <a:t>a basis for providing assistance and guidance to States on the assessment of the potential benefits of using alternative fuels in the elaboration of their action plan, in order to make it easier to aggregate States’ information for building a global view of the contribution of alternative fuels to the achievement of ICAO’s aspirational goals.</a:t>
            </a:r>
          </a:p>
          <a:p>
            <a:r>
              <a:rPr lang="en-US" dirty="0"/>
              <a:t>It will also provide inputs to maintain and enhance methodologies to estimate, monitor and verify GHG emission from international aviation as requested by the Resolution</a:t>
            </a:r>
            <a:r>
              <a:rPr lang="en-US" dirty="0" smtClean="0"/>
              <a:t>.</a:t>
            </a:r>
            <a:endParaRPr lang="en-US" dirty="0"/>
          </a:p>
          <a:p>
            <a:r>
              <a:rPr lang="en-US" dirty="0"/>
              <a:t>The results of the Alternative Fuel Task Force will finally provide direct inputs for the </a:t>
            </a:r>
            <a:r>
              <a:rPr lang="en-US" dirty="0" err="1"/>
              <a:t>the</a:t>
            </a:r>
            <a:r>
              <a:rPr lang="en-US" dirty="0"/>
              <a:t> environmental trends assessment performed by the modeling and Database Group of CAEP. </a:t>
            </a:r>
            <a:endParaRPr lang="en-CA" dirty="0"/>
          </a:p>
          <a:p>
            <a:endParaRPr lang="en-US" dirty="0" smtClean="0"/>
          </a:p>
          <a:p>
            <a:r>
              <a:rPr lang="en-US" dirty="0" smtClean="0"/>
              <a:t>The task force chairmen are Cesar </a:t>
            </a:r>
            <a:r>
              <a:rPr lang="en-US" dirty="0" err="1" smtClean="0"/>
              <a:t>Velarde</a:t>
            </a:r>
            <a:r>
              <a:rPr lang="en-US" dirty="0" smtClean="0"/>
              <a:t> from Spain and Jorge </a:t>
            </a:r>
            <a:r>
              <a:rPr lang="en-US" dirty="0" err="1" smtClean="0"/>
              <a:t>Silveira</a:t>
            </a:r>
            <a:r>
              <a:rPr lang="en-US" dirty="0" smtClean="0"/>
              <a:t> from Brazil.</a:t>
            </a:r>
            <a:endParaRPr lang="en-CA" dirty="0"/>
          </a:p>
        </p:txBody>
      </p:sp>
      <p:sp>
        <p:nvSpPr>
          <p:cNvPr id="4" name="Espace réservé du numéro de diapositive 3"/>
          <p:cNvSpPr>
            <a:spLocks noGrp="1"/>
          </p:cNvSpPr>
          <p:nvPr>
            <p:ph type="sldNum" sz="quarter" idx="10"/>
          </p:nvPr>
        </p:nvSpPr>
        <p:spPr/>
        <p:txBody>
          <a:bodyPr/>
          <a:lstStyle/>
          <a:p>
            <a:fld id="{75940940-A47B-47AE-9EAB-B9A5D788279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9193451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7565" y="685488"/>
            <a:ext cx="6062870" cy="3429000"/>
          </a:xfrm>
        </p:spPr>
      </p:sp>
      <p:sp>
        <p:nvSpPr>
          <p:cNvPr id="3" name="Espace réservé des commentaires 2"/>
          <p:cNvSpPr>
            <a:spLocks noGrp="1"/>
          </p:cNvSpPr>
          <p:nvPr>
            <p:ph type="body" idx="1"/>
          </p:nvPr>
        </p:nvSpPr>
        <p:spPr/>
        <p:txBody>
          <a:bodyPr/>
          <a:lstStyle/>
          <a:p>
            <a:r>
              <a:rPr lang="en-US" dirty="0" smtClean="0"/>
              <a:t>What are we doing and how can we contribute in this area at ICAO?</a:t>
            </a:r>
          </a:p>
          <a:p>
            <a:endParaRPr lang="en-US" dirty="0"/>
          </a:p>
          <a:p>
            <a:r>
              <a:rPr lang="en-US" dirty="0" smtClean="0"/>
              <a:t>First, ICAO is a facilitator </a:t>
            </a:r>
            <a:r>
              <a:rPr lang="en-US" dirty="0"/>
              <a:t>to support States and industry in their effort to deploy alternative fuels</a:t>
            </a:r>
            <a:r>
              <a:rPr lang="en-US" dirty="0" smtClean="0"/>
              <a:t>. Its role is to provide </a:t>
            </a:r>
            <a:r>
              <a:rPr lang="en-US" dirty="0" err="1" smtClean="0"/>
              <a:t>fora</a:t>
            </a:r>
            <a:r>
              <a:rPr lang="en-US" dirty="0" smtClean="0"/>
              <a:t> for education, outreach and exchanges between States and stakeholders. It is to support information exchanges and dissemination of information. And it can be to facilitate the development of standardized definitions, methodologies and processes.</a:t>
            </a:r>
          </a:p>
          <a:p>
            <a:endParaRPr lang="en-US" dirty="0"/>
          </a:p>
          <a:p>
            <a:r>
              <a:rPr lang="en-US" dirty="0" smtClean="0"/>
              <a:t>ICAO is also a key actor to provide a global view and support informed decision making. This is achieved through data collection and in particular through the States Action Plans which are an important tool for States to provide the information on what they are doing. This is also done through projection and scenario building to assess the future environmental trends of aviation.</a:t>
            </a:r>
          </a:p>
          <a:p>
            <a:endParaRPr lang="en-US" dirty="0" smtClean="0"/>
          </a:p>
          <a:p>
            <a:endParaRPr lang="en-CA" dirty="0"/>
          </a:p>
        </p:txBody>
      </p:sp>
      <p:sp>
        <p:nvSpPr>
          <p:cNvPr id="4" name="Espace réservé du numéro de diapositive 3"/>
          <p:cNvSpPr>
            <a:spLocks noGrp="1"/>
          </p:cNvSpPr>
          <p:nvPr>
            <p:ph type="sldNum" sz="quarter" idx="10"/>
          </p:nvPr>
        </p:nvSpPr>
        <p:spPr/>
        <p:txBody>
          <a:bodyPr/>
          <a:lstStyle/>
          <a:p>
            <a:fld id="{75940940-A47B-47AE-9EAB-B9A5D7882799}"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6874032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スライド イメージ プレースホルダ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ノート プレースホルダ 2"/>
          <p:cNvSpPr>
            <a:spLocks noGrp="1"/>
          </p:cNvSpPr>
          <p:nvPr>
            <p:ph type="body" idx="1"/>
          </p:nvPr>
        </p:nvSpPr>
        <p:spPr/>
        <p:txBody>
          <a:bodyPr/>
          <a:lstStyle/>
          <a:p>
            <a:pPr defTabSz="914250">
              <a:defRPr/>
            </a:pPr>
            <a:r>
              <a:rPr lang="en-US" kern="0" dirty="0">
                <a:solidFill>
                  <a:srgbClr val="144894"/>
                </a:solidFill>
              </a:rPr>
              <a:t>For more background information on </a:t>
            </a:r>
            <a:r>
              <a:rPr lang="en-US" kern="0" dirty="0" smtClean="0">
                <a:solidFill>
                  <a:srgbClr val="144894"/>
                </a:solidFill>
              </a:rPr>
              <a:t>ICAO’s </a:t>
            </a:r>
            <a:r>
              <a:rPr lang="en-US" kern="0" dirty="0">
                <a:solidFill>
                  <a:srgbClr val="144894"/>
                </a:solidFill>
              </a:rPr>
              <a:t>activities, please visit ICAO’s website: http://www.icao.int/env.</a:t>
            </a:r>
          </a:p>
          <a:p>
            <a:pPr defTabSz="914250">
              <a:defRPr/>
            </a:pPr>
            <a:r>
              <a:rPr lang="en-US" kern="0" dirty="0">
                <a:solidFill>
                  <a:srgbClr val="144894"/>
                </a:solidFill>
              </a:rPr>
              <a:t>In order to learn more about ICAO’s work in the environmental field I would also recommend you read the following publications, all accessible from our website: </a:t>
            </a:r>
          </a:p>
          <a:p>
            <a:pPr marL="457124" lvl="1" defTabSz="914250">
              <a:buFontTx/>
              <a:buChar char="-"/>
              <a:defRPr/>
            </a:pPr>
            <a:r>
              <a:rPr lang="en-US" kern="0" dirty="0">
                <a:solidFill>
                  <a:srgbClr val="144894"/>
                </a:solidFill>
              </a:rPr>
              <a:t>   the ICAO Journal special environmental editions,</a:t>
            </a:r>
          </a:p>
          <a:p>
            <a:pPr marL="457124" lvl="1" defTabSz="914250">
              <a:buFontTx/>
              <a:buChar char="-"/>
              <a:defRPr/>
            </a:pPr>
            <a:r>
              <a:rPr lang="en-US" kern="0" dirty="0">
                <a:solidFill>
                  <a:srgbClr val="144894"/>
                </a:solidFill>
              </a:rPr>
              <a:t>   the ICAO Sustainable alternative fuels workshop Review, and </a:t>
            </a:r>
          </a:p>
          <a:p>
            <a:pPr marL="457124" lvl="1" defTabSz="914250">
              <a:buFontTx/>
              <a:buChar char="-"/>
              <a:defRPr/>
            </a:pPr>
            <a:r>
              <a:rPr lang="en-US" kern="0" dirty="0">
                <a:solidFill>
                  <a:srgbClr val="144894"/>
                </a:solidFill>
              </a:rPr>
              <a:t>   the last ICAO environmental report on aviation and climate change. </a:t>
            </a:r>
          </a:p>
          <a:p>
            <a:pPr defTabSz="914250">
              <a:defRPr/>
            </a:pPr>
            <a:r>
              <a:rPr lang="en-US" b="1" kern="0" dirty="0">
                <a:solidFill>
                  <a:srgbClr val="144894"/>
                </a:solidFill>
              </a:rPr>
              <a:t> </a:t>
            </a:r>
            <a:endParaRPr kumimoji="1" lang="ja-JP" altLang="en-US" dirty="0"/>
          </a:p>
        </p:txBody>
      </p:sp>
      <p:sp>
        <p:nvSpPr>
          <p:cNvPr id="44036" name="スライド番号プレースホルダ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868" indent="-285718">
              <a:defRPr>
                <a:solidFill>
                  <a:schemeClr val="tx1"/>
                </a:solidFill>
                <a:latin typeface="Calibri" pitchFamily="34" charset="0"/>
              </a:defRPr>
            </a:lvl2pPr>
            <a:lvl3pPr marL="1142874" indent="-228574">
              <a:defRPr>
                <a:solidFill>
                  <a:schemeClr val="tx1"/>
                </a:solidFill>
                <a:latin typeface="Calibri" pitchFamily="34" charset="0"/>
              </a:defRPr>
            </a:lvl3pPr>
            <a:lvl4pPr marL="1600023" indent="-228574">
              <a:defRPr>
                <a:solidFill>
                  <a:schemeClr val="tx1"/>
                </a:solidFill>
                <a:latin typeface="Calibri" pitchFamily="34" charset="0"/>
              </a:defRPr>
            </a:lvl4pPr>
            <a:lvl5pPr marL="2057173" indent="-228574">
              <a:defRPr>
                <a:solidFill>
                  <a:schemeClr val="tx1"/>
                </a:solidFill>
                <a:latin typeface="Calibri" pitchFamily="34" charset="0"/>
              </a:defRPr>
            </a:lvl5pPr>
            <a:lvl6pPr marL="2514322" indent="-228574" fontAlgn="base">
              <a:spcBef>
                <a:spcPct val="0"/>
              </a:spcBef>
              <a:spcAft>
                <a:spcPct val="0"/>
              </a:spcAft>
              <a:defRPr>
                <a:solidFill>
                  <a:schemeClr val="tx1"/>
                </a:solidFill>
                <a:latin typeface="Calibri" pitchFamily="34" charset="0"/>
              </a:defRPr>
            </a:lvl6pPr>
            <a:lvl7pPr marL="2971471" indent="-228574" fontAlgn="base">
              <a:spcBef>
                <a:spcPct val="0"/>
              </a:spcBef>
              <a:spcAft>
                <a:spcPct val="0"/>
              </a:spcAft>
              <a:defRPr>
                <a:solidFill>
                  <a:schemeClr val="tx1"/>
                </a:solidFill>
                <a:latin typeface="Calibri" pitchFamily="34" charset="0"/>
              </a:defRPr>
            </a:lvl7pPr>
            <a:lvl8pPr marL="3428620" indent="-228574" fontAlgn="base">
              <a:spcBef>
                <a:spcPct val="0"/>
              </a:spcBef>
              <a:spcAft>
                <a:spcPct val="0"/>
              </a:spcAft>
              <a:defRPr>
                <a:solidFill>
                  <a:schemeClr val="tx1"/>
                </a:solidFill>
                <a:latin typeface="Calibri" pitchFamily="34" charset="0"/>
              </a:defRPr>
            </a:lvl8pPr>
            <a:lvl9pPr marL="3885770" indent="-228574"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A4CD4612-08BB-417A-9979-80E091AF8C8C}" type="slidenum">
              <a:rPr lang="en-GB">
                <a:solidFill>
                  <a:prstClr val="black"/>
                </a:solidFill>
              </a:rPr>
              <a:pPr fontAlgn="base">
                <a:spcBef>
                  <a:spcPct val="0"/>
                </a:spcBef>
                <a:spcAft>
                  <a:spcPct val="0"/>
                </a:spcAft>
                <a:defRPr/>
              </a:pPr>
              <a:t>17</a:t>
            </a:fld>
            <a:endParaRPr lang="en-GB">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p:spPr>
      </p:sp>
      <p:sp>
        <p:nvSpPr>
          <p:cNvPr id="5123"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de-DE" smtClean="0"/>
              <a:t>Aireg Deckblatt 01</a:t>
            </a:r>
          </a:p>
        </p:txBody>
      </p:sp>
      <p:sp>
        <p:nvSpPr>
          <p:cNvPr id="5124"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C58F9217-9881-43CD-BCB1-A6EA0F87FA2C}" type="slidenum">
              <a:rPr lang="de-DE" smtClean="0">
                <a:solidFill>
                  <a:prstClr val="black"/>
                </a:solidFill>
              </a:rPr>
              <a:pPr>
                <a:defRPr/>
              </a:pPr>
              <a:t>19</a:t>
            </a:fld>
            <a:endParaRPr lang="de-DE" smtClean="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p:spPr>
      </p:sp>
      <p:sp>
        <p:nvSpPr>
          <p:cNvPr id="6147"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de-DE" dirty="0" smtClean="0"/>
              <a:t>Aireg Standardseite 03</a:t>
            </a:r>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E326F8D6-E67B-4A39-BB51-A3564B54AB0D}" type="slidenum">
              <a:rPr lang="de-DE" smtClean="0">
                <a:solidFill>
                  <a:prstClr val="black"/>
                </a:solidFill>
              </a:rPr>
              <a:pPr>
                <a:defRPr/>
              </a:pPr>
              <a:t>20</a:t>
            </a:fld>
            <a:endParaRPr lang="de-DE" smtClean="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de-DE" sz="1600"/>
              <a:t>Die EU fordert in ihrem Weißbuch Verkehr von 2011 eine Nutzung von 40% alternativem Flugkraftstoff bis 2050, bis 2020 will die EU eine Produktionskapazität von 2 Mio. Tonnen Biokerosin erreichen. Hieran orientiert sich aireg mit dem 10% Ziel bis 2025. Bei einem zu erwartenden Verbrauch von 11 Mio. Tonnen Kerosin in 2025 entspricht der 10% ca. 1 Mio. Tonnen Biokerosin. </a:t>
            </a:r>
          </a:p>
          <a:p>
            <a:pPr eaLnBrk="1" hangingPunct="1">
              <a:spcBef>
                <a:spcPct val="0"/>
              </a:spcBef>
              <a:buFontTx/>
              <a:buChar char="-"/>
            </a:pPr>
            <a:r>
              <a:rPr lang="de-DE" sz="1600"/>
              <a:t> Die weltweite Herstellungskapazität von HEFA-Biokerosin (Neste Oil) beträgt 2 Mio. Tonnen. Die Errichtung von geeigneten Bioraffinerien in Deutschland bietet großes volkswirtschaftliches Potential. Die internationale Dynamik wird zu einer großen Nachfrage nach entsprechendem ingenierwissenschaftlichen Know-how führen.</a:t>
            </a:r>
          </a:p>
          <a:p>
            <a:pPr eaLnBrk="1" hangingPunct="1">
              <a:spcBef>
                <a:spcPct val="0"/>
              </a:spcBef>
              <a:buFontTx/>
              <a:buChar char="-"/>
            </a:pPr>
            <a:r>
              <a:rPr lang="de-DE" sz="1600"/>
              <a:t> Im Bioenergiesektor ist viel Lehrgeld gezahlt worden. Politik und Industrie wissen heute, welche Kriterien im Bereich Nachhaltigkeit, soziale Verantwortung und Entwicklungspolitik einzuhalten sind. Regierungsvereinbarungen zwischen Deutschland und potentiellen Lieferstaaten können die Einhaltung dieser Standards garantieren und Transparenz schaffen. </a:t>
            </a:r>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4C17DE01-4402-4636-AA59-AF0AF82859F8}" type="slidenum">
              <a:rPr lang="de-DE" smtClean="0">
                <a:solidFill>
                  <a:prstClr val="black"/>
                </a:solidFill>
              </a:rPr>
              <a:pPr>
                <a:defRPr/>
              </a:pPr>
              <a:t>21</a:t>
            </a:fld>
            <a:endParaRPr lang="de-DE" smtClean="0">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smtClean="0"/>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EAD7F503-9AF3-4C48-88B6-D91C288A3B26}" type="slidenum">
              <a:rPr lang="de-DE" smtClean="0">
                <a:solidFill>
                  <a:prstClr val="black"/>
                </a:solidFill>
              </a:rPr>
              <a:pPr>
                <a:defRPr/>
              </a:pPr>
              <a:t>22</a:t>
            </a:fld>
            <a:endParaRPr lang="de-DE" smtClean="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97565" y="685488"/>
            <a:ext cx="6062870" cy="3429000"/>
          </a:xfrm>
        </p:spPr>
      </p:sp>
      <p:sp>
        <p:nvSpPr>
          <p:cNvPr id="3" name="Espace réservé des commentair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10"/>
          </p:nvPr>
        </p:nvSpPr>
        <p:spPr/>
        <p:txBody>
          <a:bodyPr/>
          <a:lstStyle/>
          <a:p>
            <a:fld id="{75940940-A47B-47AE-9EAB-B9A5D7882799}"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9658860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de-DE" sz="1800"/>
              <a:t>Die inhaltliche Arbeit von aireg geschieht in unseren Arbeitskreisen. Jedes Mitglied entsendet Fachleute in mindestens einen AK. Diese Expertise macht aireg zum Kompetenzzentrum für alternative Flugkraftstoffe in Deutschland und darüber hinaus.</a:t>
            </a:r>
          </a:p>
          <a:p>
            <a:pPr eaLnBrk="1" hangingPunct="1">
              <a:spcBef>
                <a:spcPct val="0"/>
              </a:spcBef>
            </a:pPr>
            <a:endParaRPr lang="de-DE" sz="1800"/>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A1ECECC3-2853-43DC-AADF-87E9A7E4E7FE}" type="slidenum">
              <a:rPr lang="de-DE" smtClean="0">
                <a:solidFill>
                  <a:prstClr val="black"/>
                </a:solidFill>
              </a:rPr>
              <a:pPr>
                <a:defRPr/>
              </a:pPr>
              <a:t>23</a:t>
            </a:fld>
            <a:endParaRPr lang="de-DE" smtClean="0">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de-DE" smtClean="0"/>
              <a:t>Aireg Standardseite 03</a:t>
            </a:r>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576BE847-4A65-4F78-9866-2B33C963D23A}" type="slidenum">
              <a:rPr lang="de-DE" smtClean="0">
                <a:solidFill>
                  <a:prstClr val="black"/>
                </a:solidFill>
              </a:rPr>
              <a:pPr>
                <a:defRPr/>
              </a:pPr>
              <a:t>24</a:t>
            </a:fld>
            <a:endParaRPr lang="de-DE" smtClean="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de-DE" altLang="de-DE" smtClean="0"/>
              <a:t>Vorbild CAAFI: neue, komplexere Wertschöpfungskette erfordert intensiven Austausch und Kooperation aller Beteiligter</a:t>
            </a:r>
          </a:p>
          <a:p>
            <a:pPr eaLnBrk="1" hangingPunct="1">
              <a:spcBef>
                <a:spcPct val="0"/>
              </a:spcBef>
              <a:buFontTx/>
              <a:buChar char="-"/>
            </a:pPr>
            <a:r>
              <a:rPr lang="de-DE" altLang="de-DE" smtClean="0"/>
              <a:t> internationale Ziele zur CO2-Minderung im Luftverkehr erfordern nationale Umsetzungsschritte – hierfür will aireg als Katalysator dienen</a:t>
            </a:r>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B9F843B9-D308-459B-9073-43F022B1CE92}" type="slidenum">
              <a:rPr lang="de-DE" smtClean="0">
                <a:solidFill>
                  <a:prstClr val="black"/>
                </a:solidFill>
              </a:rPr>
              <a:pPr>
                <a:defRPr/>
              </a:pPr>
              <a:t>25</a:t>
            </a:fld>
            <a:endParaRPr lang="de-DE" smtClean="0">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de-DE" altLang="de-DE" smtClean="0"/>
              <a:t>Forschungsinstitute, Fluggesellschaften und Luftfahrtindustie bündeln ihre Kräfte um möglichst schnell bestehende offene Fragen für die Markteinführung alternativer Flugkraftstoffe zu klären. </a:t>
            </a:r>
          </a:p>
          <a:p>
            <a:pPr eaLnBrk="1" hangingPunct="1">
              <a:spcBef>
                <a:spcPct val="0"/>
              </a:spcBef>
              <a:buFontTx/>
              <a:buChar char="-"/>
            </a:pPr>
            <a:r>
              <a:rPr lang="de-DE" altLang="de-DE" smtClean="0"/>
              <a:t> Europaweit einzigartige Struktur zieht zunehmend auch ausländische Mitglieder an</a:t>
            </a:r>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88435D25-886A-4A56-8173-35204FE3A6AB}" type="slidenum">
              <a:rPr lang="de-DE" smtClean="0">
                <a:solidFill>
                  <a:prstClr val="black"/>
                </a:solidFill>
              </a:rPr>
              <a:pPr>
                <a:defRPr/>
              </a:pPr>
              <a:t>26</a:t>
            </a:fld>
            <a:endParaRPr lang="de-DE" smtClean="0">
              <a:solidFill>
                <a:prstClr val="black"/>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de-DE" altLang="de-DE" smtClean="0"/>
              <a:t>Forschungsinstitute, Fluggesellschaften und Luftfahrtindustie bündeln ihre Kräfte um möglichst schnell bestehende offene Fragen für die Markteinführung alternativer Flugkraftstoffe zu klären. </a:t>
            </a:r>
          </a:p>
          <a:p>
            <a:pPr eaLnBrk="1" hangingPunct="1">
              <a:spcBef>
                <a:spcPct val="0"/>
              </a:spcBef>
              <a:buFontTx/>
              <a:buChar char="-"/>
            </a:pPr>
            <a:r>
              <a:rPr lang="de-DE" altLang="de-DE" smtClean="0"/>
              <a:t> Europaweit einzigartige Struktur zieht zunehmend auch ausländische Mitglieder an</a:t>
            </a:r>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E3B0ADF7-7CD9-43E8-A2C8-B6CE8D271CC8}" type="slidenum">
              <a:rPr lang="de-DE" smtClean="0">
                <a:solidFill>
                  <a:prstClr val="black"/>
                </a:solidFill>
              </a:rPr>
              <a:pPr>
                <a:defRPr/>
              </a:pPr>
              <a:t>27</a:t>
            </a:fld>
            <a:endParaRPr lang="de-DE" smtClean="0">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de-DE" altLang="de-DE" smtClean="0"/>
              <a:t>Forschungsinstitute, Fluggesellschaften und Luftfahrtindustie bündeln ihre Kräfte um möglichst schnell bestehende offene Fragen für die Markteinführung alternativer Flugkraftstoffe zu klären. </a:t>
            </a:r>
          </a:p>
          <a:p>
            <a:pPr eaLnBrk="1" hangingPunct="1">
              <a:spcBef>
                <a:spcPct val="0"/>
              </a:spcBef>
              <a:buFontTx/>
              <a:buChar char="-"/>
            </a:pPr>
            <a:r>
              <a:rPr lang="de-DE" altLang="de-DE" smtClean="0"/>
              <a:t> Europaweit einzigartige Struktur zieht zunehmend auch ausländische Mitglieder an</a:t>
            </a:r>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9AFAC1D5-70B4-47C8-B432-1DA8AB4FFD29}" type="slidenum">
              <a:rPr lang="de-DE" smtClean="0">
                <a:solidFill>
                  <a:prstClr val="black"/>
                </a:solidFill>
              </a:rPr>
              <a:pPr>
                <a:defRPr/>
              </a:pPr>
              <a:t>28</a:t>
            </a:fld>
            <a:endParaRPr lang="de-DE" smtClean="0">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de-DE" altLang="de-DE" smtClean="0"/>
              <a:t>Forschungsinstitute, Fluggesellschaften und Luftfahrtindustie bündeln ihre Kräfte um möglichst schnell bestehende offene Fragen für die Markteinführung alternativer Flugkraftstoffe zu klären. </a:t>
            </a:r>
          </a:p>
          <a:p>
            <a:pPr eaLnBrk="1" hangingPunct="1">
              <a:spcBef>
                <a:spcPct val="0"/>
              </a:spcBef>
              <a:buFontTx/>
              <a:buChar char="-"/>
            </a:pPr>
            <a:r>
              <a:rPr lang="de-DE" altLang="de-DE" smtClean="0"/>
              <a:t> Europaweit einzigartige Struktur zieht zunehmend auch ausländische Mitglieder an</a:t>
            </a:r>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A77C4170-2215-467A-A6BF-5E51A303A58B}" type="slidenum">
              <a:rPr lang="de-DE" smtClean="0">
                <a:solidFill>
                  <a:prstClr val="black"/>
                </a:solidFill>
              </a:rPr>
              <a:pPr>
                <a:defRPr/>
              </a:pPr>
              <a:t>29</a:t>
            </a:fld>
            <a:endParaRPr lang="de-DE" smtClean="0">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buFontTx/>
              <a:buChar char="-"/>
            </a:pPr>
            <a:r>
              <a:rPr lang="de-DE" altLang="de-DE" smtClean="0"/>
              <a:t>Forschungsinstitute, Fluggesellschaften und Luftfahrtindustie bündeln ihre Kräfte um möglichst schnell bestehende offene Fragen für die Markteinführung alternativer Flugkraftstoffe zu klären. </a:t>
            </a:r>
          </a:p>
          <a:p>
            <a:pPr eaLnBrk="1" hangingPunct="1">
              <a:spcBef>
                <a:spcPct val="0"/>
              </a:spcBef>
              <a:buFontTx/>
              <a:buChar char="-"/>
            </a:pPr>
            <a:r>
              <a:rPr lang="de-DE" altLang="de-DE" smtClean="0"/>
              <a:t> Europaweit einzigartige Struktur zieht zunehmend auch ausländische Mitglieder an</a:t>
            </a:r>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D759990A-CBFB-4F43-AE8E-C9FC2213C7DD}" type="slidenum">
              <a:rPr lang="de-DE" smtClean="0">
                <a:solidFill>
                  <a:prstClr val="black"/>
                </a:solidFill>
              </a:rPr>
              <a:pPr>
                <a:defRPr/>
              </a:pPr>
              <a:t>30</a:t>
            </a:fld>
            <a:endParaRPr lang="de-DE" smtClean="0">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olienbildplatzhalter 1"/>
          <p:cNvSpPr>
            <a:spLocks noGrp="1" noRot="1" noChangeAspect="1" noTextEdit="1"/>
          </p:cNvSpPr>
          <p:nvPr>
            <p:ph type="sldImg"/>
          </p:nvPr>
        </p:nvSpPr>
        <p:spPr bwMode="auto">
          <a:xfrm>
            <a:off x="136486" y="687892"/>
            <a:ext cx="6585030" cy="342669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sz="1500" dirty="0"/>
          </a:p>
        </p:txBody>
      </p:sp>
      <p:sp>
        <p:nvSpPr>
          <p:cNvPr id="6148"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9EFABB2-BE30-426B-8723-19400C8A913E}" type="slidenum">
              <a:rPr lang="de-DE" smtClean="0">
                <a:solidFill>
                  <a:prstClr val="black"/>
                </a:solidFill>
              </a:rPr>
              <a:pPr>
                <a:defRPr/>
              </a:pPr>
              <a:t>31</a:t>
            </a:fld>
            <a:endParaRPr lang="de-DE" smtClean="0">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p:txBody>
          <a:bodyPr/>
          <a:lstStyle/>
          <a:p>
            <a:pPr>
              <a:defRPr/>
            </a:pPr>
            <a:r>
              <a:rPr lang="en-US" dirty="0">
                <a:solidFill>
                  <a:prstClr val="black"/>
                </a:solidFill>
              </a:rPr>
              <a:t>Susan Pond</a:t>
            </a:r>
          </a:p>
        </p:txBody>
      </p:sp>
      <p:sp>
        <p:nvSpPr>
          <p:cNvPr id="7" name="Rectangle 7"/>
          <p:cNvSpPr>
            <a:spLocks noGrp="1" noChangeArrowheads="1"/>
          </p:cNvSpPr>
          <p:nvPr>
            <p:ph type="sldNum" sz="quarter" idx="5"/>
          </p:nvPr>
        </p:nvSpPr>
        <p:spPr/>
        <p:txBody>
          <a:bodyPr/>
          <a:lstStyle/>
          <a:p>
            <a:pPr>
              <a:defRPr/>
            </a:pPr>
            <a:fld id="{B4562D9C-5255-5449-8178-A6DE595419F8}" type="slidenum">
              <a:rPr lang="en-US">
                <a:solidFill>
                  <a:prstClr val="black"/>
                </a:solidFill>
              </a:rPr>
              <a:pPr>
                <a:defRPr/>
              </a:pPr>
              <a:t>33</a:t>
            </a:fld>
            <a:endParaRPr lang="en-US" dirty="0">
              <a:solidFill>
                <a:prstClr val="black"/>
              </a:solidFill>
            </a:endParaRPr>
          </a:p>
        </p:txBody>
      </p:sp>
      <p:sp>
        <p:nvSpPr>
          <p:cNvPr id="37890" name="Rectangle 2"/>
          <p:cNvSpPr>
            <a:spLocks noGrp="1" noRot="1" noChangeAspect="1" noChangeArrowheads="1" noTextEdit="1"/>
          </p:cNvSpPr>
          <p:nvPr>
            <p:ph type="sldImg"/>
          </p:nvPr>
        </p:nvSpPr>
        <p:spPr>
          <a:xfrm>
            <a:off x="381000" y="685800"/>
            <a:ext cx="6096000" cy="3429000"/>
          </a:xfrm>
          <a:ln/>
          <a:extLst>
            <a:ext uri="{FAA26D3D-D897-4be2-8F04-BA451C77F1D7}">
              <ma14:placeholderFlag xmlns:ma14="http://schemas.microsoft.com/office/mac/drawingml/2011/main" xmlns="" val="1"/>
            </a:ext>
          </a:extLst>
        </p:spPr>
      </p:sp>
      <p:sp>
        <p:nvSpPr>
          <p:cNvPr id="37892" name="Rectangle 4"/>
          <p:cNvSpPr>
            <a:spLocks noGrp="1" noChangeArrowheads="1"/>
          </p:cNvSpPr>
          <p:nvPr>
            <p:ph type="body" idx="1"/>
          </p:nvPr>
        </p:nvSpPr>
        <p:spPr/>
        <p:txBody>
          <a:bodyPr/>
          <a:lstStyle/>
          <a:p>
            <a:pPr eaLnBrk="1" hangingPunct="1">
              <a:defRPr/>
            </a:pPr>
            <a:endParaRPr lang="en-US" dirty="0" smtClean="0">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DBC88D8-23B6-4268-8B4A-A520B92CEFBF}" type="slidenum">
              <a:rPr lang="en-US">
                <a:solidFill>
                  <a:prstClr val="black"/>
                </a:solidFill>
              </a:rPr>
              <a:pPr/>
              <a:t>5</a:t>
            </a:fld>
            <a:endParaRPr lang="en-US">
              <a:solidFill>
                <a:prstClr val="black"/>
              </a:solidFill>
            </a:endParaRPr>
          </a:p>
        </p:txBody>
      </p:sp>
      <p:sp>
        <p:nvSpPr>
          <p:cNvPr id="457730" name="Rectangle 2"/>
          <p:cNvSpPr>
            <a:spLocks noGrp="1" noRot="1" noChangeAspect="1" noChangeArrowheads="1" noTextEdit="1"/>
          </p:cNvSpPr>
          <p:nvPr>
            <p:ph type="sldImg"/>
          </p:nvPr>
        </p:nvSpPr>
        <p:spPr>
          <a:xfrm>
            <a:off x="397565" y="685488"/>
            <a:ext cx="6062870" cy="3429000"/>
          </a:xfrm>
          <a:ln/>
        </p:spPr>
      </p:sp>
      <p:sp>
        <p:nvSpPr>
          <p:cNvPr id="457731" name="Rectangle 3"/>
          <p:cNvSpPr>
            <a:spLocks noGrp="1" noChangeArrowheads="1"/>
          </p:cNvSpPr>
          <p:nvPr>
            <p:ph type="body" idx="1"/>
          </p:nvPr>
        </p:nvSpPr>
        <p:spPr/>
        <p:txBody>
          <a:bodyPr/>
          <a:lstStyle/>
          <a:p>
            <a:endParaRPr lang="en-CA"/>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C25EC8-B765-4DE9-8105-FD05775F1735}"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29196425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a:defRPr/>
            </a:pPr>
            <a:r>
              <a:rPr lang="en-US" smtClean="0">
                <a:solidFill>
                  <a:prstClr val="black"/>
                </a:solidFill>
              </a:rPr>
              <a:t>Susan Pond</a:t>
            </a:r>
            <a:endParaRPr lang="en-US" dirty="0">
              <a:solidFill>
                <a:prstClr val="black"/>
              </a:solidFill>
            </a:endParaRPr>
          </a:p>
        </p:txBody>
      </p:sp>
      <p:sp>
        <p:nvSpPr>
          <p:cNvPr id="5" name="Slide Number Placeholder 4"/>
          <p:cNvSpPr>
            <a:spLocks noGrp="1"/>
          </p:cNvSpPr>
          <p:nvPr>
            <p:ph type="sldNum" sz="quarter" idx="11"/>
          </p:nvPr>
        </p:nvSpPr>
        <p:spPr/>
        <p:txBody>
          <a:bodyPr/>
          <a:lstStyle/>
          <a:p>
            <a:pPr>
              <a:defRPr/>
            </a:pPr>
            <a:fld id="{D92BA292-86B2-6748-88B6-6B6CA9C756A5}" type="slidenum">
              <a:rPr lang="en-US" smtClean="0">
                <a:solidFill>
                  <a:prstClr val="black"/>
                </a:solidFill>
              </a:rPr>
              <a:pPr>
                <a:defRPr/>
              </a:pPr>
              <a:t>38</a:t>
            </a:fld>
            <a:endParaRPr lang="en-US" dirty="0">
              <a:solidFill>
                <a:prstClr val="black"/>
              </a:solidFill>
            </a:endParaRPr>
          </a:p>
        </p:txBody>
      </p:sp>
    </p:spTree>
    <p:extLst>
      <p:ext uri="{BB962C8B-B14F-4D97-AF65-F5344CB8AC3E}">
        <p14:creationId xmlns:p14="http://schemas.microsoft.com/office/powerpoint/2010/main" val="14288816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p:txBody>
          <a:bodyPr/>
          <a:lstStyle/>
          <a:p>
            <a:pPr>
              <a:defRPr/>
            </a:pPr>
            <a:r>
              <a:rPr lang="en-US" dirty="0">
                <a:solidFill>
                  <a:prstClr val="black"/>
                </a:solidFill>
              </a:rPr>
              <a:t>Susan Pond</a:t>
            </a:r>
          </a:p>
        </p:txBody>
      </p:sp>
      <p:sp>
        <p:nvSpPr>
          <p:cNvPr id="7" name="Rectangle 7"/>
          <p:cNvSpPr>
            <a:spLocks noGrp="1" noChangeArrowheads="1"/>
          </p:cNvSpPr>
          <p:nvPr>
            <p:ph type="sldNum" sz="quarter" idx="5"/>
          </p:nvPr>
        </p:nvSpPr>
        <p:spPr/>
        <p:txBody>
          <a:bodyPr/>
          <a:lstStyle/>
          <a:p>
            <a:pPr>
              <a:defRPr/>
            </a:pPr>
            <a:fld id="{B4562D9C-5255-5449-8178-A6DE595419F8}" type="slidenum">
              <a:rPr lang="en-US">
                <a:solidFill>
                  <a:prstClr val="black"/>
                </a:solidFill>
              </a:rPr>
              <a:pPr>
                <a:defRPr/>
              </a:pPr>
              <a:t>40</a:t>
            </a:fld>
            <a:endParaRPr lang="en-US" dirty="0">
              <a:solidFill>
                <a:prstClr val="black"/>
              </a:solidFill>
            </a:endParaRPr>
          </a:p>
        </p:txBody>
      </p:sp>
      <p:sp>
        <p:nvSpPr>
          <p:cNvPr id="37890" name="Rectangle 2"/>
          <p:cNvSpPr>
            <a:spLocks noGrp="1" noRot="1" noChangeAspect="1" noChangeArrowheads="1" noTextEdit="1"/>
          </p:cNvSpPr>
          <p:nvPr>
            <p:ph type="sldImg"/>
          </p:nvPr>
        </p:nvSpPr>
        <p:spPr>
          <a:xfrm>
            <a:off x="381000" y="685800"/>
            <a:ext cx="6096000" cy="3429000"/>
          </a:xfrm>
          <a:ln/>
          <a:extLst>
            <a:ext uri="{FAA26D3D-D897-4be2-8F04-BA451C77F1D7}">
              <ma14:placeholderFlag xmlns:ma14="http://schemas.microsoft.com/office/mac/drawingml/2011/main" xmlns="" val="1"/>
            </a:ext>
          </a:extLst>
        </p:spPr>
      </p:sp>
      <p:sp>
        <p:nvSpPr>
          <p:cNvPr id="37892" name="Rectangle 4"/>
          <p:cNvSpPr>
            <a:spLocks noGrp="1" noChangeArrowheads="1"/>
          </p:cNvSpPr>
          <p:nvPr>
            <p:ph type="body" idx="1"/>
          </p:nvPr>
        </p:nvSpPr>
        <p:spPr/>
        <p:txBody>
          <a:bodyPr/>
          <a:lstStyle/>
          <a:p>
            <a:pPr eaLnBrk="1" hangingPunct="1">
              <a:defRPr/>
            </a:pPr>
            <a:endParaRPr lang="en-US" dirty="0" smtClean="0">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Espaço Reservado para Imagem de Slide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37891" name="Espaço Reservado para Anotaçõ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BR" dirty="0" smtClean="0"/>
          </a:p>
        </p:txBody>
      </p:sp>
      <p:sp>
        <p:nvSpPr>
          <p:cNvPr id="37892" name="Espaço Reservado para Número de Slid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A8209C26-880D-4139-A736-6499738C5AC5}" type="slidenum">
              <a:rPr lang="pt-BR" smtClean="0">
                <a:solidFill>
                  <a:prstClr val="black"/>
                </a:solidFill>
              </a:rPr>
              <a:pPr/>
              <a:t>42</a:t>
            </a:fld>
            <a:endParaRPr lang="pt-BR" dirty="0" smtClean="0">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381000" y="685800"/>
            <a:ext cx="6096000" cy="3429000"/>
          </a:xfrm>
        </p:spPr>
      </p:sp>
      <p:sp>
        <p:nvSpPr>
          <p:cNvPr id="3" name="Espaço Reservado para Anotações 2"/>
          <p:cNvSpPr>
            <a:spLocks noGrp="1"/>
          </p:cNvSpPr>
          <p:nvPr>
            <p:ph type="body" idx="1"/>
          </p:nvPr>
        </p:nvSpPr>
        <p:spPr/>
        <p:txBody>
          <a:bodyPr/>
          <a:lstStyle/>
          <a:p>
            <a:r>
              <a:rPr lang="pt-BR" dirty="0" smtClean="0"/>
              <a:t>US 25%</a:t>
            </a:r>
          </a:p>
          <a:p>
            <a:r>
              <a:rPr lang="pt-BR" dirty="0" err="1" smtClean="0"/>
              <a:t>Brazil</a:t>
            </a:r>
            <a:r>
              <a:rPr lang="pt-BR" dirty="0" smtClean="0"/>
              <a:t> 3%</a:t>
            </a:r>
            <a:endParaRPr lang="en-US" dirty="0"/>
          </a:p>
        </p:txBody>
      </p:sp>
      <p:sp>
        <p:nvSpPr>
          <p:cNvPr id="4" name="Espaço Reservado para Número de Slide 3"/>
          <p:cNvSpPr>
            <a:spLocks noGrp="1"/>
          </p:cNvSpPr>
          <p:nvPr>
            <p:ph type="sldNum" sz="quarter" idx="10"/>
          </p:nvPr>
        </p:nvSpPr>
        <p:spPr/>
        <p:txBody>
          <a:bodyPr/>
          <a:lstStyle/>
          <a:p>
            <a:pPr>
              <a:defRPr/>
            </a:pPr>
            <a:fld id="{8F664427-00FF-4B35-89F2-4CA99FAF1EF7}" type="slidenum">
              <a:rPr lang="pt-BR" smtClean="0">
                <a:solidFill>
                  <a:prstClr val="black"/>
                </a:solidFill>
              </a:rPr>
              <a:pPr>
                <a:defRPr/>
              </a:pPr>
              <a:t>43</a:t>
            </a:fld>
            <a:endParaRPr lang="pt-BR">
              <a:solidFill>
                <a:prstClr val="black"/>
              </a:solidFill>
            </a:endParaRPr>
          </a:p>
        </p:txBody>
      </p:sp>
    </p:spTree>
    <p:extLst>
      <p:ext uri="{BB962C8B-B14F-4D97-AF65-F5344CB8AC3E}">
        <p14:creationId xmlns:p14="http://schemas.microsoft.com/office/powerpoint/2010/main" val="19635040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381000" y="685800"/>
            <a:ext cx="6096000" cy="3429000"/>
          </a:xfrm>
        </p:spPr>
      </p:sp>
      <p:sp>
        <p:nvSpPr>
          <p:cNvPr id="3" name="Espaço Reservado para Anotações 2"/>
          <p:cNvSpPr>
            <a:spLocks noGrp="1"/>
          </p:cNvSpPr>
          <p:nvPr>
            <p:ph type="body" idx="1"/>
          </p:nvPr>
        </p:nvSpPr>
        <p:spPr/>
        <p:txBody>
          <a:bodyPr/>
          <a:lstStyle/>
          <a:p>
            <a:pPr marL="171450" indent="-171450">
              <a:buFont typeface="Arial" pitchFamily="34" charset="0"/>
              <a:buChar char="•"/>
            </a:pPr>
            <a:r>
              <a:rPr lang="pt-BR" baseline="0" dirty="0" smtClean="0"/>
              <a:t>Total para 2012 17.082.124 (37 % internacional, 63 % doméstico)</a:t>
            </a:r>
          </a:p>
          <a:p>
            <a:endParaRPr lang="en-US" dirty="0"/>
          </a:p>
        </p:txBody>
      </p:sp>
      <p:sp>
        <p:nvSpPr>
          <p:cNvPr id="4" name="Espaço Reservado para Número de Slide 3"/>
          <p:cNvSpPr>
            <a:spLocks noGrp="1"/>
          </p:cNvSpPr>
          <p:nvPr>
            <p:ph type="sldNum" sz="quarter" idx="10"/>
          </p:nvPr>
        </p:nvSpPr>
        <p:spPr/>
        <p:txBody>
          <a:bodyPr/>
          <a:lstStyle/>
          <a:p>
            <a:pPr>
              <a:defRPr/>
            </a:pPr>
            <a:fld id="{8F664427-00FF-4B35-89F2-4CA99FAF1EF7}" type="slidenum">
              <a:rPr lang="pt-BR" smtClean="0">
                <a:solidFill>
                  <a:prstClr val="black"/>
                </a:solidFill>
              </a:rPr>
              <a:pPr>
                <a:defRPr/>
              </a:pPr>
              <a:t>44</a:t>
            </a:fld>
            <a:endParaRPr lang="pt-BR">
              <a:solidFill>
                <a:prstClr val="black"/>
              </a:solidFill>
            </a:endParaRPr>
          </a:p>
        </p:txBody>
      </p:sp>
    </p:spTree>
    <p:extLst>
      <p:ext uri="{BB962C8B-B14F-4D97-AF65-F5344CB8AC3E}">
        <p14:creationId xmlns:p14="http://schemas.microsoft.com/office/powerpoint/2010/main" val="14659349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Espaço Reservado para Imagem de Slide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41987" name="Espaço Reservado para Anotações 2"/>
          <p:cNvSpPr>
            <a:spLocks noGrp="1"/>
          </p:cNvSpPr>
          <p:nvPr>
            <p:ph type="body" idx="1"/>
          </p:nvPr>
        </p:nvSpPr>
        <p:spPr bwMode="auto">
          <a:noFill/>
        </p:spPr>
        <p:txBody>
          <a:bodyPr wrap="square" numCol="1" anchor="t" anchorCtr="0" compatLnSpc="1">
            <a:prstTxWarp prst="textNoShape">
              <a:avLst/>
            </a:prstTxWarp>
          </a:bodyPr>
          <a:lstStyle/>
          <a:p>
            <a:endParaRPr lang="pt-BR" smtClean="0"/>
          </a:p>
        </p:txBody>
      </p:sp>
      <p:sp>
        <p:nvSpPr>
          <p:cNvPr id="41988" name="Espaço Reservado para Número de Slid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6E64547-6970-4E67-A2CB-E8941FB28FB4}" type="slidenum">
              <a:rPr lang="pt-BR" smtClean="0">
                <a:solidFill>
                  <a:prstClr val="black"/>
                </a:solidFill>
              </a:rPr>
              <a:pPr/>
              <a:t>45</a:t>
            </a:fld>
            <a:endParaRPr lang="pt-BR" smtClean="0">
              <a:solidFill>
                <a:prstClr val="black"/>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Espaço Reservado para Imagem de Slide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38915" name="Espaço Reservado para Anotaçõ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BR" smtClean="0"/>
          </a:p>
        </p:txBody>
      </p:sp>
      <p:sp>
        <p:nvSpPr>
          <p:cNvPr id="38916" name="Espaço Reservado para Número de Slid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A2D398C9-581D-4B5F-A938-3F4D37A6BB8E}" type="slidenum">
              <a:rPr lang="pt-BR" smtClean="0">
                <a:solidFill>
                  <a:prstClr val="black"/>
                </a:solidFill>
              </a:rPr>
              <a:pPr/>
              <a:t>46</a:t>
            </a:fld>
            <a:endParaRPr lang="pt-BR" smtClean="0">
              <a:solidFill>
                <a:prstClr val="black"/>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381000" y="685800"/>
            <a:ext cx="6096000" cy="3429000"/>
          </a:xfrm>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pPr>
              <a:defRPr/>
            </a:pPr>
            <a:fld id="{BE68F9D4-A3BF-421B-9EFE-8257DCF740B9}" type="slidenum">
              <a:rPr lang="es-ES" smtClean="0">
                <a:solidFill>
                  <a:prstClr val="black"/>
                </a:solidFill>
              </a:rPr>
              <a:pPr>
                <a:defRPr/>
              </a:pPr>
              <a:t>59</a:t>
            </a:fld>
            <a:endParaRPr lang="es-ES">
              <a:solidFill>
                <a:prstClr val="black"/>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1 Marcador de imagen de diapositiva"/>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6147"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ES" smtClean="0"/>
          </a:p>
        </p:txBody>
      </p:sp>
      <p:sp>
        <p:nvSpPr>
          <p:cNvPr id="8196"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B6301A4C-9815-4376-82CA-84CF4E158612}" type="slidenum">
              <a:rPr lang="es-ES" smtClean="0">
                <a:solidFill>
                  <a:prstClr val="black"/>
                </a:solidFill>
              </a:rPr>
              <a:pPr>
                <a:defRPr/>
              </a:pPr>
              <a:t>60</a:t>
            </a:fld>
            <a:endParaRPr lang="es-ES" smtClean="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7565" y="685488"/>
            <a:ext cx="606287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5940940-A47B-47AE-9EAB-B9A5D7882799}"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4544175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1 Marcador de imagen de diapositiva"/>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6147"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ES" smtClean="0"/>
          </a:p>
        </p:txBody>
      </p:sp>
      <p:sp>
        <p:nvSpPr>
          <p:cNvPr id="8196"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B6301A4C-9815-4376-82CA-84CF4E158612}" type="slidenum">
              <a:rPr lang="es-ES" smtClean="0">
                <a:solidFill>
                  <a:prstClr val="black"/>
                </a:solidFill>
              </a:rPr>
              <a:pPr>
                <a:defRPr/>
              </a:pPr>
              <a:t>61</a:t>
            </a:fld>
            <a:endParaRPr lang="es-ES" smtClean="0">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1 Marcador de imagen de diapositiva"/>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6147"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ES" smtClean="0"/>
          </a:p>
        </p:txBody>
      </p:sp>
      <p:sp>
        <p:nvSpPr>
          <p:cNvPr id="8196"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B6301A4C-9815-4376-82CA-84CF4E158612}" type="slidenum">
              <a:rPr lang="es-ES" smtClean="0">
                <a:solidFill>
                  <a:prstClr val="black"/>
                </a:solidFill>
              </a:rPr>
              <a:pPr>
                <a:defRPr/>
              </a:pPr>
              <a:t>62</a:t>
            </a:fld>
            <a:endParaRPr lang="es-ES" smtClean="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smtClean="0"/>
              <a:t>To ensure the quality of environment, all ICAO Member states agreed to establish three aviation environmental goals:</a:t>
            </a:r>
          </a:p>
          <a:p>
            <a:pPr eaLnBrk="1" hangingPunct="1">
              <a:spcBef>
                <a:spcPct val="0"/>
              </a:spcBef>
            </a:pPr>
            <a:endParaRPr lang="en-US" dirty="0" smtClean="0"/>
          </a:p>
          <a:p>
            <a:pPr eaLnBrk="1" hangingPunct="1">
              <a:spcBef>
                <a:spcPct val="0"/>
              </a:spcBef>
            </a:pPr>
            <a:r>
              <a:rPr lang="en-US" dirty="0" smtClean="0"/>
              <a:t>a) limit or reduce the number of people affected by significant aircraft noise;</a:t>
            </a:r>
          </a:p>
          <a:p>
            <a:pPr eaLnBrk="1" hangingPunct="1">
              <a:spcBef>
                <a:spcPct val="0"/>
              </a:spcBef>
            </a:pPr>
            <a:r>
              <a:rPr lang="en-US" dirty="0" smtClean="0"/>
              <a:t>b) limit or reduce the impact of aviation emissions on local air quality; and</a:t>
            </a:r>
          </a:p>
          <a:p>
            <a:pPr eaLnBrk="1" hangingPunct="1">
              <a:spcBef>
                <a:spcPct val="0"/>
              </a:spcBef>
            </a:pPr>
            <a:r>
              <a:rPr lang="en-US" dirty="0" smtClean="0"/>
              <a:t>c) limit or reduce the impact of aviation greenhouse gas emissions on the </a:t>
            </a:r>
            <a:r>
              <a:rPr lang="en-GB" dirty="0" smtClean="0"/>
              <a:t>global climate</a:t>
            </a:r>
          </a:p>
          <a:p>
            <a:pPr eaLnBrk="1" hangingPunct="1">
              <a:spcBef>
                <a:spcPct val="0"/>
              </a:spcBef>
            </a:pPr>
            <a:endParaRPr lang="en-GB" dirty="0" smtClean="0"/>
          </a:p>
          <a:p>
            <a:pPr eaLnBrk="1" hangingPunct="1">
              <a:spcBef>
                <a:spcPct val="0"/>
              </a:spcBef>
            </a:pPr>
            <a:r>
              <a:rPr lang="en-US" dirty="0" smtClean="0"/>
              <a:t>These goals acknowledge that we need to maintain compatibility between safe and orderly growth while ensuring the quality of </a:t>
            </a:r>
            <a:r>
              <a:rPr lang="en-GB" dirty="0" smtClean="0"/>
              <a:t>environment.</a:t>
            </a:r>
          </a:p>
          <a:p>
            <a:pPr eaLnBrk="1" hangingPunct="1">
              <a:spcBef>
                <a:spcPct val="0"/>
              </a:spcBef>
            </a:pPr>
            <a:endParaRPr lang="en-GB" dirty="0" smtClean="0"/>
          </a:p>
        </p:txBody>
      </p:sp>
      <p:sp>
        <p:nvSpPr>
          <p:cNvPr id="2970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09" indent="-285734">
              <a:defRPr>
                <a:solidFill>
                  <a:schemeClr val="tx1"/>
                </a:solidFill>
                <a:latin typeface="Calibri" pitchFamily="34" charset="0"/>
              </a:defRPr>
            </a:lvl2pPr>
            <a:lvl3pPr marL="1142937" indent="-228587">
              <a:defRPr>
                <a:solidFill>
                  <a:schemeClr val="tx1"/>
                </a:solidFill>
                <a:latin typeface="Calibri" pitchFamily="34" charset="0"/>
              </a:defRPr>
            </a:lvl3pPr>
            <a:lvl4pPr marL="1600112" indent="-228587">
              <a:defRPr>
                <a:solidFill>
                  <a:schemeClr val="tx1"/>
                </a:solidFill>
                <a:latin typeface="Calibri" pitchFamily="34" charset="0"/>
              </a:defRPr>
            </a:lvl4pPr>
            <a:lvl5pPr marL="2057287" indent="-228587">
              <a:defRPr>
                <a:solidFill>
                  <a:schemeClr val="tx1"/>
                </a:solidFill>
                <a:latin typeface="Calibri" pitchFamily="34" charset="0"/>
              </a:defRPr>
            </a:lvl5pPr>
            <a:lvl6pPr marL="2514461" indent="-228587" fontAlgn="base">
              <a:spcBef>
                <a:spcPct val="0"/>
              </a:spcBef>
              <a:spcAft>
                <a:spcPct val="0"/>
              </a:spcAft>
              <a:defRPr>
                <a:solidFill>
                  <a:schemeClr val="tx1"/>
                </a:solidFill>
                <a:latin typeface="Calibri" pitchFamily="34" charset="0"/>
              </a:defRPr>
            </a:lvl6pPr>
            <a:lvl7pPr marL="2971635" indent="-228587" fontAlgn="base">
              <a:spcBef>
                <a:spcPct val="0"/>
              </a:spcBef>
              <a:spcAft>
                <a:spcPct val="0"/>
              </a:spcAft>
              <a:defRPr>
                <a:solidFill>
                  <a:schemeClr val="tx1"/>
                </a:solidFill>
                <a:latin typeface="Calibri" pitchFamily="34" charset="0"/>
              </a:defRPr>
            </a:lvl7pPr>
            <a:lvl8pPr marL="3428810" indent="-228587" fontAlgn="base">
              <a:spcBef>
                <a:spcPct val="0"/>
              </a:spcBef>
              <a:spcAft>
                <a:spcPct val="0"/>
              </a:spcAft>
              <a:defRPr>
                <a:solidFill>
                  <a:schemeClr val="tx1"/>
                </a:solidFill>
                <a:latin typeface="Calibri" pitchFamily="34" charset="0"/>
              </a:defRPr>
            </a:lvl8pPr>
            <a:lvl9pPr marL="3885985" indent="-228587"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CD9FF019-088B-4BC5-BEC0-A4586358CA9B}" type="slidenum">
              <a:rPr lang="en-GB" smtClean="0">
                <a:solidFill>
                  <a:prstClr val="black"/>
                </a:solidFill>
              </a:rPr>
              <a:pPr fontAlgn="base">
                <a:spcBef>
                  <a:spcPct val="0"/>
                </a:spcBef>
                <a:spcAft>
                  <a:spcPct val="0"/>
                </a:spcAft>
                <a:defRPr/>
              </a:pPr>
              <a:t>7</a:t>
            </a:fld>
            <a:endParaRPr lang="en-GB" smtClean="0">
              <a:solidFill>
                <a:prstClr val="black"/>
              </a:solidFill>
            </a:endParaRPr>
          </a:p>
        </p:txBody>
      </p:sp>
      <p:sp>
        <p:nvSpPr>
          <p:cNvPr id="2" name="Date Placeholder 1"/>
          <p:cNvSpPr>
            <a:spLocks noGrp="1"/>
          </p:cNvSpPr>
          <p:nvPr>
            <p:ph type="dt" idx="10"/>
          </p:nvPr>
        </p:nvSpPr>
        <p:spPr/>
        <p:txBody>
          <a:bodyPr/>
          <a:lstStyle/>
          <a:p>
            <a:pPr>
              <a:defRPr/>
            </a:pPr>
            <a:r>
              <a:rPr lang="en-US" smtClean="0">
                <a:solidFill>
                  <a:prstClr val="black"/>
                </a:solidFill>
              </a:rPr>
              <a:t>August 2013</a:t>
            </a:r>
            <a:endParaRPr lang="en-GB">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7565" y="685488"/>
            <a:ext cx="6062870" cy="3429000"/>
          </a:xfrm>
        </p:spPr>
      </p:sp>
      <p:sp>
        <p:nvSpPr>
          <p:cNvPr id="3" name="Notes Placeholder 2"/>
          <p:cNvSpPr>
            <a:spLocks noGrp="1"/>
          </p:cNvSpPr>
          <p:nvPr>
            <p:ph type="body" idx="1"/>
          </p:nvPr>
        </p:nvSpPr>
        <p:spPr/>
        <p:txBody>
          <a:bodyPr>
            <a:normAutofit/>
          </a:bodyPr>
          <a:lstStyle/>
          <a:p>
            <a:r>
              <a:rPr lang="en-GB" b="1" dirty="0" smtClean="0"/>
              <a:t>Slide 5 –</a:t>
            </a:r>
            <a:r>
              <a:rPr lang="en-GB" dirty="0" smtClean="0"/>
              <a:t>  So, what does ICAO have to do with alternative fuels?  Well, we don’t produce fuel – you’ll never see an aircraft being fuelled from a </a:t>
            </a:r>
            <a:r>
              <a:rPr lang="en-GB" dirty="0" err="1" smtClean="0"/>
              <a:t>Petricao</a:t>
            </a:r>
            <a:r>
              <a:rPr lang="en-GB" dirty="0" smtClean="0"/>
              <a:t> truck.  We don’t certify it, either.  But, as the United Nations specialized agency for international civil aviation, we bring States and stakeholders together.  We are a </a:t>
            </a:r>
            <a:r>
              <a:rPr lang="en-GB" b="1" dirty="0" smtClean="0"/>
              <a:t>facilitator</a:t>
            </a:r>
            <a:r>
              <a:rPr lang="en-GB" dirty="0" smtClean="0"/>
              <a:t>.</a:t>
            </a:r>
          </a:p>
          <a:p>
            <a:r>
              <a:rPr lang="en-GB" dirty="0" smtClean="0"/>
              <a:t> </a:t>
            </a:r>
          </a:p>
          <a:p>
            <a:r>
              <a:rPr lang="en-GB" dirty="0" smtClean="0"/>
              <a:t>We provide the forum for outreach, information exchange, and international collaboration.</a:t>
            </a:r>
          </a:p>
          <a:p>
            <a:endParaRPr lang="en-GB" dirty="0"/>
          </a:p>
        </p:txBody>
      </p:sp>
      <p:sp>
        <p:nvSpPr>
          <p:cNvPr id="4" name="Slide Number Placeholder 3"/>
          <p:cNvSpPr>
            <a:spLocks noGrp="1"/>
          </p:cNvSpPr>
          <p:nvPr>
            <p:ph type="sldNum" sz="quarter" idx="10"/>
          </p:nvPr>
        </p:nvSpPr>
        <p:spPr/>
        <p:txBody>
          <a:bodyPr/>
          <a:lstStyle/>
          <a:p>
            <a:fld id="{C184AEDA-4B0D-4AF5-A756-93D00DED30E1}" type="slidenum">
              <a:rPr lang="en-GB" smtClean="0">
                <a:solidFill>
                  <a:prstClr val="black"/>
                </a:solidFill>
              </a:rPr>
              <a:pPr/>
              <a:t>8</a:t>
            </a:fld>
            <a:endParaRPr lang="en-GB">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7565" y="685488"/>
            <a:ext cx="6062870" cy="3429000"/>
          </a:xfrm>
        </p:spPr>
      </p:sp>
      <p:sp>
        <p:nvSpPr>
          <p:cNvPr id="3" name="Notes Placeholder 2"/>
          <p:cNvSpPr>
            <a:spLocks noGrp="1"/>
          </p:cNvSpPr>
          <p:nvPr>
            <p:ph type="body" idx="1"/>
          </p:nvPr>
        </p:nvSpPr>
        <p:spPr/>
        <p:txBody>
          <a:bodyPr/>
          <a:lstStyle/>
          <a:p>
            <a:r>
              <a:rPr lang="en-GB" dirty="0" smtClean="0"/>
              <a:t>Our</a:t>
            </a:r>
            <a:r>
              <a:rPr lang="en-GB" baseline="0" dirty="0" smtClean="0"/>
              <a:t> work on alternative fuels is not new.</a:t>
            </a:r>
            <a:endParaRPr lang="en-GB" dirty="0"/>
          </a:p>
        </p:txBody>
      </p:sp>
      <p:sp>
        <p:nvSpPr>
          <p:cNvPr id="4" name="Slide Number Placeholder 3"/>
          <p:cNvSpPr>
            <a:spLocks noGrp="1"/>
          </p:cNvSpPr>
          <p:nvPr>
            <p:ph type="sldNum" sz="quarter" idx="10"/>
          </p:nvPr>
        </p:nvSpPr>
        <p:spPr/>
        <p:txBody>
          <a:bodyPr/>
          <a:lstStyle/>
          <a:p>
            <a:fld id="{75940940-A47B-47AE-9EAB-B9A5D788279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509242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7565" y="685488"/>
            <a:ext cx="6062870" cy="3429000"/>
          </a:xfrm>
        </p:spPr>
      </p:sp>
      <p:sp>
        <p:nvSpPr>
          <p:cNvPr id="3" name="Notes Placeholder 2"/>
          <p:cNvSpPr>
            <a:spLocks noGrp="1"/>
          </p:cNvSpPr>
          <p:nvPr>
            <p:ph type="body" idx="1"/>
          </p:nvPr>
        </p:nvSpPr>
        <p:spPr/>
        <p:txBody>
          <a:bodyPr>
            <a:normAutofit/>
          </a:bodyPr>
          <a:lstStyle/>
          <a:p>
            <a:r>
              <a:rPr lang="en-US" dirty="0" smtClean="0"/>
              <a:t>This chart represents the most</a:t>
            </a:r>
            <a:r>
              <a:rPr lang="en-US" baseline="0" dirty="0" smtClean="0"/>
              <a:t> recent analysis of the organization of possible contribution of the various elements in the basket of measures.  We had hoped to be able to include a wedge for alternative fuels going out to 2040 or 2050 as we have done with the other more “mature” elements – air traffic management and infrastructure use, and aircraft technology, but as everyone in this room appreciates, it is very difficult to predict the potential contribution to global international aviation emissions by alternative fuels.</a:t>
            </a:r>
            <a:endParaRPr lang="en-US" dirty="0" smtClean="0"/>
          </a:p>
        </p:txBody>
      </p:sp>
      <p:sp>
        <p:nvSpPr>
          <p:cNvPr id="4" name="Date Placeholder 3"/>
          <p:cNvSpPr>
            <a:spLocks noGrp="1"/>
          </p:cNvSpPr>
          <p:nvPr>
            <p:ph type="dt" idx="10"/>
          </p:nvPr>
        </p:nvSpPr>
        <p:spPr/>
        <p:txBody>
          <a:bodyPr/>
          <a:lstStyle/>
          <a:p>
            <a:pPr>
              <a:defRPr/>
            </a:pPr>
            <a:r>
              <a:rPr lang="en-US" smtClean="0">
                <a:solidFill>
                  <a:prstClr val="black"/>
                </a:solidFill>
              </a:rPr>
              <a:t>August 2013</a:t>
            </a:r>
            <a:endParaRPr lang="en-GB">
              <a:solidFill>
                <a:prstClr val="black"/>
              </a:solidFill>
            </a:endParaRPr>
          </a:p>
        </p:txBody>
      </p:sp>
      <p:sp>
        <p:nvSpPr>
          <p:cNvPr id="5" name="Slide Number Placeholder 4"/>
          <p:cNvSpPr>
            <a:spLocks noGrp="1"/>
          </p:cNvSpPr>
          <p:nvPr>
            <p:ph type="sldNum" sz="quarter" idx="11"/>
          </p:nvPr>
        </p:nvSpPr>
        <p:spPr/>
        <p:txBody>
          <a:bodyPr/>
          <a:lstStyle/>
          <a:p>
            <a:pPr>
              <a:defRPr/>
            </a:pPr>
            <a:fld id="{FE859B3D-EBBC-415D-876A-B95D37371D07}" type="slidenum">
              <a:rPr lang="en-GB" smtClean="0">
                <a:solidFill>
                  <a:prstClr val="black"/>
                </a:solidFill>
              </a:rPr>
              <a:pPr>
                <a:defRPr/>
              </a:pPr>
              <a:t>10</a:t>
            </a:fld>
            <a:endParaRPr lang="en-GB">
              <a:solidFill>
                <a:prstClr val="black"/>
              </a:solidFill>
            </a:endParaRPr>
          </a:p>
        </p:txBody>
      </p:sp>
    </p:spTree>
    <p:extLst>
      <p:ext uri="{BB962C8B-B14F-4D97-AF65-F5344CB8AC3E}">
        <p14:creationId xmlns:p14="http://schemas.microsoft.com/office/powerpoint/2010/main" val="3094454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7565" y="685488"/>
            <a:ext cx="6062870" cy="3429000"/>
          </a:xfrm>
        </p:spPr>
      </p:sp>
      <p:sp>
        <p:nvSpPr>
          <p:cNvPr id="3" name="Notes Placeholder 2"/>
          <p:cNvSpPr>
            <a:spLocks noGrp="1"/>
          </p:cNvSpPr>
          <p:nvPr>
            <p:ph type="body" idx="1"/>
          </p:nvPr>
        </p:nvSpPr>
        <p:spPr/>
        <p:txBody>
          <a:bodyPr/>
          <a:lstStyle/>
          <a:p>
            <a:r>
              <a:rPr lang="en-GB" dirty="0" smtClean="0"/>
              <a:t>In support</a:t>
            </a:r>
            <a:r>
              <a:rPr lang="en-GB" baseline="0" dirty="0" smtClean="0"/>
              <a:t> of improved understanding of alternative fuels and to facilitate information exchange, we have developed and recently enhanced the Global Framework for Aviation Alternative Fuels, with information on initiatives that are planned and underway worldwide.  This constantly growing database includes nearly 400 announcements and initiatives today.</a:t>
            </a:r>
            <a:endParaRPr lang="en-GB" dirty="0"/>
          </a:p>
        </p:txBody>
      </p:sp>
      <p:sp>
        <p:nvSpPr>
          <p:cNvPr id="4" name="Slide Number Placeholder 3"/>
          <p:cNvSpPr>
            <a:spLocks noGrp="1"/>
          </p:cNvSpPr>
          <p:nvPr>
            <p:ph type="sldNum" sz="quarter" idx="10"/>
          </p:nvPr>
        </p:nvSpPr>
        <p:spPr/>
        <p:txBody>
          <a:bodyPr/>
          <a:lstStyle/>
          <a:p>
            <a:fld id="{75940940-A47B-47AE-9EAB-B9A5D7882799}"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36288199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41" indent="0" algn="ctr">
              <a:buNone/>
              <a:defRPr>
                <a:solidFill>
                  <a:schemeClr val="tx1">
                    <a:tint val="75000"/>
                  </a:schemeClr>
                </a:solidFill>
              </a:defRPr>
            </a:lvl2pPr>
            <a:lvl3pPr marL="914281" indent="0" algn="ctr">
              <a:buNone/>
              <a:defRPr>
                <a:solidFill>
                  <a:schemeClr val="tx1">
                    <a:tint val="75000"/>
                  </a:schemeClr>
                </a:solidFill>
              </a:defRPr>
            </a:lvl3pPr>
            <a:lvl4pPr marL="1371423" indent="0" algn="ctr">
              <a:buNone/>
              <a:defRPr>
                <a:solidFill>
                  <a:schemeClr val="tx1">
                    <a:tint val="75000"/>
                  </a:schemeClr>
                </a:solidFill>
              </a:defRPr>
            </a:lvl4pPr>
            <a:lvl5pPr marL="1828563" indent="0" algn="ctr">
              <a:buNone/>
              <a:defRPr>
                <a:solidFill>
                  <a:schemeClr val="tx1">
                    <a:tint val="75000"/>
                  </a:schemeClr>
                </a:solidFill>
              </a:defRPr>
            </a:lvl5pPr>
            <a:lvl6pPr marL="2285704" indent="0" algn="ctr">
              <a:buNone/>
              <a:defRPr>
                <a:solidFill>
                  <a:schemeClr val="tx1">
                    <a:tint val="75000"/>
                  </a:schemeClr>
                </a:solidFill>
              </a:defRPr>
            </a:lvl6pPr>
            <a:lvl7pPr marL="2742844" indent="0" algn="ctr">
              <a:buNone/>
              <a:defRPr>
                <a:solidFill>
                  <a:schemeClr val="tx1">
                    <a:tint val="75000"/>
                  </a:schemeClr>
                </a:solidFill>
              </a:defRPr>
            </a:lvl7pPr>
            <a:lvl8pPr marL="3199985" indent="0" algn="ctr">
              <a:buNone/>
              <a:defRPr>
                <a:solidFill>
                  <a:schemeClr val="tx1">
                    <a:tint val="75000"/>
                  </a:schemeClr>
                </a:solidFill>
              </a:defRPr>
            </a:lvl8pPr>
            <a:lvl9pPr marL="3657126"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7EF5E57-8B35-447F-9D17-6D9BCA2C8447}" type="datetimeFigureOut">
              <a:rPr lang="en-US" smtClean="0"/>
              <a:pPr/>
              <a:t>1/29/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5022C1-BBB1-491E-B0A6-9417E06D3865}"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7EF5E57-8B35-447F-9D17-6D9BCA2C8447}" type="datetimeFigureOut">
              <a:rPr lang="en-US" smtClean="0"/>
              <a:pPr/>
              <a:t>1/29/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5022C1-BBB1-491E-B0A6-9417E06D3865}" type="slidenum">
              <a:rPr lang="en-US" smtClean="0"/>
              <a:pPr/>
              <a:t>‹#›</a:t>
            </a:fld>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3"/>
          <p:cNvSpPr>
            <a:spLocks noGrp="1"/>
          </p:cNvSpPr>
          <p:nvPr>
            <p:ph type="dt" sz="half" idx="10"/>
          </p:nvPr>
        </p:nvSpPr>
        <p:spPr/>
        <p:txBody>
          <a:bodyPr/>
          <a:lstStyle>
            <a:lvl1pPr>
              <a:defRPr/>
            </a:lvl1pPr>
          </a:lstStyle>
          <a:p>
            <a:pPr>
              <a:defRPr/>
            </a:pPr>
            <a:fld id="{B975E230-1D9C-44C8-8B19-9C4CD3EFA842}" type="datetime1">
              <a:rPr lang="de-DE" smtClean="0">
                <a:solidFill>
                  <a:prstClr val="black">
                    <a:tint val="75000"/>
                  </a:prstClr>
                </a:solidFill>
              </a:rPr>
              <a:pPr>
                <a:defRPr/>
              </a:pPr>
              <a:t>29.01.2014</a:t>
            </a:fld>
            <a:endParaRPr lang="de-DE">
              <a:solidFill>
                <a:prstClr val="black">
                  <a:tint val="75000"/>
                </a:prstClr>
              </a:solidFill>
            </a:endParaRPr>
          </a:p>
        </p:txBody>
      </p:sp>
      <p:sp>
        <p:nvSpPr>
          <p:cNvPr id="4"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5" name="Foliennummernplatzhalter 5"/>
          <p:cNvSpPr>
            <a:spLocks noGrp="1"/>
          </p:cNvSpPr>
          <p:nvPr>
            <p:ph type="sldNum" sz="quarter" idx="12"/>
          </p:nvPr>
        </p:nvSpPr>
        <p:spPr/>
        <p:txBody>
          <a:bodyPr/>
          <a:lstStyle>
            <a:lvl1pPr>
              <a:defRPr/>
            </a:lvl1pPr>
          </a:lstStyle>
          <a:p>
            <a:pPr>
              <a:defRPr/>
            </a:pPr>
            <a:fld id="{7D932DC2-FB2F-4A72-B837-E296B924D621}"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13751540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3"/>
          <p:cNvSpPr>
            <a:spLocks noGrp="1"/>
          </p:cNvSpPr>
          <p:nvPr>
            <p:ph type="dt" sz="half" idx="10"/>
          </p:nvPr>
        </p:nvSpPr>
        <p:spPr/>
        <p:txBody>
          <a:bodyPr/>
          <a:lstStyle>
            <a:lvl1pPr>
              <a:defRPr/>
            </a:lvl1pPr>
          </a:lstStyle>
          <a:p>
            <a:pPr>
              <a:defRPr/>
            </a:pPr>
            <a:fld id="{D1D946DD-F650-49E0-8075-1565DDC67BE2}" type="datetime1">
              <a:rPr lang="de-DE" smtClean="0">
                <a:solidFill>
                  <a:prstClr val="black">
                    <a:tint val="75000"/>
                  </a:prstClr>
                </a:solidFill>
              </a:rPr>
              <a:pPr>
                <a:defRPr/>
              </a:pPr>
              <a:t>29.01.2014</a:t>
            </a:fld>
            <a:endParaRPr lang="de-DE">
              <a:solidFill>
                <a:prstClr val="black">
                  <a:tint val="75000"/>
                </a:prstClr>
              </a:solidFill>
            </a:endParaRPr>
          </a:p>
        </p:txBody>
      </p:sp>
      <p:sp>
        <p:nvSpPr>
          <p:cNvPr id="3"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4" name="Foliennummernplatzhalter 5"/>
          <p:cNvSpPr>
            <a:spLocks noGrp="1"/>
          </p:cNvSpPr>
          <p:nvPr>
            <p:ph type="sldNum" sz="quarter" idx="12"/>
          </p:nvPr>
        </p:nvSpPr>
        <p:spPr/>
        <p:txBody>
          <a:bodyPr/>
          <a:lstStyle>
            <a:lvl1pPr>
              <a:defRPr/>
            </a:lvl1pPr>
          </a:lstStyle>
          <a:p>
            <a:pPr>
              <a:defRPr/>
            </a:pPr>
            <a:fld id="{9CAF70A2-7765-46DF-A997-6FF457CF3705}"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25485533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1" y="204787"/>
            <a:ext cx="3008313" cy="871538"/>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3"/>
          <p:cNvSpPr>
            <a:spLocks noGrp="1"/>
          </p:cNvSpPr>
          <p:nvPr>
            <p:ph type="dt" sz="half" idx="10"/>
          </p:nvPr>
        </p:nvSpPr>
        <p:spPr/>
        <p:txBody>
          <a:bodyPr/>
          <a:lstStyle>
            <a:lvl1pPr>
              <a:defRPr/>
            </a:lvl1pPr>
          </a:lstStyle>
          <a:p>
            <a:pPr>
              <a:defRPr/>
            </a:pPr>
            <a:fld id="{50F82260-4AB2-474D-85A3-103C938281AC}" type="datetime1">
              <a:rPr lang="de-DE" smtClean="0">
                <a:solidFill>
                  <a:prstClr val="black">
                    <a:tint val="75000"/>
                  </a:prstClr>
                </a:solidFill>
              </a:rPr>
              <a:pPr>
                <a:defRPr/>
              </a:pPr>
              <a:t>29.01.2014</a:t>
            </a:fld>
            <a:endParaRPr lang="de-DE">
              <a:solidFill>
                <a:prstClr val="black">
                  <a:tint val="75000"/>
                </a:prstClr>
              </a:solidFill>
            </a:endParaRPr>
          </a:p>
        </p:txBody>
      </p:sp>
      <p:sp>
        <p:nvSpPr>
          <p:cNvPr id="6"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7" name="Foliennummernplatzhalter 5"/>
          <p:cNvSpPr>
            <a:spLocks noGrp="1"/>
          </p:cNvSpPr>
          <p:nvPr>
            <p:ph type="sldNum" sz="quarter" idx="12"/>
          </p:nvPr>
        </p:nvSpPr>
        <p:spPr/>
        <p:txBody>
          <a:bodyPr/>
          <a:lstStyle>
            <a:lvl1pPr>
              <a:defRPr/>
            </a:lvl1pPr>
          </a:lstStyle>
          <a:p>
            <a:pPr>
              <a:defRPr/>
            </a:pPr>
            <a:fld id="{C3947CFD-2578-40EF-BC03-CC1E87771751}"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146679580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054"/>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459581"/>
            <a:ext cx="5486400" cy="30861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a:p>
        </p:txBody>
      </p:sp>
      <p:sp>
        <p:nvSpPr>
          <p:cNvPr id="4" name="Textplatzhalt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3"/>
          <p:cNvSpPr>
            <a:spLocks noGrp="1"/>
          </p:cNvSpPr>
          <p:nvPr>
            <p:ph type="dt" sz="half" idx="10"/>
          </p:nvPr>
        </p:nvSpPr>
        <p:spPr/>
        <p:txBody>
          <a:bodyPr/>
          <a:lstStyle>
            <a:lvl1pPr>
              <a:defRPr/>
            </a:lvl1pPr>
          </a:lstStyle>
          <a:p>
            <a:pPr>
              <a:defRPr/>
            </a:pPr>
            <a:fld id="{AB784B12-AC75-41E3-B36C-730EC9BBBAF9}" type="datetime1">
              <a:rPr lang="de-DE" smtClean="0">
                <a:solidFill>
                  <a:prstClr val="black">
                    <a:tint val="75000"/>
                  </a:prstClr>
                </a:solidFill>
              </a:rPr>
              <a:pPr>
                <a:defRPr/>
              </a:pPr>
              <a:t>29.01.2014</a:t>
            </a:fld>
            <a:endParaRPr lang="de-DE">
              <a:solidFill>
                <a:prstClr val="black">
                  <a:tint val="75000"/>
                </a:prstClr>
              </a:solidFill>
            </a:endParaRPr>
          </a:p>
        </p:txBody>
      </p:sp>
      <p:sp>
        <p:nvSpPr>
          <p:cNvPr id="6"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7" name="Foliennummernplatzhalter 5"/>
          <p:cNvSpPr>
            <a:spLocks noGrp="1"/>
          </p:cNvSpPr>
          <p:nvPr>
            <p:ph type="sldNum" sz="quarter" idx="12"/>
          </p:nvPr>
        </p:nvSpPr>
        <p:spPr/>
        <p:txBody>
          <a:bodyPr/>
          <a:lstStyle>
            <a:lvl1pPr>
              <a:defRPr/>
            </a:lvl1pPr>
          </a:lstStyle>
          <a:p>
            <a:pPr>
              <a:defRPr/>
            </a:pPr>
            <a:fld id="{B11D970A-01FC-4999-85DB-10A2BE5CEA74}"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304498548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pPr>
              <a:defRPr/>
            </a:pPr>
            <a:fld id="{D2DC2026-0A17-47F6-B83D-5C29EA42FEF6}" type="datetime1">
              <a:rPr lang="de-DE" smtClean="0">
                <a:solidFill>
                  <a:prstClr val="black">
                    <a:tint val="75000"/>
                  </a:prstClr>
                </a:solidFill>
              </a:rPr>
              <a:pPr>
                <a:defRPr/>
              </a:pPr>
              <a:t>29.01.2014</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A4BC7008-91B3-41AB-ACAB-D461B60EEE9F}"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34449314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5979"/>
            <a:ext cx="2057400" cy="4388644"/>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05979"/>
            <a:ext cx="6019800" cy="4388644"/>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pPr>
              <a:defRPr/>
            </a:pPr>
            <a:fld id="{078E4360-01A3-46FC-B8BE-03842947850F}" type="datetime1">
              <a:rPr lang="de-DE" smtClean="0">
                <a:solidFill>
                  <a:prstClr val="black">
                    <a:tint val="75000"/>
                  </a:prstClr>
                </a:solidFill>
              </a:rPr>
              <a:pPr>
                <a:defRPr/>
              </a:pPr>
              <a:t>29.01.2014</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FDCBA9B0-9FA4-4C95-972E-7ECFFE78F44F}"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13282368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21"/>
            <a:ext cx="7772400" cy="1102519"/>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p:txBody>
          <a:bodyPr/>
          <a:lstStyle>
            <a:lvl1pPr>
              <a:defRPr/>
            </a:lvl1pPr>
          </a:lstStyle>
          <a:p>
            <a:pPr>
              <a:defRPr/>
            </a:pPr>
            <a:fld id="{9883CC11-9748-4230-B287-63C36231DD11}" type="datetimeFigureOut">
              <a:rPr lang="es-ES">
                <a:solidFill>
                  <a:prstClr val="black">
                    <a:tint val="75000"/>
                  </a:prstClr>
                </a:solidFill>
              </a:rPr>
              <a:pPr>
                <a:defRPr/>
              </a:pPr>
              <a:t>29/01/201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1BCB8A09-9282-4BAE-BB78-6C025DF9A773}" type="slidenum">
              <a:rPr lang="es-ES">
                <a:solidFill>
                  <a:prstClr val="black">
                    <a:tint val="75000"/>
                  </a:prstClr>
                </a:solidFill>
              </a:rPr>
              <a:pPr>
                <a:defRPr/>
              </a:pPr>
              <a:t>‹#›</a:t>
            </a:fld>
            <a:endParaRPr lang="es-ES">
              <a:solidFill>
                <a:prstClr val="black">
                  <a:tint val="75000"/>
                </a:prstClr>
              </a:solidFill>
            </a:endParaRPr>
          </a:p>
        </p:txBody>
      </p:sp>
    </p:spTree>
    <p:extLst>
      <p:ext uri="{BB962C8B-B14F-4D97-AF65-F5344CB8AC3E}">
        <p14:creationId xmlns:p14="http://schemas.microsoft.com/office/powerpoint/2010/main" val="176181080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lvl1pPr>
              <a:defRPr/>
            </a:lvl1pPr>
          </a:lstStyle>
          <a:p>
            <a:pPr>
              <a:defRPr/>
            </a:pPr>
            <a:fld id="{89AEFA05-ECB6-4820-8CD6-A96A9982EA72}" type="datetimeFigureOut">
              <a:rPr lang="es-ES">
                <a:solidFill>
                  <a:prstClr val="black">
                    <a:tint val="75000"/>
                  </a:prstClr>
                </a:solidFill>
              </a:rPr>
              <a:pPr>
                <a:defRPr/>
              </a:pPr>
              <a:t>29/01/201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06FED1F0-4440-49A4-A0C6-9B6D96D35DAB}" type="slidenum">
              <a:rPr lang="es-ES">
                <a:solidFill>
                  <a:prstClr val="black">
                    <a:tint val="75000"/>
                  </a:prstClr>
                </a:solidFill>
              </a:rPr>
              <a:pPr>
                <a:defRPr/>
              </a:pPr>
              <a:t>‹#›</a:t>
            </a:fld>
            <a:endParaRPr lang="es-ES">
              <a:solidFill>
                <a:prstClr val="black">
                  <a:tint val="75000"/>
                </a:prstClr>
              </a:solidFill>
            </a:endParaRPr>
          </a:p>
        </p:txBody>
      </p:sp>
    </p:spTree>
    <p:extLst>
      <p:ext uri="{BB962C8B-B14F-4D97-AF65-F5344CB8AC3E}">
        <p14:creationId xmlns:p14="http://schemas.microsoft.com/office/powerpoint/2010/main" val="139772485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6"/>
            <a:ext cx="7772400" cy="1021556"/>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lvl1pPr>
              <a:defRPr/>
            </a:lvl1pPr>
          </a:lstStyle>
          <a:p>
            <a:pPr>
              <a:defRPr/>
            </a:pPr>
            <a:fld id="{58635983-C610-4FF9-85A0-202DE612D89F}" type="datetimeFigureOut">
              <a:rPr lang="es-ES">
                <a:solidFill>
                  <a:prstClr val="black">
                    <a:tint val="75000"/>
                  </a:prstClr>
                </a:solidFill>
              </a:rPr>
              <a:pPr>
                <a:defRPr/>
              </a:pPr>
              <a:t>29/01/201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0F98BC8F-08F9-4FDC-A862-369205F859EF}" type="slidenum">
              <a:rPr lang="es-ES">
                <a:solidFill>
                  <a:prstClr val="black">
                    <a:tint val="75000"/>
                  </a:prstClr>
                </a:solidFill>
              </a:rPr>
              <a:pPr>
                <a:defRPr/>
              </a:pPr>
              <a:t>‹#›</a:t>
            </a:fld>
            <a:endParaRPr lang="es-ES">
              <a:solidFill>
                <a:prstClr val="black">
                  <a:tint val="75000"/>
                </a:prstClr>
              </a:solidFill>
            </a:endParaRPr>
          </a:p>
        </p:txBody>
      </p:sp>
    </p:spTree>
    <p:extLst>
      <p:ext uri="{BB962C8B-B14F-4D97-AF65-F5344CB8AC3E}">
        <p14:creationId xmlns:p14="http://schemas.microsoft.com/office/powerpoint/2010/main" val="129953609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3 Marcador de fecha"/>
          <p:cNvSpPr>
            <a:spLocks noGrp="1"/>
          </p:cNvSpPr>
          <p:nvPr>
            <p:ph type="dt" sz="half" idx="10"/>
          </p:nvPr>
        </p:nvSpPr>
        <p:spPr/>
        <p:txBody>
          <a:bodyPr/>
          <a:lstStyle>
            <a:lvl1pPr>
              <a:defRPr/>
            </a:lvl1pPr>
          </a:lstStyle>
          <a:p>
            <a:pPr>
              <a:defRPr/>
            </a:pPr>
            <a:fld id="{8A48E00B-9F08-4870-8197-16F538850571}" type="datetimeFigureOut">
              <a:rPr lang="es-ES">
                <a:solidFill>
                  <a:prstClr val="black">
                    <a:tint val="75000"/>
                  </a:prstClr>
                </a:solidFill>
              </a:rPr>
              <a:pPr>
                <a:defRPr/>
              </a:pPr>
              <a:t>29/01/2014</a:t>
            </a:fld>
            <a:endParaRPr lang="es-ES">
              <a:solidFill>
                <a:prstClr val="black">
                  <a:tint val="75000"/>
                </a:prstClr>
              </a:solidFill>
            </a:endParaRPr>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556898F4-0CC5-4BB5-AB19-2248A4532FE5}" type="slidenum">
              <a:rPr lang="es-ES">
                <a:solidFill>
                  <a:prstClr val="black">
                    <a:tint val="75000"/>
                  </a:prstClr>
                </a:solidFill>
              </a:rPr>
              <a:pPr>
                <a:defRPr/>
              </a:pPr>
              <a:t>‹#›</a:t>
            </a:fld>
            <a:endParaRPr lang="es-ES">
              <a:solidFill>
                <a:prstClr val="black">
                  <a:tint val="75000"/>
                </a:prstClr>
              </a:solidFill>
            </a:endParaRPr>
          </a:p>
        </p:txBody>
      </p:sp>
    </p:spTree>
    <p:extLst>
      <p:ext uri="{BB962C8B-B14F-4D97-AF65-F5344CB8AC3E}">
        <p14:creationId xmlns:p14="http://schemas.microsoft.com/office/powerpoint/2010/main" val="241981092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7EF5E57-8B35-447F-9D17-6D9BCA2C8447}" type="datetimeFigureOut">
              <a:rPr lang="en-US" smtClean="0"/>
              <a:pPr/>
              <a:t>1/29/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5022C1-BBB1-491E-B0A6-9417E06D3865}" type="slidenum">
              <a:rPr lang="en-US" smtClean="0"/>
              <a:pPr/>
              <a:t>‹#›</a:t>
            </a:fld>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3 Marcador de fecha"/>
          <p:cNvSpPr>
            <a:spLocks noGrp="1"/>
          </p:cNvSpPr>
          <p:nvPr>
            <p:ph type="dt" sz="half" idx="10"/>
          </p:nvPr>
        </p:nvSpPr>
        <p:spPr/>
        <p:txBody>
          <a:bodyPr/>
          <a:lstStyle>
            <a:lvl1pPr>
              <a:defRPr/>
            </a:lvl1pPr>
          </a:lstStyle>
          <a:p>
            <a:pPr>
              <a:defRPr/>
            </a:pPr>
            <a:fld id="{38F518AB-7929-4F84-86B6-B6DECA469307}" type="datetimeFigureOut">
              <a:rPr lang="es-ES">
                <a:solidFill>
                  <a:prstClr val="black">
                    <a:tint val="75000"/>
                  </a:prstClr>
                </a:solidFill>
              </a:rPr>
              <a:pPr>
                <a:defRPr/>
              </a:pPr>
              <a:t>29/01/2014</a:t>
            </a:fld>
            <a:endParaRPr lang="es-ES">
              <a:solidFill>
                <a:prstClr val="black">
                  <a:tint val="75000"/>
                </a:prstClr>
              </a:solidFill>
            </a:endParaRPr>
          </a:p>
        </p:txBody>
      </p:sp>
      <p:sp>
        <p:nvSpPr>
          <p:cNvPr id="8"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5 Marcador de número de diapositiva"/>
          <p:cNvSpPr>
            <a:spLocks noGrp="1"/>
          </p:cNvSpPr>
          <p:nvPr>
            <p:ph type="sldNum" sz="quarter" idx="12"/>
          </p:nvPr>
        </p:nvSpPr>
        <p:spPr/>
        <p:txBody>
          <a:bodyPr/>
          <a:lstStyle>
            <a:lvl1pPr>
              <a:defRPr/>
            </a:lvl1pPr>
          </a:lstStyle>
          <a:p>
            <a:pPr>
              <a:defRPr/>
            </a:pPr>
            <a:fld id="{B0E0991C-6348-497F-AAF3-40CAC928B41C}" type="slidenum">
              <a:rPr lang="es-ES">
                <a:solidFill>
                  <a:prstClr val="black">
                    <a:tint val="75000"/>
                  </a:prstClr>
                </a:solidFill>
              </a:rPr>
              <a:pPr>
                <a:defRPr/>
              </a:pPr>
              <a:t>‹#›</a:t>
            </a:fld>
            <a:endParaRPr lang="es-ES">
              <a:solidFill>
                <a:prstClr val="black">
                  <a:tint val="75000"/>
                </a:prstClr>
              </a:solidFill>
            </a:endParaRPr>
          </a:p>
        </p:txBody>
      </p:sp>
    </p:spTree>
    <p:extLst>
      <p:ext uri="{BB962C8B-B14F-4D97-AF65-F5344CB8AC3E}">
        <p14:creationId xmlns:p14="http://schemas.microsoft.com/office/powerpoint/2010/main" val="216074108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3 Marcador de fecha"/>
          <p:cNvSpPr>
            <a:spLocks noGrp="1"/>
          </p:cNvSpPr>
          <p:nvPr>
            <p:ph type="dt" sz="half" idx="10"/>
          </p:nvPr>
        </p:nvSpPr>
        <p:spPr/>
        <p:txBody>
          <a:bodyPr/>
          <a:lstStyle>
            <a:lvl1pPr>
              <a:defRPr/>
            </a:lvl1pPr>
          </a:lstStyle>
          <a:p>
            <a:pPr>
              <a:defRPr/>
            </a:pPr>
            <a:fld id="{06A53C23-CFB5-4D28-9C4C-CE614B193C14}" type="datetimeFigureOut">
              <a:rPr lang="es-ES">
                <a:solidFill>
                  <a:prstClr val="black">
                    <a:tint val="75000"/>
                  </a:prstClr>
                </a:solidFill>
              </a:rPr>
              <a:pPr>
                <a:defRPr/>
              </a:pPr>
              <a:t>29/01/2014</a:t>
            </a:fld>
            <a:endParaRPr lang="es-ES">
              <a:solidFill>
                <a:prstClr val="black">
                  <a:tint val="75000"/>
                </a:prstClr>
              </a:solidFill>
            </a:endParaRPr>
          </a:p>
        </p:txBody>
      </p:sp>
      <p:sp>
        <p:nvSpPr>
          <p:cNvPr id="4"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5 Marcador de número de diapositiva"/>
          <p:cNvSpPr>
            <a:spLocks noGrp="1"/>
          </p:cNvSpPr>
          <p:nvPr>
            <p:ph type="sldNum" sz="quarter" idx="12"/>
          </p:nvPr>
        </p:nvSpPr>
        <p:spPr/>
        <p:txBody>
          <a:bodyPr/>
          <a:lstStyle>
            <a:lvl1pPr>
              <a:defRPr/>
            </a:lvl1pPr>
          </a:lstStyle>
          <a:p>
            <a:pPr>
              <a:defRPr/>
            </a:pPr>
            <a:fld id="{91DA5B67-C480-46F8-80FA-B6F1C4AAF268}" type="slidenum">
              <a:rPr lang="es-ES">
                <a:solidFill>
                  <a:prstClr val="black">
                    <a:tint val="75000"/>
                  </a:prstClr>
                </a:solidFill>
              </a:rPr>
              <a:pPr>
                <a:defRPr/>
              </a:pPr>
              <a:t>‹#›</a:t>
            </a:fld>
            <a:endParaRPr lang="es-ES">
              <a:solidFill>
                <a:prstClr val="black">
                  <a:tint val="75000"/>
                </a:prstClr>
              </a:solidFill>
            </a:endParaRPr>
          </a:p>
        </p:txBody>
      </p:sp>
    </p:spTree>
    <p:extLst>
      <p:ext uri="{BB962C8B-B14F-4D97-AF65-F5344CB8AC3E}">
        <p14:creationId xmlns:p14="http://schemas.microsoft.com/office/powerpoint/2010/main" val="365630193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fld id="{5FF7CE09-6D11-4A53-AD61-121EA82B57A8}" type="datetimeFigureOut">
              <a:rPr lang="es-ES">
                <a:solidFill>
                  <a:prstClr val="black">
                    <a:tint val="75000"/>
                  </a:prstClr>
                </a:solidFill>
              </a:rPr>
              <a:pPr>
                <a:defRPr/>
              </a:pPr>
              <a:t>29/01/2014</a:t>
            </a:fld>
            <a:endParaRPr lang="es-ES">
              <a:solidFill>
                <a:prstClr val="black">
                  <a:tint val="75000"/>
                </a:prstClr>
              </a:solidFill>
            </a:endParaRPr>
          </a:p>
        </p:txBody>
      </p:sp>
      <p:sp>
        <p:nvSpPr>
          <p:cNvPr id="3"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5 Marcador de número de diapositiva"/>
          <p:cNvSpPr>
            <a:spLocks noGrp="1"/>
          </p:cNvSpPr>
          <p:nvPr>
            <p:ph type="sldNum" sz="quarter" idx="12"/>
          </p:nvPr>
        </p:nvSpPr>
        <p:spPr/>
        <p:txBody>
          <a:bodyPr/>
          <a:lstStyle>
            <a:lvl1pPr>
              <a:defRPr/>
            </a:lvl1pPr>
          </a:lstStyle>
          <a:p>
            <a:pPr>
              <a:defRPr/>
            </a:pPr>
            <a:fld id="{DD91FB1D-006E-4BA9-950E-162EF597678C}" type="slidenum">
              <a:rPr lang="es-ES">
                <a:solidFill>
                  <a:prstClr val="black">
                    <a:tint val="75000"/>
                  </a:prstClr>
                </a:solidFill>
              </a:rPr>
              <a:pPr>
                <a:defRPr/>
              </a:pPr>
              <a:t>‹#›</a:t>
            </a:fld>
            <a:endParaRPr lang="es-ES">
              <a:solidFill>
                <a:prstClr val="black">
                  <a:tint val="75000"/>
                </a:prstClr>
              </a:solidFill>
            </a:endParaRPr>
          </a:p>
        </p:txBody>
      </p:sp>
    </p:spTree>
    <p:extLst>
      <p:ext uri="{BB962C8B-B14F-4D97-AF65-F5344CB8AC3E}">
        <p14:creationId xmlns:p14="http://schemas.microsoft.com/office/powerpoint/2010/main" val="2879948511"/>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5" y="204787"/>
            <a:ext cx="3008313" cy="871538"/>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6BB2D1DD-4DDE-423C-98C8-BB6075612D3A}" type="datetimeFigureOut">
              <a:rPr lang="es-ES">
                <a:solidFill>
                  <a:prstClr val="black">
                    <a:tint val="75000"/>
                  </a:prstClr>
                </a:solidFill>
              </a:rPr>
              <a:pPr>
                <a:defRPr/>
              </a:pPr>
              <a:t>29/01/2014</a:t>
            </a:fld>
            <a:endParaRPr lang="es-ES">
              <a:solidFill>
                <a:prstClr val="black">
                  <a:tint val="75000"/>
                </a:prstClr>
              </a:solidFill>
            </a:endParaRPr>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92F18553-C3AB-4A32-89EB-E3268E6FF5B7}" type="slidenum">
              <a:rPr lang="es-ES">
                <a:solidFill>
                  <a:prstClr val="black">
                    <a:tint val="75000"/>
                  </a:prstClr>
                </a:solidFill>
              </a:rPr>
              <a:pPr>
                <a:defRPr/>
              </a:pPr>
              <a:t>‹#›</a:t>
            </a:fld>
            <a:endParaRPr lang="es-ES">
              <a:solidFill>
                <a:prstClr val="black">
                  <a:tint val="75000"/>
                </a:prstClr>
              </a:solidFill>
            </a:endParaRPr>
          </a:p>
        </p:txBody>
      </p:sp>
    </p:spTree>
    <p:extLst>
      <p:ext uri="{BB962C8B-B14F-4D97-AF65-F5344CB8AC3E}">
        <p14:creationId xmlns:p14="http://schemas.microsoft.com/office/powerpoint/2010/main" val="2177386759"/>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459581"/>
            <a:ext cx="5486400" cy="30861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p>
        </p:txBody>
      </p:sp>
      <p:sp>
        <p:nvSpPr>
          <p:cNvPr id="4" name="3 Marcador de texto"/>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E11E90FE-6F80-4618-B1A7-489EFFE4EF05}" type="datetimeFigureOut">
              <a:rPr lang="es-ES">
                <a:solidFill>
                  <a:prstClr val="black">
                    <a:tint val="75000"/>
                  </a:prstClr>
                </a:solidFill>
              </a:rPr>
              <a:pPr>
                <a:defRPr/>
              </a:pPr>
              <a:t>29/01/2014</a:t>
            </a:fld>
            <a:endParaRPr lang="es-ES">
              <a:solidFill>
                <a:prstClr val="black">
                  <a:tint val="75000"/>
                </a:prstClr>
              </a:solidFill>
            </a:endParaRPr>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5BFAD401-39C2-4BE9-A3D3-135B6D8DB4CA}" type="slidenum">
              <a:rPr lang="es-ES">
                <a:solidFill>
                  <a:prstClr val="black">
                    <a:tint val="75000"/>
                  </a:prstClr>
                </a:solidFill>
              </a:rPr>
              <a:pPr>
                <a:defRPr/>
              </a:pPr>
              <a:t>‹#›</a:t>
            </a:fld>
            <a:endParaRPr lang="es-ES">
              <a:solidFill>
                <a:prstClr val="black">
                  <a:tint val="75000"/>
                </a:prstClr>
              </a:solidFill>
            </a:endParaRPr>
          </a:p>
        </p:txBody>
      </p:sp>
    </p:spTree>
    <p:extLst>
      <p:ext uri="{BB962C8B-B14F-4D97-AF65-F5344CB8AC3E}">
        <p14:creationId xmlns:p14="http://schemas.microsoft.com/office/powerpoint/2010/main" val="314883195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lvl1pPr>
              <a:defRPr/>
            </a:lvl1pPr>
          </a:lstStyle>
          <a:p>
            <a:pPr>
              <a:defRPr/>
            </a:pPr>
            <a:fld id="{61D778B1-FB8F-469B-BF6E-1E0B567168F8}" type="datetimeFigureOut">
              <a:rPr lang="es-ES">
                <a:solidFill>
                  <a:prstClr val="black">
                    <a:tint val="75000"/>
                  </a:prstClr>
                </a:solidFill>
              </a:rPr>
              <a:pPr>
                <a:defRPr/>
              </a:pPr>
              <a:t>29/01/201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C45B6E63-259B-47CD-A9FB-AD5CDBCB916F}" type="slidenum">
              <a:rPr lang="es-ES">
                <a:solidFill>
                  <a:prstClr val="black">
                    <a:tint val="75000"/>
                  </a:prstClr>
                </a:solidFill>
              </a:rPr>
              <a:pPr>
                <a:defRPr/>
              </a:pPr>
              <a:t>‹#›</a:t>
            </a:fld>
            <a:endParaRPr lang="es-ES">
              <a:solidFill>
                <a:prstClr val="black">
                  <a:tint val="75000"/>
                </a:prstClr>
              </a:solidFill>
            </a:endParaRPr>
          </a:p>
        </p:txBody>
      </p:sp>
    </p:spTree>
    <p:extLst>
      <p:ext uri="{BB962C8B-B14F-4D97-AF65-F5344CB8AC3E}">
        <p14:creationId xmlns:p14="http://schemas.microsoft.com/office/powerpoint/2010/main" val="52400470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05980"/>
            <a:ext cx="2057400" cy="4388644"/>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05980"/>
            <a:ext cx="6019800" cy="4388644"/>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lvl1pPr>
              <a:defRPr/>
            </a:lvl1pPr>
          </a:lstStyle>
          <a:p>
            <a:pPr>
              <a:defRPr/>
            </a:pPr>
            <a:fld id="{E2D74718-47E6-4385-B3A8-96FF431CB45B}" type="datetimeFigureOut">
              <a:rPr lang="es-ES">
                <a:solidFill>
                  <a:prstClr val="black">
                    <a:tint val="75000"/>
                  </a:prstClr>
                </a:solidFill>
              </a:rPr>
              <a:pPr>
                <a:defRPr/>
              </a:pPr>
              <a:t>29/01/201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535C9495-0CE2-4978-B620-BA10355F8145}" type="slidenum">
              <a:rPr lang="es-ES">
                <a:solidFill>
                  <a:prstClr val="black">
                    <a:tint val="75000"/>
                  </a:prstClr>
                </a:solidFill>
              </a:rPr>
              <a:pPr>
                <a:defRPr/>
              </a:pPr>
              <a:t>‹#›</a:t>
            </a:fld>
            <a:endParaRPr lang="es-ES">
              <a:solidFill>
                <a:prstClr val="black">
                  <a:tint val="75000"/>
                </a:prstClr>
              </a:solidFill>
            </a:endParaRPr>
          </a:p>
        </p:txBody>
      </p:sp>
    </p:spTree>
    <p:extLst>
      <p:ext uri="{BB962C8B-B14F-4D97-AF65-F5344CB8AC3E}">
        <p14:creationId xmlns:p14="http://schemas.microsoft.com/office/powerpoint/2010/main" val="393001627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D2F68"/>
        </a:solidFill>
        <a:effectLst/>
      </p:bgPr>
    </p:bg>
    <p:spTree>
      <p:nvGrpSpPr>
        <p:cNvPr id="1" name=""/>
        <p:cNvGrpSpPr/>
        <p:nvPr/>
      </p:nvGrpSpPr>
      <p:grpSpPr>
        <a:xfrm>
          <a:off x="0" y="0"/>
          <a:ext cx="0" cy="0"/>
          <a:chOff x="0" y="0"/>
          <a:chExt cx="0" cy="0"/>
        </a:xfrm>
      </p:grpSpPr>
      <p:pic>
        <p:nvPicPr>
          <p:cNvPr id="4" name="Picture 1078" descr="title_imagery_no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91179" y="0"/>
            <a:ext cx="355282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080"/>
          <p:cNvGrpSpPr>
            <a:grpSpLocks/>
          </p:cNvGrpSpPr>
          <p:nvPr userDrawn="1"/>
        </p:nvGrpSpPr>
        <p:grpSpPr bwMode="auto">
          <a:xfrm>
            <a:off x="5873751" y="202407"/>
            <a:ext cx="2895600" cy="703660"/>
            <a:chOff x="3700" y="170"/>
            <a:chExt cx="1824" cy="591"/>
          </a:xfrm>
        </p:grpSpPr>
        <p:pic>
          <p:nvPicPr>
            <p:cNvPr id="6" name="Picture 1079" descr="NEW FAA LOGO"/>
            <p:cNvPicPr>
              <a:picLocks noChangeAspect="1" noChangeArrowheads="1"/>
            </p:cNvPicPr>
            <p:nvPr userDrawn="1"/>
          </p:nvPicPr>
          <p:blipFill>
            <a:blip r:embed="rId3" cstate="print">
              <a:clrChange>
                <a:clrFrom>
                  <a:srgbClr val="DF1F06"/>
                </a:clrFrom>
                <a:clrTo>
                  <a:srgbClr val="DF1F06">
                    <a:alpha val="0"/>
                  </a:srgbClr>
                </a:clrTo>
              </a:clrChange>
              <a:extLst>
                <a:ext uri="{28A0092B-C50C-407E-A947-70E740481C1C}">
                  <a14:useLocalDpi xmlns:a14="http://schemas.microsoft.com/office/drawing/2010/main" val="0"/>
                </a:ext>
              </a:extLst>
            </a:blip>
            <a:srcRect l="14333" t="3734" r="14973" b="4564"/>
            <a:stretch>
              <a:fillRect/>
            </a:stretch>
          </p:blipFill>
          <p:spPr bwMode="auto">
            <a:xfrm>
              <a:off x="3700" y="170"/>
              <a:ext cx="573" cy="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071"/>
            <p:cNvSpPr txBox="1">
              <a:spLocks noChangeArrowheads="1"/>
            </p:cNvSpPr>
            <p:nvPr userDrawn="1"/>
          </p:nvSpPr>
          <p:spPr bwMode="ltGray">
            <a:xfrm>
              <a:off x="4288" y="288"/>
              <a:ext cx="1236" cy="473"/>
            </a:xfrm>
            <a:prstGeom prst="rect">
              <a:avLst/>
            </a:prstGeom>
            <a:noFill/>
            <a:ln w="9525">
              <a:noFill/>
              <a:miter lim="800000"/>
              <a:headEnd/>
              <a:tailEnd/>
            </a:ln>
            <a:effectLst/>
          </p:spPr>
          <p:txBody>
            <a:bodyPr wrap="none">
              <a:spAutoFit/>
            </a:bodyPr>
            <a:lstStyle/>
            <a:p>
              <a:pPr fontAlgn="base">
                <a:lnSpc>
                  <a:spcPct val="85000"/>
                </a:lnSpc>
                <a:spcBef>
                  <a:spcPct val="0"/>
                </a:spcBef>
                <a:spcAft>
                  <a:spcPct val="0"/>
                </a:spcAft>
                <a:defRPr/>
              </a:pPr>
              <a:r>
                <a:rPr lang="en-US" b="1">
                  <a:solidFill>
                    <a:srgbClr val="FFFFFF"/>
                  </a:solidFill>
                </a:rPr>
                <a:t>Federal Aviation</a:t>
              </a:r>
            </a:p>
            <a:p>
              <a:pPr fontAlgn="base">
                <a:lnSpc>
                  <a:spcPct val="85000"/>
                </a:lnSpc>
                <a:spcBef>
                  <a:spcPct val="0"/>
                </a:spcBef>
                <a:spcAft>
                  <a:spcPct val="0"/>
                </a:spcAft>
                <a:defRPr/>
              </a:pPr>
              <a:r>
                <a:rPr lang="en-US" b="1">
                  <a:solidFill>
                    <a:srgbClr val="FFFFFF"/>
                  </a:solidFill>
                </a:rPr>
                <a:t>Administration</a:t>
              </a:r>
            </a:p>
          </p:txBody>
        </p:sp>
      </p:grpSp>
      <p:sp>
        <p:nvSpPr>
          <p:cNvPr id="63490" name="Rectangle 1026"/>
          <p:cNvSpPr>
            <a:spLocks noGrp="1" noChangeArrowheads="1"/>
          </p:cNvSpPr>
          <p:nvPr>
            <p:ph type="ctrTitle"/>
          </p:nvPr>
        </p:nvSpPr>
        <p:spPr>
          <a:xfrm>
            <a:off x="446088" y="234555"/>
            <a:ext cx="4983162" cy="1046559"/>
          </a:xfrm>
        </p:spPr>
        <p:txBody>
          <a:bodyPr anchor="t"/>
          <a:lstStyle>
            <a:lvl1pPr>
              <a:defRPr>
                <a:solidFill>
                  <a:schemeClr val="bg1"/>
                </a:solidFill>
              </a:defRPr>
            </a:lvl1pPr>
          </a:lstStyle>
          <a:p>
            <a:r>
              <a:rPr lang="en-US"/>
              <a:t>Select to edit master title</a:t>
            </a:r>
          </a:p>
        </p:txBody>
      </p:sp>
      <p:sp>
        <p:nvSpPr>
          <p:cNvPr id="63491" name="Rectangle 1027"/>
          <p:cNvSpPr>
            <a:spLocks noGrp="1" noChangeArrowheads="1"/>
          </p:cNvSpPr>
          <p:nvPr>
            <p:ph type="subTitle" idx="1"/>
          </p:nvPr>
        </p:nvSpPr>
        <p:spPr>
          <a:xfrm>
            <a:off x="449263" y="1315641"/>
            <a:ext cx="4951412" cy="1314450"/>
          </a:xfrm>
        </p:spPr>
        <p:txBody>
          <a:bodyPr/>
          <a:lstStyle>
            <a:lvl1pPr marL="0" indent="0">
              <a:buFontTx/>
              <a:buNone/>
              <a:defRPr sz="3200">
                <a:solidFill>
                  <a:schemeClr val="bg2"/>
                </a:solidFill>
              </a:defRPr>
            </a:lvl1pPr>
          </a:lstStyle>
          <a:p>
            <a:r>
              <a:rPr lang="en-US"/>
              <a:t>Select to edit master subtitle</a:t>
            </a:r>
          </a:p>
        </p:txBody>
      </p:sp>
    </p:spTree>
    <p:extLst>
      <p:ext uri="{BB962C8B-B14F-4D97-AF65-F5344CB8AC3E}">
        <p14:creationId xmlns:p14="http://schemas.microsoft.com/office/powerpoint/2010/main" val="35573438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xfrm>
            <a:off x="1422400" y="4667250"/>
            <a:ext cx="1905000" cy="342900"/>
          </a:xfrm>
          <a:ln/>
        </p:spPr>
        <p:txBody>
          <a:bodyPr/>
          <a:lstStyle>
            <a:lvl1pPr>
              <a:defRPr/>
            </a:lvl1pPr>
          </a:lstStyle>
          <a:p>
            <a:pPr>
              <a:defRPr/>
            </a:pPr>
            <a:endParaRPr lang="en-US">
              <a:solidFill>
                <a:srgbClr val="000000"/>
              </a:solidFill>
            </a:endParaRPr>
          </a:p>
        </p:txBody>
      </p:sp>
      <p:sp>
        <p:nvSpPr>
          <p:cNvPr id="5" name="Rectangle 10"/>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11"/>
          <p:cNvSpPr>
            <a:spLocks noGrp="1" noChangeArrowheads="1"/>
          </p:cNvSpPr>
          <p:nvPr>
            <p:ph type="sldNum" sz="quarter" idx="12"/>
          </p:nvPr>
        </p:nvSpPr>
        <p:spPr>
          <a:ln/>
        </p:spPr>
        <p:txBody>
          <a:bodyPr/>
          <a:lstStyle>
            <a:lvl1pPr>
              <a:defRPr/>
            </a:lvl1pPr>
          </a:lstStyle>
          <a:p>
            <a:pPr>
              <a:defRPr/>
            </a:pPr>
            <a:fld id="{AAAEF08C-B8C0-413F-B150-F298D061D50D}"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7610885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6"/>
            <a:ext cx="7772400" cy="1125140"/>
          </a:xfrm>
        </p:spPr>
        <p:txBody>
          <a:bodyPr anchor="b"/>
          <a:lstStyle>
            <a:lvl1pPr marL="0" indent="0">
              <a:buNone/>
              <a:defRPr sz="2000"/>
            </a:lvl1pPr>
            <a:lvl2pPr marL="457141" indent="0">
              <a:buNone/>
              <a:defRPr sz="1800"/>
            </a:lvl2pPr>
            <a:lvl3pPr marL="914281" indent="0">
              <a:buNone/>
              <a:defRPr sz="1600"/>
            </a:lvl3pPr>
            <a:lvl4pPr marL="1371423" indent="0">
              <a:buNone/>
              <a:defRPr sz="1400"/>
            </a:lvl4pPr>
            <a:lvl5pPr marL="1828563" indent="0">
              <a:buNone/>
              <a:defRPr sz="1400"/>
            </a:lvl5pPr>
            <a:lvl6pPr marL="2285704" indent="0">
              <a:buNone/>
              <a:defRPr sz="1400"/>
            </a:lvl6pPr>
            <a:lvl7pPr marL="2742844" indent="0">
              <a:buNone/>
              <a:defRPr sz="1400"/>
            </a:lvl7pPr>
            <a:lvl8pPr marL="3199985" indent="0">
              <a:buNone/>
              <a:defRPr sz="1400"/>
            </a:lvl8pPr>
            <a:lvl9pPr marL="3657126" indent="0">
              <a:buNone/>
              <a:defRPr sz="1400"/>
            </a:lvl9pPr>
          </a:lstStyle>
          <a:p>
            <a:pPr lvl="0"/>
            <a:r>
              <a:rPr lang="en-US"/>
              <a:t>Click to edit Master text styles</a:t>
            </a:r>
          </a:p>
        </p:txBody>
      </p:sp>
      <p:sp>
        <p:nvSpPr>
          <p:cNvPr id="4" name="Rectangle 9"/>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0"/>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11"/>
          <p:cNvSpPr>
            <a:spLocks noGrp="1" noChangeArrowheads="1"/>
          </p:cNvSpPr>
          <p:nvPr>
            <p:ph type="sldNum" sz="quarter" idx="12"/>
          </p:nvPr>
        </p:nvSpPr>
        <p:spPr>
          <a:ln/>
        </p:spPr>
        <p:txBody>
          <a:bodyPr/>
          <a:lstStyle>
            <a:lvl1pPr>
              <a:defRPr/>
            </a:lvl1pPr>
          </a:lstStyle>
          <a:p>
            <a:pPr>
              <a:defRPr/>
            </a:pPr>
            <a:fld id="{E60EAA80-D079-4648-AE54-124797B3A84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5050255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4" y="1131096"/>
            <a:ext cx="3948113" cy="329326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95814" y="1131096"/>
            <a:ext cx="3949700" cy="329326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0"/>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11"/>
          <p:cNvSpPr>
            <a:spLocks noGrp="1" noChangeArrowheads="1"/>
          </p:cNvSpPr>
          <p:nvPr>
            <p:ph type="sldNum" sz="quarter" idx="12"/>
          </p:nvPr>
        </p:nvSpPr>
        <p:spPr>
          <a:ln/>
        </p:spPr>
        <p:txBody>
          <a:bodyPr/>
          <a:lstStyle>
            <a:lvl1pPr>
              <a:defRPr/>
            </a:lvl1pPr>
          </a:lstStyle>
          <a:p>
            <a:pPr>
              <a:defRPr/>
            </a:pPr>
            <a:fld id="{30049F0B-FF3A-4941-9060-5ACC7B83CA73}"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8712287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9" y="1151335"/>
            <a:ext cx="4041775"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9"/>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8" name="Rectangle 10"/>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9" name="Rectangle 11"/>
          <p:cNvSpPr>
            <a:spLocks noGrp="1" noChangeArrowheads="1"/>
          </p:cNvSpPr>
          <p:nvPr>
            <p:ph type="sldNum" sz="quarter" idx="12"/>
          </p:nvPr>
        </p:nvSpPr>
        <p:spPr>
          <a:ln/>
        </p:spPr>
        <p:txBody>
          <a:bodyPr/>
          <a:lstStyle>
            <a:lvl1pPr>
              <a:defRPr/>
            </a:lvl1pPr>
          </a:lstStyle>
          <a:p>
            <a:pPr>
              <a:defRPr/>
            </a:pPr>
            <a:fld id="{540AEB85-EF3F-463E-8A70-02859999CA9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3333673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9"/>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10"/>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11"/>
          <p:cNvSpPr>
            <a:spLocks noGrp="1" noChangeArrowheads="1"/>
          </p:cNvSpPr>
          <p:nvPr>
            <p:ph type="sldNum" sz="quarter" idx="12"/>
          </p:nvPr>
        </p:nvSpPr>
        <p:spPr>
          <a:ln/>
        </p:spPr>
        <p:txBody>
          <a:bodyPr/>
          <a:lstStyle>
            <a:lvl1pPr>
              <a:defRPr/>
            </a:lvl1pPr>
          </a:lstStyle>
          <a:p>
            <a:pPr>
              <a:defRPr/>
            </a:pPr>
            <a:fld id="{78E0C7D8-AD6F-426B-A6C2-B9E29D5DE69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6229537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10"/>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11"/>
          <p:cNvSpPr>
            <a:spLocks noGrp="1" noChangeArrowheads="1"/>
          </p:cNvSpPr>
          <p:nvPr>
            <p:ph type="sldNum" sz="quarter" idx="12"/>
          </p:nvPr>
        </p:nvSpPr>
        <p:spPr>
          <a:ln/>
        </p:spPr>
        <p:txBody>
          <a:bodyPr/>
          <a:lstStyle>
            <a:lvl1pPr>
              <a:defRPr/>
            </a:lvl1pPr>
          </a:lstStyle>
          <a:p>
            <a:pPr>
              <a:defRPr/>
            </a:pPr>
            <a:fld id="{077CBF77-5A1D-4B3C-9823-C71BED155AB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1593922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076327"/>
            <a:ext cx="3008313" cy="351829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0"/>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11"/>
          <p:cNvSpPr>
            <a:spLocks noGrp="1" noChangeArrowheads="1"/>
          </p:cNvSpPr>
          <p:nvPr>
            <p:ph type="sldNum" sz="quarter" idx="12"/>
          </p:nvPr>
        </p:nvSpPr>
        <p:spPr>
          <a:ln/>
        </p:spPr>
        <p:txBody>
          <a:bodyPr/>
          <a:lstStyle>
            <a:lvl1pPr>
              <a:defRPr/>
            </a:lvl1pPr>
          </a:lstStyle>
          <a:p>
            <a:pPr>
              <a:defRPr/>
            </a:pPr>
            <a:fld id="{4B2F9E02-DEBB-4953-A48B-96D6EC07016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14304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7EF5E57-8B35-447F-9D17-6D9BCA2C8447}" type="datetimeFigureOut">
              <a:rPr lang="en-US" smtClean="0"/>
              <a:pPr/>
              <a:t>1/29/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5022C1-BBB1-491E-B0A6-9417E06D3865}"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41" indent="0">
              <a:buNone/>
              <a:defRPr sz="2800"/>
            </a:lvl2pPr>
            <a:lvl3pPr marL="914281" indent="0">
              <a:buNone/>
              <a:defRPr sz="2400"/>
            </a:lvl3pPr>
            <a:lvl4pPr marL="1371423" indent="0">
              <a:buNone/>
              <a:defRPr sz="2000"/>
            </a:lvl4pPr>
            <a:lvl5pPr marL="1828563" indent="0">
              <a:buNone/>
              <a:defRPr sz="2000"/>
            </a:lvl5pPr>
            <a:lvl6pPr marL="2285704" indent="0">
              <a:buNone/>
              <a:defRPr sz="2000"/>
            </a:lvl6pPr>
            <a:lvl7pPr marL="2742844" indent="0">
              <a:buNone/>
              <a:defRPr sz="2000"/>
            </a:lvl7pPr>
            <a:lvl8pPr marL="3199985" indent="0">
              <a:buNone/>
              <a:defRPr sz="2000"/>
            </a:lvl8pPr>
            <a:lvl9pPr marL="3657126" indent="0">
              <a:buNone/>
              <a:defRPr sz="2000"/>
            </a:lvl9pPr>
          </a:lstStyle>
          <a:p>
            <a:pPr lvl="0"/>
            <a:endParaRPr lang="en-US" noProof="0"/>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0"/>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11"/>
          <p:cNvSpPr>
            <a:spLocks noGrp="1" noChangeArrowheads="1"/>
          </p:cNvSpPr>
          <p:nvPr>
            <p:ph type="sldNum" sz="quarter" idx="12"/>
          </p:nvPr>
        </p:nvSpPr>
        <p:spPr>
          <a:ln/>
        </p:spPr>
        <p:txBody>
          <a:bodyPr/>
          <a:lstStyle>
            <a:lvl1pPr>
              <a:defRPr/>
            </a:lvl1pPr>
          </a:lstStyle>
          <a:p>
            <a:pPr>
              <a:defRPr/>
            </a:pPr>
            <a:fld id="{E7F687BA-7769-4CD2-8A22-BE0C4ED7C6C4}"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871024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0"/>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11"/>
          <p:cNvSpPr>
            <a:spLocks noGrp="1" noChangeArrowheads="1"/>
          </p:cNvSpPr>
          <p:nvPr>
            <p:ph type="sldNum" sz="quarter" idx="12"/>
          </p:nvPr>
        </p:nvSpPr>
        <p:spPr>
          <a:ln/>
        </p:spPr>
        <p:txBody>
          <a:bodyPr/>
          <a:lstStyle>
            <a:lvl1pPr>
              <a:defRPr/>
            </a:lvl1pPr>
          </a:lstStyle>
          <a:p>
            <a:pPr>
              <a:defRPr/>
            </a:pPr>
            <a:fld id="{E413A705-3344-43C7-A43C-99539057738C}"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1802144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3391" y="258368"/>
            <a:ext cx="2117725" cy="416599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28629" y="258368"/>
            <a:ext cx="6202363" cy="416599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10"/>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11"/>
          <p:cNvSpPr>
            <a:spLocks noGrp="1" noChangeArrowheads="1"/>
          </p:cNvSpPr>
          <p:nvPr>
            <p:ph type="sldNum" sz="quarter" idx="12"/>
          </p:nvPr>
        </p:nvSpPr>
        <p:spPr>
          <a:ln/>
        </p:spPr>
        <p:txBody>
          <a:bodyPr/>
          <a:lstStyle>
            <a:lvl1pPr>
              <a:defRPr/>
            </a:lvl1pPr>
          </a:lstStyle>
          <a:p>
            <a:pPr>
              <a:defRPr/>
            </a:pPr>
            <a:fld id="{3F2D921C-F0BF-4FC6-ADAD-132D81E3A550}"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2281579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AU"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141" indent="0" algn="ctr">
              <a:buNone/>
              <a:defRPr/>
            </a:lvl2pPr>
            <a:lvl3pPr marL="914281" indent="0" algn="ctr">
              <a:buNone/>
              <a:defRPr/>
            </a:lvl3pPr>
            <a:lvl4pPr marL="1371423" indent="0" algn="ctr">
              <a:buNone/>
              <a:defRPr/>
            </a:lvl4pPr>
            <a:lvl5pPr marL="1828563" indent="0" algn="ctr">
              <a:buNone/>
              <a:defRPr/>
            </a:lvl5pPr>
            <a:lvl6pPr marL="2285704" indent="0" algn="ctr">
              <a:buNone/>
              <a:defRPr/>
            </a:lvl6pPr>
            <a:lvl7pPr marL="2742844" indent="0" algn="ctr">
              <a:buNone/>
              <a:defRPr/>
            </a:lvl7pPr>
            <a:lvl8pPr marL="3199985" indent="0" algn="ctr">
              <a:buNone/>
              <a:defRPr/>
            </a:lvl8pPr>
            <a:lvl9pPr marL="3657126" indent="0" algn="ctr">
              <a:buNone/>
              <a:defRPr/>
            </a:lvl9pPr>
          </a:lstStyle>
          <a:p>
            <a:r>
              <a:rPr lang="en-AU"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5452625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Content Placeholder 2"/>
          <p:cNvSpPr>
            <a:spLocks noGrp="1"/>
          </p:cNvSpPr>
          <p:nvPr>
            <p:ph idx="1"/>
          </p:nvPr>
        </p:nvSpPr>
        <p:spPr/>
        <p:txBody>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5614560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AU" smtClean="0"/>
              <a:t>Click to edit Master title style</a:t>
            </a:r>
            <a:endParaRPr lang="en-US"/>
          </a:p>
        </p:txBody>
      </p:sp>
      <p:sp>
        <p:nvSpPr>
          <p:cNvPr id="3" name="Text Placeholder 2"/>
          <p:cNvSpPr>
            <a:spLocks noGrp="1"/>
          </p:cNvSpPr>
          <p:nvPr>
            <p:ph type="body" idx="1"/>
          </p:nvPr>
        </p:nvSpPr>
        <p:spPr>
          <a:xfrm>
            <a:off x="722313" y="2180036"/>
            <a:ext cx="7772400" cy="1125140"/>
          </a:xfrm>
        </p:spPr>
        <p:txBody>
          <a:bodyPr anchor="b"/>
          <a:lstStyle>
            <a:lvl1pPr marL="0" indent="0">
              <a:buNone/>
              <a:defRPr sz="2000"/>
            </a:lvl1pPr>
            <a:lvl2pPr marL="457141" indent="0">
              <a:buNone/>
              <a:defRPr sz="1800"/>
            </a:lvl2pPr>
            <a:lvl3pPr marL="914281" indent="0">
              <a:buNone/>
              <a:defRPr sz="1600"/>
            </a:lvl3pPr>
            <a:lvl4pPr marL="1371423" indent="0">
              <a:buNone/>
              <a:defRPr sz="1400"/>
            </a:lvl4pPr>
            <a:lvl5pPr marL="1828563" indent="0">
              <a:buNone/>
              <a:defRPr sz="1400"/>
            </a:lvl5pPr>
            <a:lvl6pPr marL="2285704" indent="0">
              <a:buNone/>
              <a:defRPr sz="1400"/>
            </a:lvl6pPr>
            <a:lvl7pPr marL="2742844" indent="0">
              <a:buNone/>
              <a:defRPr sz="1400"/>
            </a:lvl7pPr>
            <a:lvl8pPr marL="3199985" indent="0">
              <a:buNone/>
              <a:defRPr sz="1400"/>
            </a:lvl8pPr>
            <a:lvl9pPr marL="3657126" indent="0">
              <a:buNone/>
              <a:defRPr sz="1400"/>
            </a:lvl9pPr>
          </a:lstStyle>
          <a:p>
            <a:pPr lvl="0"/>
            <a:r>
              <a:rPr lang="en-AU"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37195774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1904691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AU"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en-AU"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5" name="Text Placeholder 4"/>
          <p:cNvSpPr>
            <a:spLocks noGrp="1"/>
          </p:cNvSpPr>
          <p:nvPr>
            <p:ph type="body" sz="quarter" idx="3"/>
          </p:nvPr>
        </p:nvSpPr>
        <p:spPr>
          <a:xfrm>
            <a:off x="4645029" y="1151335"/>
            <a:ext cx="4041775"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en-AU" smtClean="0"/>
              <a:t>Click to edit Master text styles</a:t>
            </a:r>
          </a:p>
        </p:txBody>
      </p:sp>
      <p:sp>
        <p:nvSpPr>
          <p:cNvPr id="6" name="Content Placeholder 5"/>
          <p:cNvSpPr>
            <a:spLocks noGrp="1"/>
          </p:cNvSpPr>
          <p:nvPr>
            <p:ph sz="quarter" idx="4"/>
          </p:nvPr>
        </p:nvSpPr>
        <p:spPr>
          <a:xfrm>
            <a:off x="464502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8754749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4170411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263401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6"/>
            <a:ext cx="7772400" cy="1125140"/>
          </a:xfrm>
        </p:spPr>
        <p:txBody>
          <a:bodyPr anchor="b"/>
          <a:lstStyle>
            <a:lvl1pPr marL="0" indent="0">
              <a:buNone/>
              <a:defRPr sz="2000">
                <a:solidFill>
                  <a:schemeClr val="tx1">
                    <a:tint val="75000"/>
                  </a:schemeClr>
                </a:solidFill>
              </a:defRPr>
            </a:lvl1pPr>
            <a:lvl2pPr marL="457141" indent="0">
              <a:buNone/>
              <a:defRPr sz="1800">
                <a:solidFill>
                  <a:schemeClr val="tx1">
                    <a:tint val="75000"/>
                  </a:schemeClr>
                </a:solidFill>
              </a:defRPr>
            </a:lvl2pPr>
            <a:lvl3pPr marL="914281" indent="0">
              <a:buNone/>
              <a:defRPr sz="1600">
                <a:solidFill>
                  <a:schemeClr val="tx1">
                    <a:tint val="75000"/>
                  </a:schemeClr>
                </a:solidFill>
              </a:defRPr>
            </a:lvl3pPr>
            <a:lvl4pPr marL="1371423" indent="0">
              <a:buNone/>
              <a:defRPr sz="1400">
                <a:solidFill>
                  <a:schemeClr val="tx1">
                    <a:tint val="75000"/>
                  </a:schemeClr>
                </a:solidFill>
              </a:defRPr>
            </a:lvl4pPr>
            <a:lvl5pPr marL="1828563" indent="0">
              <a:buNone/>
              <a:defRPr sz="1400">
                <a:solidFill>
                  <a:schemeClr val="tx1">
                    <a:tint val="75000"/>
                  </a:schemeClr>
                </a:solidFill>
              </a:defRPr>
            </a:lvl5pPr>
            <a:lvl6pPr marL="2285704" indent="0">
              <a:buNone/>
              <a:defRPr sz="1400">
                <a:solidFill>
                  <a:schemeClr val="tx1">
                    <a:tint val="75000"/>
                  </a:schemeClr>
                </a:solidFill>
              </a:defRPr>
            </a:lvl6pPr>
            <a:lvl7pPr marL="2742844" indent="0">
              <a:buNone/>
              <a:defRPr sz="1400">
                <a:solidFill>
                  <a:schemeClr val="tx1">
                    <a:tint val="75000"/>
                  </a:schemeClr>
                </a:solidFill>
              </a:defRPr>
            </a:lvl7pPr>
            <a:lvl8pPr marL="3199985" indent="0">
              <a:buNone/>
              <a:defRPr sz="1400">
                <a:solidFill>
                  <a:schemeClr val="tx1">
                    <a:tint val="75000"/>
                  </a:schemeClr>
                </a:solidFill>
              </a:defRPr>
            </a:lvl8pPr>
            <a:lvl9pPr marL="3657126"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7EF5E57-8B35-447F-9D17-6D9BCA2C8447}" type="datetimeFigureOut">
              <a:rPr lang="en-US" smtClean="0"/>
              <a:pPr/>
              <a:t>1/29/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5022C1-BBB1-491E-B0A6-9417E06D3865}"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04787"/>
            <a:ext cx="3008313" cy="871538"/>
          </a:xfrm>
        </p:spPr>
        <p:txBody>
          <a:bodyPr anchor="b"/>
          <a:lstStyle>
            <a:lvl1pPr algn="l">
              <a:defRPr sz="2000" b="1"/>
            </a:lvl1pPr>
          </a:lstStyle>
          <a:p>
            <a:r>
              <a:rPr lang="en-AU"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Text Placeholder 3"/>
          <p:cNvSpPr>
            <a:spLocks noGrp="1"/>
          </p:cNvSpPr>
          <p:nvPr>
            <p:ph type="body" sz="half" idx="2"/>
          </p:nvPr>
        </p:nvSpPr>
        <p:spPr>
          <a:xfrm>
            <a:off x="457204" y="1076327"/>
            <a:ext cx="3008313" cy="351829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en-AU"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6838710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AU"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41" indent="0">
              <a:buNone/>
              <a:defRPr sz="2800"/>
            </a:lvl2pPr>
            <a:lvl3pPr marL="914281" indent="0">
              <a:buNone/>
              <a:defRPr sz="2400"/>
            </a:lvl3pPr>
            <a:lvl4pPr marL="1371423" indent="0">
              <a:buNone/>
              <a:defRPr sz="2000"/>
            </a:lvl4pPr>
            <a:lvl5pPr marL="1828563" indent="0">
              <a:buNone/>
              <a:defRPr sz="2000"/>
            </a:lvl5pPr>
            <a:lvl6pPr marL="2285704" indent="0">
              <a:buNone/>
              <a:defRPr sz="2000"/>
            </a:lvl6pPr>
            <a:lvl7pPr marL="2742844" indent="0">
              <a:buNone/>
              <a:defRPr sz="2000"/>
            </a:lvl7pPr>
            <a:lvl8pPr marL="3199985" indent="0">
              <a:buNone/>
              <a:defRPr sz="2000"/>
            </a:lvl8pPr>
            <a:lvl9pPr marL="3657126" indent="0">
              <a:buNone/>
              <a:defRPr sz="2000"/>
            </a:lvl9pPr>
          </a:lstStyle>
          <a:p>
            <a:pPr lvl="0"/>
            <a:endParaRPr lang="en-US" noProof="0" dirty="0" smtClean="0"/>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en-AU"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6864832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7307219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AU"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32824420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0" y="957262"/>
            <a:ext cx="8460000" cy="3416738"/>
          </a:xfrm>
        </p:spPr>
        <p:txBody>
          <a:bodyPr/>
          <a:lstStyle>
            <a:lvl2pPr marL="251968" indent="-250793">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7"/>
          <p:cNvSpPr>
            <a:spLocks noGrp="1"/>
          </p:cNvSpPr>
          <p:nvPr>
            <p:ph type="body" sz="quarter" idx="13"/>
          </p:nvPr>
        </p:nvSpPr>
        <p:spPr>
          <a:xfrm>
            <a:off x="360363" y="202501"/>
            <a:ext cx="8460000" cy="670337"/>
          </a:xfrm>
        </p:spPr>
        <p:txBody>
          <a:bodyPr>
            <a:noAutofit/>
          </a:bodyPr>
          <a:lstStyle>
            <a:lvl1pPr marL="0" indent="0">
              <a:lnSpc>
                <a:spcPct val="85000"/>
              </a:lnSpc>
              <a:spcBef>
                <a:spcPts val="0"/>
              </a:spcBef>
              <a:spcAft>
                <a:spcPts val="283"/>
              </a:spcAft>
              <a:buNone/>
              <a:defRPr sz="3600" b="1">
                <a:solidFill>
                  <a:schemeClr val="accent2"/>
                </a:solidFill>
              </a:defRPr>
            </a:lvl1pPr>
            <a:lvl2pPr marL="0" indent="0">
              <a:lnSpc>
                <a:spcPct val="85000"/>
              </a:lnSpc>
              <a:spcBef>
                <a:spcPts val="0"/>
              </a:spcBef>
              <a:buNone/>
              <a:defRPr sz="2200" b="1">
                <a:solidFill>
                  <a:schemeClr val="accent2"/>
                </a:solidFill>
              </a:defRPr>
            </a:lvl2pPr>
            <a:lvl3pPr>
              <a:buNone/>
              <a:defRPr sz="2800">
                <a:solidFill>
                  <a:srgbClr val="00A9CE"/>
                </a:solidFill>
              </a:defRPr>
            </a:lvl3pPr>
            <a:lvl4pPr>
              <a:buNone/>
              <a:defRPr sz="2800">
                <a:solidFill>
                  <a:srgbClr val="00A9CE"/>
                </a:solidFill>
              </a:defRPr>
            </a:lvl4pPr>
            <a:lvl5pPr>
              <a:buNone/>
              <a:defRPr sz="2800">
                <a:solidFill>
                  <a:srgbClr val="00A9CE"/>
                </a:solidFill>
              </a:defRPr>
            </a:lvl5pPr>
          </a:lstStyle>
          <a:p>
            <a:pPr lvl="0"/>
            <a:r>
              <a:rPr lang="en-US" smtClean="0"/>
              <a:t>Click to edit Master text styles</a:t>
            </a:r>
          </a:p>
        </p:txBody>
      </p:sp>
      <p:sp>
        <p:nvSpPr>
          <p:cNvPr id="4" name="Footer Placeholder 4"/>
          <p:cNvSpPr>
            <a:spLocks noGrp="1"/>
          </p:cNvSpPr>
          <p:nvPr>
            <p:ph type="ftr" sz="quarter" idx="14"/>
          </p:nvPr>
        </p:nvSpPr>
        <p:spPr/>
        <p:txBody>
          <a:bodyPr/>
          <a:lstStyle>
            <a:lvl1pPr>
              <a:defRPr/>
            </a:lvl1pPr>
          </a:lstStyle>
          <a:p>
            <a:pPr>
              <a:defRPr/>
            </a:pPr>
            <a:r>
              <a:rPr lang="en-AU" dirty="0">
                <a:solidFill>
                  <a:srgbClr val="000000"/>
                </a:solidFill>
              </a:rPr>
              <a:t>Technology Roadmap|  Victoria Haritos|</a:t>
            </a:r>
            <a:endParaRPr lang="en-US" dirty="0">
              <a:solidFill>
                <a:srgbClr val="000000"/>
              </a:solidFill>
            </a:endParaRPr>
          </a:p>
        </p:txBody>
      </p:sp>
    </p:spTree>
    <p:extLst>
      <p:ext uri="{BB962C8B-B14F-4D97-AF65-F5344CB8AC3E}">
        <p14:creationId xmlns:p14="http://schemas.microsoft.com/office/powerpoint/2010/main" val="36660181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x-none"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41" indent="0" algn="ctr">
              <a:buNone/>
              <a:defRPr>
                <a:solidFill>
                  <a:schemeClr val="tx1">
                    <a:tint val="75000"/>
                  </a:schemeClr>
                </a:solidFill>
              </a:defRPr>
            </a:lvl2pPr>
            <a:lvl3pPr marL="914281" indent="0" algn="ctr">
              <a:buNone/>
              <a:defRPr>
                <a:solidFill>
                  <a:schemeClr val="tx1">
                    <a:tint val="75000"/>
                  </a:schemeClr>
                </a:solidFill>
              </a:defRPr>
            </a:lvl3pPr>
            <a:lvl4pPr marL="1371423" indent="0" algn="ctr">
              <a:buNone/>
              <a:defRPr>
                <a:solidFill>
                  <a:schemeClr val="tx1">
                    <a:tint val="75000"/>
                  </a:schemeClr>
                </a:solidFill>
              </a:defRPr>
            </a:lvl4pPr>
            <a:lvl5pPr marL="1828563" indent="0" algn="ctr">
              <a:buNone/>
              <a:defRPr>
                <a:solidFill>
                  <a:schemeClr val="tx1">
                    <a:tint val="75000"/>
                  </a:schemeClr>
                </a:solidFill>
              </a:defRPr>
            </a:lvl5pPr>
            <a:lvl6pPr marL="2285704" indent="0" algn="ctr">
              <a:buNone/>
              <a:defRPr>
                <a:solidFill>
                  <a:schemeClr val="tx1">
                    <a:tint val="75000"/>
                  </a:schemeClr>
                </a:solidFill>
              </a:defRPr>
            </a:lvl6pPr>
            <a:lvl7pPr marL="2742844" indent="0" algn="ctr">
              <a:buNone/>
              <a:defRPr>
                <a:solidFill>
                  <a:schemeClr val="tx1">
                    <a:tint val="75000"/>
                  </a:schemeClr>
                </a:solidFill>
              </a:defRPr>
            </a:lvl7pPr>
            <a:lvl8pPr marL="3199985" indent="0" algn="ctr">
              <a:buNone/>
              <a:defRPr>
                <a:solidFill>
                  <a:schemeClr val="tx1">
                    <a:tint val="75000"/>
                  </a:schemeClr>
                </a:solidFill>
              </a:defRPr>
            </a:lvl8pPr>
            <a:lvl9pPr marL="3657126" indent="0" algn="ctr">
              <a:buNone/>
              <a:defRPr>
                <a:solidFill>
                  <a:schemeClr val="tx1">
                    <a:tint val="75000"/>
                  </a:schemeClr>
                </a:solidFill>
              </a:defRPr>
            </a:lvl9pPr>
          </a:lstStyle>
          <a:p>
            <a:r>
              <a:rPr lang="x-none"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180AFFB9-AC0B-4844-8160-7DFB4FDEC561}" type="datetimeFigureOut">
              <a:rPr lang="en-US">
                <a:solidFill>
                  <a:prstClr val="black">
                    <a:tint val="75000"/>
                  </a:prstClr>
                </a:solidFill>
              </a:rPr>
              <a:pPr>
                <a:def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BA64651-5CBA-47F7-B90B-79B8BEB00392}"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2004109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en-US"/>
          </a:p>
        </p:txBody>
      </p:sp>
      <p:sp>
        <p:nvSpPr>
          <p:cNvPr id="3" name="Content Placeholder 2"/>
          <p:cNvSpPr>
            <a:spLocks noGrp="1"/>
          </p:cNvSpPr>
          <p:nvPr>
            <p:ph idx="1"/>
          </p:nvPr>
        </p:nvSpPr>
        <p:spPr/>
        <p:txBody>
          <a:body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CE27596-0AD2-41A5-86FB-EC1CFDD73013}" type="datetimeFigureOut">
              <a:rPr lang="en-US">
                <a:solidFill>
                  <a:prstClr val="black">
                    <a:tint val="75000"/>
                  </a:prstClr>
                </a:solidFill>
              </a:rPr>
              <a:pPr>
                <a:def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0825EF50-5113-4DAA-8AF6-B854C9A63BF5}"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7733169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x-none" smtClean="0"/>
              <a:t>Click to edit Master title style</a:t>
            </a:r>
            <a:endParaRPr lang="en-US"/>
          </a:p>
        </p:txBody>
      </p:sp>
      <p:sp>
        <p:nvSpPr>
          <p:cNvPr id="3" name="Text Placeholder 2"/>
          <p:cNvSpPr>
            <a:spLocks noGrp="1"/>
          </p:cNvSpPr>
          <p:nvPr>
            <p:ph type="body" idx="1"/>
          </p:nvPr>
        </p:nvSpPr>
        <p:spPr>
          <a:xfrm>
            <a:off x="722313" y="2180036"/>
            <a:ext cx="7772400" cy="1125140"/>
          </a:xfrm>
        </p:spPr>
        <p:txBody>
          <a:bodyPr anchor="b"/>
          <a:lstStyle>
            <a:lvl1pPr marL="0" indent="0">
              <a:buNone/>
              <a:defRPr sz="2000">
                <a:solidFill>
                  <a:schemeClr val="tx1">
                    <a:tint val="75000"/>
                  </a:schemeClr>
                </a:solidFill>
              </a:defRPr>
            </a:lvl1pPr>
            <a:lvl2pPr marL="457141" indent="0">
              <a:buNone/>
              <a:defRPr sz="1800">
                <a:solidFill>
                  <a:schemeClr val="tx1">
                    <a:tint val="75000"/>
                  </a:schemeClr>
                </a:solidFill>
              </a:defRPr>
            </a:lvl2pPr>
            <a:lvl3pPr marL="914281" indent="0">
              <a:buNone/>
              <a:defRPr sz="1600">
                <a:solidFill>
                  <a:schemeClr val="tx1">
                    <a:tint val="75000"/>
                  </a:schemeClr>
                </a:solidFill>
              </a:defRPr>
            </a:lvl3pPr>
            <a:lvl4pPr marL="1371423" indent="0">
              <a:buNone/>
              <a:defRPr sz="1400">
                <a:solidFill>
                  <a:schemeClr val="tx1">
                    <a:tint val="75000"/>
                  </a:schemeClr>
                </a:solidFill>
              </a:defRPr>
            </a:lvl4pPr>
            <a:lvl5pPr marL="1828563" indent="0">
              <a:buNone/>
              <a:defRPr sz="1400">
                <a:solidFill>
                  <a:schemeClr val="tx1">
                    <a:tint val="75000"/>
                  </a:schemeClr>
                </a:solidFill>
              </a:defRPr>
            </a:lvl5pPr>
            <a:lvl6pPr marL="2285704" indent="0">
              <a:buNone/>
              <a:defRPr sz="1400">
                <a:solidFill>
                  <a:schemeClr val="tx1">
                    <a:tint val="75000"/>
                  </a:schemeClr>
                </a:solidFill>
              </a:defRPr>
            </a:lvl6pPr>
            <a:lvl7pPr marL="2742844" indent="0">
              <a:buNone/>
              <a:defRPr sz="1400">
                <a:solidFill>
                  <a:schemeClr val="tx1">
                    <a:tint val="75000"/>
                  </a:schemeClr>
                </a:solidFill>
              </a:defRPr>
            </a:lvl7pPr>
            <a:lvl8pPr marL="3199985" indent="0">
              <a:buNone/>
              <a:defRPr sz="1400">
                <a:solidFill>
                  <a:schemeClr val="tx1">
                    <a:tint val="75000"/>
                  </a:schemeClr>
                </a:solidFill>
              </a:defRPr>
            </a:lvl8pPr>
            <a:lvl9pPr marL="3657126" indent="0">
              <a:buNone/>
              <a:defRPr sz="1400">
                <a:solidFill>
                  <a:schemeClr val="tx1">
                    <a:tint val="75000"/>
                  </a:schemeClr>
                </a:solidFill>
              </a:defRPr>
            </a:lvl9pPr>
          </a:lstStyle>
          <a:p>
            <a:pPr lvl="0"/>
            <a:r>
              <a:rPr lang="x-none"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007D4E6-C591-4715-B074-55D14DF05F0E}" type="datetimeFigureOut">
              <a:rPr lang="en-US">
                <a:solidFill>
                  <a:prstClr val="black">
                    <a:tint val="75000"/>
                  </a:prstClr>
                </a:solidFill>
              </a:rPr>
              <a:pPr>
                <a:def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0981FF2-DC8F-49DA-8F7B-D076B5BEACF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3275666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F04903E-ECAC-4419-A639-199E95845CEC}" type="datetimeFigureOut">
              <a:rPr lang="en-US">
                <a:solidFill>
                  <a:prstClr val="black">
                    <a:tint val="75000"/>
                  </a:prstClr>
                </a:solidFill>
              </a:rPr>
              <a:pPr>
                <a:defRPr/>
              </a:pPr>
              <a:t>1/29/2014</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45041696-A03D-40FA-93DF-4FB26E22901C}"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0386289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x-none"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5" name="Text Placeholder 4"/>
          <p:cNvSpPr>
            <a:spLocks noGrp="1"/>
          </p:cNvSpPr>
          <p:nvPr>
            <p:ph type="body" sz="quarter" idx="3"/>
          </p:nvPr>
        </p:nvSpPr>
        <p:spPr>
          <a:xfrm>
            <a:off x="4645029" y="1151335"/>
            <a:ext cx="4041775"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x-none" smtClean="0"/>
              <a:t>Click to edit Master text styles</a:t>
            </a:r>
          </a:p>
        </p:txBody>
      </p:sp>
      <p:sp>
        <p:nvSpPr>
          <p:cNvPr id="6" name="Content Placeholder 5"/>
          <p:cNvSpPr>
            <a:spLocks noGrp="1"/>
          </p:cNvSpPr>
          <p:nvPr>
            <p:ph sz="quarter" idx="4"/>
          </p:nvPr>
        </p:nvSpPr>
        <p:spPr>
          <a:xfrm>
            <a:off x="464502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4A098B2-DA30-4926-935E-41DE3F39F83E}" type="datetimeFigureOut">
              <a:rPr lang="en-US">
                <a:solidFill>
                  <a:prstClr val="black">
                    <a:tint val="75000"/>
                  </a:prstClr>
                </a:solidFill>
              </a:rPr>
              <a:pPr>
                <a:defRPr/>
              </a:pPr>
              <a:t>1/29/2014</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1EC59CF1-39C6-44DA-A79E-17860811C973}"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784106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7EF5E57-8B35-447F-9D17-6D9BCA2C8447}" type="datetimeFigureOut">
              <a:rPr lang="en-US" smtClean="0"/>
              <a:pPr/>
              <a:t>1/29/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5022C1-BBB1-491E-B0A6-9417E06D3865}"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18908711-66C1-49F8-A448-E340727241CD}" type="datetimeFigureOut">
              <a:rPr lang="en-US">
                <a:solidFill>
                  <a:prstClr val="black">
                    <a:tint val="75000"/>
                  </a:prstClr>
                </a:solidFill>
              </a:rPr>
              <a:pPr>
                <a:defRPr/>
              </a:pPr>
              <a:t>1/29/2014</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4205BDA9-72D6-4BAB-91BD-EA2A64B4FB1A}"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6895967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2F5E97AE-7E7D-4607-8B08-1805ADCC5096}" type="datetimeFigureOut">
              <a:rPr lang="en-US">
                <a:solidFill>
                  <a:prstClr val="black">
                    <a:tint val="75000"/>
                  </a:prstClr>
                </a:solidFill>
              </a:rPr>
              <a:pPr>
                <a:defRPr/>
              </a:pPr>
              <a:t>1/29/2014</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CF99E2CE-307B-48DC-8319-02E51559E489}"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4973892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04787"/>
            <a:ext cx="3008313" cy="871538"/>
          </a:xfrm>
        </p:spPr>
        <p:txBody>
          <a:bodyPr anchor="b"/>
          <a:lstStyle>
            <a:lvl1pPr algn="l">
              <a:defRPr sz="2000" b="1"/>
            </a:lvl1pPr>
          </a:lstStyle>
          <a:p>
            <a:r>
              <a:rPr lang="x-none"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4" name="Text Placeholder 3"/>
          <p:cNvSpPr>
            <a:spLocks noGrp="1"/>
          </p:cNvSpPr>
          <p:nvPr>
            <p:ph type="body" sz="half" idx="2"/>
          </p:nvPr>
        </p:nvSpPr>
        <p:spPr>
          <a:xfrm>
            <a:off x="457204" y="1076327"/>
            <a:ext cx="3008313" cy="351829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757155FD-C37C-4C98-82FA-B6001B3FD04E}" type="datetimeFigureOut">
              <a:rPr lang="en-US">
                <a:solidFill>
                  <a:prstClr val="black">
                    <a:tint val="75000"/>
                  </a:prstClr>
                </a:solidFill>
              </a:rPr>
              <a:pPr>
                <a:defRPr/>
              </a:pPr>
              <a:t>1/29/2014</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384A482-DF0D-4130-A7D8-2A670B9B17F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4147772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x-none"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rtlCol="0">
            <a:normAutofit/>
          </a:bodyPr>
          <a:lstStyle>
            <a:lvl1pPr marL="0" indent="0">
              <a:buNone/>
              <a:defRPr sz="3200"/>
            </a:lvl1pPr>
            <a:lvl2pPr marL="457141" indent="0">
              <a:buNone/>
              <a:defRPr sz="2800"/>
            </a:lvl2pPr>
            <a:lvl3pPr marL="914281" indent="0">
              <a:buNone/>
              <a:defRPr sz="2400"/>
            </a:lvl3pPr>
            <a:lvl4pPr marL="1371423" indent="0">
              <a:buNone/>
              <a:defRPr sz="2000"/>
            </a:lvl4pPr>
            <a:lvl5pPr marL="1828563" indent="0">
              <a:buNone/>
              <a:defRPr sz="2000"/>
            </a:lvl5pPr>
            <a:lvl6pPr marL="2285704" indent="0">
              <a:buNone/>
              <a:defRPr sz="2000"/>
            </a:lvl6pPr>
            <a:lvl7pPr marL="2742844" indent="0">
              <a:buNone/>
              <a:defRPr sz="2000"/>
            </a:lvl7pPr>
            <a:lvl8pPr marL="3199985" indent="0">
              <a:buNone/>
              <a:defRPr sz="2000"/>
            </a:lvl8pPr>
            <a:lvl9pPr marL="3657126" indent="0">
              <a:buNone/>
              <a:defRPr sz="2000"/>
            </a:lvl9pPr>
          </a:lstStyle>
          <a:p>
            <a:pPr lvl="0"/>
            <a:r>
              <a:rPr lang="x-none" noProof="0" smtClean="0"/>
              <a:t>Drag picture to placeholder or click icon to add</a:t>
            </a:r>
            <a:endParaRPr lang="en-US" noProof="0"/>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5BC58A72-C5BE-4E19-805F-C301258A455F}" type="datetimeFigureOut">
              <a:rPr lang="en-US">
                <a:solidFill>
                  <a:prstClr val="black">
                    <a:tint val="75000"/>
                  </a:prstClr>
                </a:solidFill>
              </a:rPr>
              <a:pPr>
                <a:defRPr/>
              </a:pPr>
              <a:t>1/29/2014</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861DFB50-5103-4171-90CF-7EE02057C96D}"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2693936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F4CBFC8-385A-4DB8-ABF5-181B0A571C07}" type="datetimeFigureOut">
              <a:rPr lang="en-US">
                <a:solidFill>
                  <a:prstClr val="black">
                    <a:tint val="75000"/>
                  </a:prstClr>
                </a:solidFill>
              </a:rPr>
              <a:pPr>
                <a:def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15411B68-2039-4471-AAA5-51B771EE88BD}"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3161246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x-none"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E5EBC6A-ADAA-4C72-BBCC-9B1624BBC5A7}" type="datetimeFigureOut">
              <a:rPr lang="en-US">
                <a:solidFill>
                  <a:prstClr val="black">
                    <a:tint val="75000"/>
                  </a:prstClr>
                </a:solidFill>
              </a:rPr>
              <a:pPr>
                <a:def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2CCC0A4-193D-41AD-B9D6-0E2FA648FD6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3779496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x-none"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41" indent="0" algn="ctr">
              <a:buNone/>
              <a:defRPr>
                <a:solidFill>
                  <a:schemeClr val="tx1">
                    <a:tint val="75000"/>
                  </a:schemeClr>
                </a:solidFill>
              </a:defRPr>
            </a:lvl2pPr>
            <a:lvl3pPr marL="914281" indent="0" algn="ctr">
              <a:buNone/>
              <a:defRPr>
                <a:solidFill>
                  <a:schemeClr val="tx1">
                    <a:tint val="75000"/>
                  </a:schemeClr>
                </a:solidFill>
              </a:defRPr>
            </a:lvl3pPr>
            <a:lvl4pPr marL="1371423" indent="0" algn="ctr">
              <a:buNone/>
              <a:defRPr>
                <a:solidFill>
                  <a:schemeClr val="tx1">
                    <a:tint val="75000"/>
                  </a:schemeClr>
                </a:solidFill>
              </a:defRPr>
            </a:lvl4pPr>
            <a:lvl5pPr marL="1828563" indent="0" algn="ctr">
              <a:buNone/>
              <a:defRPr>
                <a:solidFill>
                  <a:schemeClr val="tx1">
                    <a:tint val="75000"/>
                  </a:schemeClr>
                </a:solidFill>
              </a:defRPr>
            </a:lvl5pPr>
            <a:lvl6pPr marL="2285704" indent="0" algn="ctr">
              <a:buNone/>
              <a:defRPr>
                <a:solidFill>
                  <a:schemeClr val="tx1">
                    <a:tint val="75000"/>
                  </a:schemeClr>
                </a:solidFill>
              </a:defRPr>
            </a:lvl6pPr>
            <a:lvl7pPr marL="2742844" indent="0" algn="ctr">
              <a:buNone/>
              <a:defRPr>
                <a:solidFill>
                  <a:schemeClr val="tx1">
                    <a:tint val="75000"/>
                  </a:schemeClr>
                </a:solidFill>
              </a:defRPr>
            </a:lvl7pPr>
            <a:lvl8pPr marL="3199985" indent="0" algn="ctr">
              <a:buNone/>
              <a:defRPr>
                <a:solidFill>
                  <a:schemeClr val="tx1">
                    <a:tint val="75000"/>
                  </a:schemeClr>
                </a:solidFill>
              </a:defRPr>
            </a:lvl8pPr>
            <a:lvl9pPr marL="3657126" indent="0" algn="ctr">
              <a:buNone/>
              <a:defRPr>
                <a:solidFill>
                  <a:schemeClr val="tx1">
                    <a:tint val="75000"/>
                  </a:schemeClr>
                </a:solidFill>
              </a:defRPr>
            </a:lvl9pPr>
          </a:lstStyle>
          <a:p>
            <a:r>
              <a:rPr lang="x-none"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31E60345-70AA-415F-AF4E-70533C993542}" type="datetimeFigureOut">
              <a:rPr lang="en-US">
                <a:solidFill>
                  <a:prstClr val="black">
                    <a:tint val="75000"/>
                  </a:prstClr>
                </a:solidFill>
              </a:rPr>
              <a:pPr>
                <a:def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59E2D16A-583D-4910-B0C8-D24E28F26074}"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0746699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en-US"/>
          </a:p>
        </p:txBody>
      </p:sp>
      <p:sp>
        <p:nvSpPr>
          <p:cNvPr id="3" name="Content Placeholder 2"/>
          <p:cNvSpPr>
            <a:spLocks noGrp="1"/>
          </p:cNvSpPr>
          <p:nvPr>
            <p:ph idx="1"/>
          </p:nvPr>
        </p:nvSpPr>
        <p:spPr/>
        <p:txBody>
          <a:body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1F7FDB76-F3CE-4FD0-BBAF-9CD34D5C645A}" type="datetimeFigureOut">
              <a:rPr lang="en-US">
                <a:solidFill>
                  <a:prstClr val="black">
                    <a:tint val="75000"/>
                  </a:prstClr>
                </a:solidFill>
              </a:rPr>
              <a:pPr>
                <a:def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A3E4AE0C-8D27-47B7-8A32-FA07E418C542}"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2037298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x-none" smtClean="0"/>
              <a:t>Click to edit Master title style</a:t>
            </a:r>
            <a:endParaRPr lang="en-US"/>
          </a:p>
        </p:txBody>
      </p:sp>
      <p:sp>
        <p:nvSpPr>
          <p:cNvPr id="3" name="Text Placeholder 2"/>
          <p:cNvSpPr>
            <a:spLocks noGrp="1"/>
          </p:cNvSpPr>
          <p:nvPr>
            <p:ph type="body" idx="1"/>
          </p:nvPr>
        </p:nvSpPr>
        <p:spPr>
          <a:xfrm>
            <a:off x="722313" y="2180036"/>
            <a:ext cx="7772400" cy="1125140"/>
          </a:xfrm>
        </p:spPr>
        <p:txBody>
          <a:bodyPr anchor="b"/>
          <a:lstStyle>
            <a:lvl1pPr marL="0" indent="0">
              <a:buNone/>
              <a:defRPr sz="2000">
                <a:solidFill>
                  <a:schemeClr val="tx1">
                    <a:tint val="75000"/>
                  </a:schemeClr>
                </a:solidFill>
              </a:defRPr>
            </a:lvl1pPr>
            <a:lvl2pPr marL="457141" indent="0">
              <a:buNone/>
              <a:defRPr sz="1800">
                <a:solidFill>
                  <a:schemeClr val="tx1">
                    <a:tint val="75000"/>
                  </a:schemeClr>
                </a:solidFill>
              </a:defRPr>
            </a:lvl2pPr>
            <a:lvl3pPr marL="914281" indent="0">
              <a:buNone/>
              <a:defRPr sz="1600">
                <a:solidFill>
                  <a:schemeClr val="tx1">
                    <a:tint val="75000"/>
                  </a:schemeClr>
                </a:solidFill>
              </a:defRPr>
            </a:lvl3pPr>
            <a:lvl4pPr marL="1371423" indent="0">
              <a:buNone/>
              <a:defRPr sz="1400">
                <a:solidFill>
                  <a:schemeClr val="tx1">
                    <a:tint val="75000"/>
                  </a:schemeClr>
                </a:solidFill>
              </a:defRPr>
            </a:lvl4pPr>
            <a:lvl5pPr marL="1828563" indent="0">
              <a:buNone/>
              <a:defRPr sz="1400">
                <a:solidFill>
                  <a:schemeClr val="tx1">
                    <a:tint val="75000"/>
                  </a:schemeClr>
                </a:solidFill>
              </a:defRPr>
            </a:lvl5pPr>
            <a:lvl6pPr marL="2285704" indent="0">
              <a:buNone/>
              <a:defRPr sz="1400">
                <a:solidFill>
                  <a:schemeClr val="tx1">
                    <a:tint val="75000"/>
                  </a:schemeClr>
                </a:solidFill>
              </a:defRPr>
            </a:lvl6pPr>
            <a:lvl7pPr marL="2742844" indent="0">
              <a:buNone/>
              <a:defRPr sz="1400">
                <a:solidFill>
                  <a:schemeClr val="tx1">
                    <a:tint val="75000"/>
                  </a:schemeClr>
                </a:solidFill>
              </a:defRPr>
            </a:lvl7pPr>
            <a:lvl8pPr marL="3199985" indent="0">
              <a:buNone/>
              <a:defRPr sz="1400">
                <a:solidFill>
                  <a:schemeClr val="tx1">
                    <a:tint val="75000"/>
                  </a:schemeClr>
                </a:solidFill>
              </a:defRPr>
            </a:lvl8pPr>
            <a:lvl9pPr marL="3657126" indent="0">
              <a:buNone/>
              <a:defRPr sz="1400">
                <a:solidFill>
                  <a:schemeClr val="tx1">
                    <a:tint val="75000"/>
                  </a:schemeClr>
                </a:solidFill>
              </a:defRPr>
            </a:lvl9pPr>
          </a:lstStyle>
          <a:p>
            <a:pPr lvl="0"/>
            <a:r>
              <a:rPr lang="x-none"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081714BA-3DEA-4FBB-BC9E-B5C31DCC9A4B}" type="datetimeFigureOut">
              <a:rPr lang="en-US">
                <a:solidFill>
                  <a:prstClr val="black">
                    <a:tint val="75000"/>
                  </a:prstClr>
                </a:solidFill>
              </a:rPr>
              <a:pPr>
                <a:def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7E5875A-F5A4-4469-A73F-D021A55DE7F4}"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7902237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4264EDA1-B22D-48B0-843A-C46FA9FC1F78}" type="datetimeFigureOut">
              <a:rPr lang="en-US">
                <a:solidFill>
                  <a:prstClr val="black">
                    <a:tint val="75000"/>
                  </a:prstClr>
                </a:solidFill>
              </a:rPr>
              <a:pPr>
                <a:defRPr/>
              </a:pPr>
              <a:t>1/29/2014</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2B33926-3F89-4E7C-A3C4-BC6EA6F236FC}"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364237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151335"/>
            <a:ext cx="4041775"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7EF5E57-8B35-447F-9D17-6D9BCA2C8447}" type="datetimeFigureOut">
              <a:rPr lang="en-US" smtClean="0"/>
              <a:pPr/>
              <a:t>1/29/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95022C1-BBB1-491E-B0A6-9417E06D3865}"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x-none"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5" name="Text Placeholder 4"/>
          <p:cNvSpPr>
            <a:spLocks noGrp="1"/>
          </p:cNvSpPr>
          <p:nvPr>
            <p:ph type="body" sz="quarter" idx="3"/>
          </p:nvPr>
        </p:nvSpPr>
        <p:spPr>
          <a:xfrm>
            <a:off x="4645029" y="1151335"/>
            <a:ext cx="4041775"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x-none" smtClean="0"/>
              <a:t>Click to edit Master text styles</a:t>
            </a:r>
          </a:p>
        </p:txBody>
      </p:sp>
      <p:sp>
        <p:nvSpPr>
          <p:cNvPr id="6" name="Content Placeholder 5"/>
          <p:cNvSpPr>
            <a:spLocks noGrp="1"/>
          </p:cNvSpPr>
          <p:nvPr>
            <p:ph sz="quarter" idx="4"/>
          </p:nvPr>
        </p:nvSpPr>
        <p:spPr>
          <a:xfrm>
            <a:off x="464502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4A4D7C14-6DB6-42FF-989B-2FB81822A829}" type="datetimeFigureOut">
              <a:rPr lang="en-US">
                <a:solidFill>
                  <a:prstClr val="black">
                    <a:tint val="75000"/>
                  </a:prstClr>
                </a:solidFill>
              </a:rPr>
              <a:pPr>
                <a:defRPr/>
              </a:pPr>
              <a:t>1/29/2014</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B08F397F-3AE3-4E0B-AE94-60DF2CF62216}"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511756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54F54F54-6A75-4F49-9A7C-B66978CE97F9}" type="datetimeFigureOut">
              <a:rPr lang="en-US">
                <a:solidFill>
                  <a:prstClr val="black">
                    <a:tint val="75000"/>
                  </a:prstClr>
                </a:solidFill>
              </a:rPr>
              <a:pPr>
                <a:defRPr/>
              </a:pPr>
              <a:t>1/29/2014</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1FB9E598-282E-45C7-9135-247C6B66580E}"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8847444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584AB40C-9BF1-41EB-B676-B27D6A0DAD2B}" type="datetimeFigureOut">
              <a:rPr lang="en-US">
                <a:solidFill>
                  <a:prstClr val="black">
                    <a:tint val="75000"/>
                  </a:prstClr>
                </a:solidFill>
              </a:rPr>
              <a:pPr>
                <a:defRPr/>
              </a:pPr>
              <a:t>1/29/2014</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5916908C-C44E-4C2E-8477-AC08AB74E49F}"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2345453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04787"/>
            <a:ext cx="3008313" cy="871538"/>
          </a:xfrm>
        </p:spPr>
        <p:txBody>
          <a:bodyPr anchor="b"/>
          <a:lstStyle>
            <a:lvl1pPr algn="l">
              <a:defRPr sz="2000" b="1"/>
            </a:lvl1pPr>
          </a:lstStyle>
          <a:p>
            <a:r>
              <a:rPr lang="x-none"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4" name="Text Placeholder 3"/>
          <p:cNvSpPr>
            <a:spLocks noGrp="1"/>
          </p:cNvSpPr>
          <p:nvPr>
            <p:ph type="body" sz="half" idx="2"/>
          </p:nvPr>
        </p:nvSpPr>
        <p:spPr>
          <a:xfrm>
            <a:off x="457204" y="1076327"/>
            <a:ext cx="3008313" cy="351829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D056A30-B8DE-4DC1-A85C-45C5676BD0CC}" type="datetimeFigureOut">
              <a:rPr lang="en-US">
                <a:solidFill>
                  <a:prstClr val="black">
                    <a:tint val="75000"/>
                  </a:prstClr>
                </a:solidFill>
              </a:rPr>
              <a:pPr>
                <a:defRPr/>
              </a:pPr>
              <a:t>1/29/2014</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FF58F2C-4A93-42A8-8275-687861929277}"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4746398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x-none"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rtlCol="0">
            <a:normAutofit/>
          </a:bodyPr>
          <a:lstStyle>
            <a:lvl1pPr marL="0" indent="0">
              <a:buNone/>
              <a:defRPr sz="3200"/>
            </a:lvl1pPr>
            <a:lvl2pPr marL="457141" indent="0">
              <a:buNone/>
              <a:defRPr sz="2800"/>
            </a:lvl2pPr>
            <a:lvl3pPr marL="914281" indent="0">
              <a:buNone/>
              <a:defRPr sz="2400"/>
            </a:lvl3pPr>
            <a:lvl4pPr marL="1371423" indent="0">
              <a:buNone/>
              <a:defRPr sz="2000"/>
            </a:lvl4pPr>
            <a:lvl5pPr marL="1828563" indent="0">
              <a:buNone/>
              <a:defRPr sz="2000"/>
            </a:lvl5pPr>
            <a:lvl6pPr marL="2285704" indent="0">
              <a:buNone/>
              <a:defRPr sz="2000"/>
            </a:lvl6pPr>
            <a:lvl7pPr marL="2742844" indent="0">
              <a:buNone/>
              <a:defRPr sz="2000"/>
            </a:lvl7pPr>
            <a:lvl8pPr marL="3199985" indent="0">
              <a:buNone/>
              <a:defRPr sz="2000"/>
            </a:lvl8pPr>
            <a:lvl9pPr marL="3657126" indent="0">
              <a:buNone/>
              <a:defRPr sz="2000"/>
            </a:lvl9pPr>
          </a:lstStyle>
          <a:p>
            <a:pPr lvl="0"/>
            <a:r>
              <a:rPr lang="x-none" noProof="0" smtClean="0"/>
              <a:t>Drag picture to placeholder or click icon to add</a:t>
            </a:r>
            <a:endParaRPr lang="en-US" noProof="0"/>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x-none"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E11C4132-04CF-4A84-A11B-89B07298A534}" type="datetimeFigureOut">
              <a:rPr lang="en-US">
                <a:solidFill>
                  <a:prstClr val="black">
                    <a:tint val="75000"/>
                  </a:prstClr>
                </a:solidFill>
              </a:rPr>
              <a:pPr>
                <a:defRPr/>
              </a:pPr>
              <a:t>1/29/2014</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D5EFEEAD-82EC-43E8-B5F1-3773BAE03E5A}"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4515988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776F65F-1B8B-4EBF-9283-7AF4D3B203DF}" type="datetimeFigureOut">
              <a:rPr lang="en-US">
                <a:solidFill>
                  <a:prstClr val="black">
                    <a:tint val="75000"/>
                  </a:prstClr>
                </a:solidFill>
              </a:rPr>
              <a:pPr>
                <a:def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2335660-0720-42E6-86F0-62EC05CDFE31}"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0252984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x-none"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x-none" smtClean="0"/>
              <a:t>Click to edit Master text styles</a:t>
            </a:r>
          </a:p>
          <a:p>
            <a:pPr lvl="1"/>
            <a:r>
              <a:rPr lang="x-none" smtClean="0"/>
              <a:t>Second level</a:t>
            </a:r>
          </a:p>
          <a:p>
            <a:pPr lvl="2"/>
            <a:r>
              <a:rPr lang="x-none" smtClean="0"/>
              <a:t>Third level</a:t>
            </a:r>
          </a:p>
          <a:p>
            <a:pPr lvl="3"/>
            <a:r>
              <a:rPr lang="x-none" smtClean="0"/>
              <a:t>Fourth level</a:t>
            </a:r>
          </a:p>
          <a:p>
            <a:pPr lvl="4"/>
            <a:r>
              <a:rPr lang="x-none"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D57204A3-366A-4F33-8691-3F79413D1963}" type="datetimeFigureOut">
              <a:rPr lang="en-US">
                <a:solidFill>
                  <a:prstClr val="black">
                    <a:tint val="75000"/>
                  </a:prstClr>
                </a:solidFill>
              </a:rPr>
              <a:pPr>
                <a:def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1BA84C08-D1B5-462C-AFA6-CEBB63D3AD45}"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0370384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4485"/>
            <a:ext cx="7772400" cy="1080134"/>
          </a:xfrm>
          <a:prstGeom prst="rect">
            <a:avLst/>
          </a:prstGeom>
        </p:spPr>
        <p:txBody>
          <a:bodyPr wrap="square" lIns="0" tIns="0" rIns="0" bIns="0">
            <a:noAutofit/>
          </a:bodyPr>
          <a:lstStyle/>
          <a:p>
            <a:endParaRPr/>
          </a:p>
        </p:txBody>
      </p:sp>
      <p:sp>
        <p:nvSpPr>
          <p:cNvPr id="3" name="Holder 3"/>
          <p:cNvSpPr>
            <a:spLocks noGrp="1"/>
          </p:cNvSpPr>
          <p:nvPr>
            <p:ph type="subTitle" idx="4"/>
          </p:nvPr>
        </p:nvSpPr>
        <p:spPr>
          <a:xfrm>
            <a:off x="1371601" y="2880360"/>
            <a:ext cx="6400799" cy="1285875"/>
          </a:xfrm>
          <a:prstGeom prst="rect">
            <a:avLst/>
          </a:prstGeom>
        </p:spPr>
        <p:txBody>
          <a:bodyPr wrap="square" lIns="0" tIns="0" rIns="0" bIns="0">
            <a:noAutofit/>
          </a:body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1/29/2014</a:t>
            </a:fld>
            <a:endParaRPr lang="en-US" smtClean="0">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5696983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41136" y="544606"/>
            <a:ext cx="7046310" cy="2744813"/>
          </a:xfrm>
          <a:prstGeom prst="rect">
            <a:avLst/>
          </a:prstGeom>
          <a:blipFill>
            <a:blip r:embed="rId2" cstate="print"/>
            <a:stretch>
              <a:fillRect/>
            </a:stretch>
          </a:blipFill>
        </p:spPr>
        <p:txBody>
          <a:bodyPr wrap="square" lIns="0" tIns="0" rIns="0" bIns="0" rtlCol="0">
            <a:noAutofit/>
          </a:bodyPr>
          <a:lstStyle/>
          <a:p>
            <a:pPr defTabSz="715792"/>
            <a:endParaRPr sz="1400" smtClean="0">
              <a:solidFill>
                <a:prstClr val="black"/>
              </a:solidFill>
            </a:endParaRPr>
          </a:p>
        </p:txBody>
      </p:sp>
      <p:sp>
        <p:nvSpPr>
          <p:cNvPr id="2" name="Holder 2"/>
          <p:cNvSpPr>
            <a:spLocks noGrp="1"/>
          </p:cNvSpPr>
          <p:nvPr>
            <p:ph type="title"/>
          </p:nvPr>
        </p:nvSpPr>
        <p:spPr/>
        <p:txBody>
          <a:bodyPr lIns="0" tIns="0" rIns="0" bIns="0"/>
          <a:lstStyle/>
          <a:p>
            <a:endParaRPr/>
          </a:p>
        </p:txBody>
      </p:sp>
      <p:sp>
        <p:nvSpPr>
          <p:cNvPr id="3" name="Holder 3"/>
          <p:cNvSpPr>
            <a:spLocks noGrp="1"/>
          </p:cNvSpPr>
          <p:nvPr>
            <p:ph type="body" idx="1"/>
          </p:nvPr>
        </p:nvSpPr>
        <p:spPr/>
        <p:txBody>
          <a:bodyPr lIns="0" tIns="0" rIns="0" bIns="0"/>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1/29/2014</a:t>
            </a:fld>
            <a:endParaRPr lang="en-US" smtClean="0">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5798637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sz="half" idx="2"/>
          </p:nvPr>
        </p:nvSpPr>
        <p:spPr>
          <a:xfrm>
            <a:off x="457200" y="1183005"/>
            <a:ext cx="3977640" cy="3394710"/>
          </a:xfrm>
          <a:prstGeom prst="rect">
            <a:avLst/>
          </a:prstGeom>
        </p:spPr>
        <p:txBody>
          <a:bodyPr wrap="square" lIns="0" tIns="0" rIns="0" bIns="0">
            <a:noAutofit/>
          </a:bodyPr>
          <a:lstStyle/>
          <a:p>
            <a:endParaRPr/>
          </a:p>
        </p:txBody>
      </p:sp>
      <p:sp>
        <p:nvSpPr>
          <p:cNvPr id="4" name="Holder 4"/>
          <p:cNvSpPr>
            <a:spLocks noGrp="1"/>
          </p:cNvSpPr>
          <p:nvPr>
            <p:ph sz="half" idx="3"/>
          </p:nvPr>
        </p:nvSpPr>
        <p:spPr>
          <a:xfrm>
            <a:off x="4709160" y="1183005"/>
            <a:ext cx="3977640" cy="3394710"/>
          </a:xfrm>
          <a:prstGeom prst="rect">
            <a:avLst/>
          </a:prstGeom>
        </p:spPr>
        <p:txBody>
          <a:bodyPr wrap="square" lIns="0" tIns="0" rIns="0" bIns="0">
            <a:noAutofit/>
          </a:body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1/29/2014</a:t>
            </a:fld>
            <a:endParaRPr lang="en-US" smtClean="0">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184514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7EF5E57-8B35-447F-9D17-6D9BCA2C8447}" type="datetimeFigureOut">
              <a:rPr lang="en-US" smtClean="0"/>
              <a:pPr/>
              <a:t>1/29/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95022C1-BBB1-491E-B0A6-9417E06D3865}" type="slidenum">
              <a:rPr lang="en-US" smtClean="0"/>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1/29/2014</a:t>
            </a:fld>
            <a:endParaRPr lang="en-US" smtClean="0">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552698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430790" y="1297718"/>
            <a:ext cx="7037188" cy="2990664"/>
          </a:xfrm>
          <a:prstGeom prst="rect">
            <a:avLst/>
          </a:prstGeom>
          <a:blipFill>
            <a:blip r:embed="rId2" cstate="print"/>
            <a:stretch>
              <a:fillRect/>
            </a:stretch>
          </a:blipFill>
        </p:spPr>
        <p:txBody>
          <a:bodyPr wrap="square" lIns="0" tIns="0" rIns="0" bIns="0" rtlCol="0">
            <a:noAutofit/>
          </a:bodyPr>
          <a:lstStyle/>
          <a:p>
            <a:pPr defTabSz="715792"/>
            <a:endParaRPr sz="1400" smtClean="0">
              <a:solidFill>
                <a:prstClr val="black"/>
              </a:solidFill>
            </a:endParaRPr>
          </a:p>
        </p:txBody>
      </p:sp>
      <p:sp>
        <p:nvSpPr>
          <p:cNvPr id="17" name="bk object 17"/>
          <p:cNvSpPr/>
          <p:nvPr/>
        </p:nvSpPr>
        <p:spPr>
          <a:xfrm>
            <a:off x="1800895" y="1445021"/>
            <a:ext cx="3448221" cy="1683610"/>
          </a:xfrm>
          <a:custGeom>
            <a:avLst/>
            <a:gdLst/>
            <a:ahLst/>
            <a:cxnLst/>
            <a:rect l="l" t="t" r="r" b="b"/>
            <a:pathLst>
              <a:path w="4032503" h="2473451">
                <a:moveTo>
                  <a:pt x="0" y="0"/>
                </a:moveTo>
                <a:lnTo>
                  <a:pt x="0" y="2473451"/>
                </a:lnTo>
                <a:lnTo>
                  <a:pt x="4032503" y="2473451"/>
                </a:lnTo>
                <a:lnTo>
                  <a:pt x="4032503" y="0"/>
                </a:lnTo>
                <a:lnTo>
                  <a:pt x="0" y="0"/>
                </a:lnTo>
                <a:close/>
              </a:path>
            </a:pathLst>
          </a:custGeom>
          <a:solidFill>
            <a:srgbClr val="FFFFFF"/>
          </a:solidFill>
        </p:spPr>
        <p:txBody>
          <a:bodyPr wrap="square" lIns="0" tIns="0" rIns="0" bIns="0" rtlCol="0">
            <a:noAutofit/>
          </a:bodyPr>
          <a:lstStyle/>
          <a:p>
            <a:pPr defTabSz="715792"/>
            <a:endParaRPr sz="1400" smtClean="0">
              <a:solidFill>
                <a:prstClr val="black"/>
              </a:solidFill>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1/29/2014</a:t>
            </a:fld>
            <a:endParaRPr lang="en-US" smtClean="0">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110314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41" indent="0" algn="ctr">
              <a:buNone/>
              <a:defRPr>
                <a:solidFill>
                  <a:schemeClr val="tx1">
                    <a:tint val="75000"/>
                  </a:schemeClr>
                </a:solidFill>
              </a:defRPr>
            </a:lvl2pPr>
            <a:lvl3pPr marL="914281" indent="0" algn="ctr">
              <a:buNone/>
              <a:defRPr>
                <a:solidFill>
                  <a:schemeClr val="tx1">
                    <a:tint val="75000"/>
                  </a:schemeClr>
                </a:solidFill>
              </a:defRPr>
            </a:lvl3pPr>
            <a:lvl4pPr marL="1371423" indent="0" algn="ctr">
              <a:buNone/>
              <a:defRPr>
                <a:solidFill>
                  <a:schemeClr val="tx1">
                    <a:tint val="75000"/>
                  </a:schemeClr>
                </a:solidFill>
              </a:defRPr>
            </a:lvl4pPr>
            <a:lvl5pPr marL="1828563" indent="0" algn="ctr">
              <a:buNone/>
              <a:defRPr>
                <a:solidFill>
                  <a:schemeClr val="tx1">
                    <a:tint val="75000"/>
                  </a:schemeClr>
                </a:solidFill>
              </a:defRPr>
            </a:lvl5pPr>
            <a:lvl6pPr marL="2285704" indent="0" algn="ctr">
              <a:buNone/>
              <a:defRPr>
                <a:solidFill>
                  <a:schemeClr val="tx1">
                    <a:tint val="75000"/>
                  </a:schemeClr>
                </a:solidFill>
              </a:defRPr>
            </a:lvl6pPr>
            <a:lvl7pPr marL="2742844" indent="0" algn="ctr">
              <a:buNone/>
              <a:defRPr>
                <a:solidFill>
                  <a:schemeClr val="tx1">
                    <a:tint val="75000"/>
                  </a:schemeClr>
                </a:solidFill>
              </a:defRPr>
            </a:lvl7pPr>
            <a:lvl8pPr marL="3199985" indent="0" algn="ctr">
              <a:buNone/>
              <a:defRPr>
                <a:solidFill>
                  <a:schemeClr val="tx1">
                    <a:tint val="75000"/>
                  </a:schemeClr>
                </a:solidFill>
              </a:defRPr>
            </a:lvl8pPr>
            <a:lvl9pPr marL="3657126"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069406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99844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6"/>
            <a:ext cx="7772400" cy="1125140"/>
          </a:xfrm>
        </p:spPr>
        <p:txBody>
          <a:bodyPr anchor="b"/>
          <a:lstStyle>
            <a:lvl1pPr marL="0" indent="0">
              <a:buNone/>
              <a:defRPr sz="2000">
                <a:solidFill>
                  <a:schemeClr val="tx1">
                    <a:tint val="75000"/>
                  </a:schemeClr>
                </a:solidFill>
              </a:defRPr>
            </a:lvl1pPr>
            <a:lvl2pPr marL="457141" indent="0">
              <a:buNone/>
              <a:defRPr sz="1800">
                <a:solidFill>
                  <a:schemeClr val="tx1">
                    <a:tint val="75000"/>
                  </a:schemeClr>
                </a:solidFill>
              </a:defRPr>
            </a:lvl2pPr>
            <a:lvl3pPr marL="914281" indent="0">
              <a:buNone/>
              <a:defRPr sz="1600">
                <a:solidFill>
                  <a:schemeClr val="tx1">
                    <a:tint val="75000"/>
                  </a:schemeClr>
                </a:solidFill>
              </a:defRPr>
            </a:lvl3pPr>
            <a:lvl4pPr marL="1371423" indent="0">
              <a:buNone/>
              <a:defRPr sz="1400">
                <a:solidFill>
                  <a:schemeClr val="tx1">
                    <a:tint val="75000"/>
                  </a:schemeClr>
                </a:solidFill>
              </a:defRPr>
            </a:lvl4pPr>
            <a:lvl5pPr marL="1828563" indent="0">
              <a:buNone/>
              <a:defRPr sz="1400">
                <a:solidFill>
                  <a:schemeClr val="tx1">
                    <a:tint val="75000"/>
                  </a:schemeClr>
                </a:solidFill>
              </a:defRPr>
            </a:lvl5pPr>
            <a:lvl6pPr marL="2285704" indent="0">
              <a:buNone/>
              <a:defRPr sz="1400">
                <a:solidFill>
                  <a:schemeClr val="tx1">
                    <a:tint val="75000"/>
                  </a:schemeClr>
                </a:solidFill>
              </a:defRPr>
            </a:lvl6pPr>
            <a:lvl7pPr marL="2742844" indent="0">
              <a:buNone/>
              <a:defRPr sz="1400">
                <a:solidFill>
                  <a:schemeClr val="tx1">
                    <a:tint val="75000"/>
                  </a:schemeClr>
                </a:solidFill>
              </a:defRPr>
            </a:lvl7pPr>
            <a:lvl8pPr marL="3199985" indent="0">
              <a:buNone/>
              <a:defRPr sz="1400">
                <a:solidFill>
                  <a:schemeClr val="tx1">
                    <a:tint val="75000"/>
                  </a:schemeClr>
                </a:solidFill>
              </a:defRPr>
            </a:lvl8pPr>
            <a:lvl9pPr marL="3657126"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737318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07704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151335"/>
            <a:ext cx="4041775" cy="479822"/>
          </a:xfrm>
        </p:spPr>
        <p:txBody>
          <a:bodyPr anchor="b"/>
          <a:lstStyle>
            <a:lvl1pPr marL="0" indent="0">
              <a:buNone/>
              <a:defRPr sz="2400" b="1"/>
            </a:lvl1pPr>
            <a:lvl2pPr marL="457141" indent="0">
              <a:buNone/>
              <a:defRPr sz="2000" b="1"/>
            </a:lvl2pPr>
            <a:lvl3pPr marL="914281" indent="0">
              <a:buNone/>
              <a:defRPr sz="1800" b="1"/>
            </a:lvl3pPr>
            <a:lvl4pPr marL="1371423" indent="0">
              <a:buNone/>
              <a:defRPr sz="1600" b="1"/>
            </a:lvl4pPr>
            <a:lvl5pPr marL="1828563" indent="0">
              <a:buNone/>
              <a:defRPr sz="1600" b="1"/>
            </a:lvl5pPr>
            <a:lvl6pPr marL="2285704" indent="0">
              <a:buNone/>
              <a:defRPr sz="1600" b="1"/>
            </a:lvl6pPr>
            <a:lvl7pPr marL="2742844" indent="0">
              <a:buNone/>
              <a:defRPr sz="1600" b="1"/>
            </a:lvl7pPr>
            <a:lvl8pPr marL="3199985" indent="0">
              <a:buNone/>
              <a:defRPr sz="1600" b="1"/>
            </a:lvl8pPr>
            <a:lvl9pPr marL="365712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116450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857984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686973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4" y="1076327"/>
            <a:ext cx="3008313" cy="351829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46789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EF5E57-8B35-447F-9D17-6D9BCA2C8447}" type="datetimeFigureOut">
              <a:rPr lang="en-US" smtClean="0"/>
              <a:pPr/>
              <a:t>1/29/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95022C1-BBB1-491E-B0A6-9417E06D3865}" type="slidenum">
              <a:rPr lang="en-US" smtClean="0"/>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41" indent="0">
              <a:buNone/>
              <a:defRPr sz="2800"/>
            </a:lvl2pPr>
            <a:lvl3pPr marL="914281" indent="0">
              <a:buNone/>
              <a:defRPr sz="2400"/>
            </a:lvl3pPr>
            <a:lvl4pPr marL="1371423" indent="0">
              <a:buNone/>
              <a:defRPr sz="2000"/>
            </a:lvl4pPr>
            <a:lvl5pPr marL="1828563" indent="0">
              <a:buNone/>
              <a:defRPr sz="2000"/>
            </a:lvl5pPr>
            <a:lvl6pPr marL="2285704" indent="0">
              <a:buNone/>
              <a:defRPr sz="2000"/>
            </a:lvl6pPr>
            <a:lvl7pPr marL="2742844" indent="0">
              <a:buNone/>
              <a:defRPr sz="2000"/>
            </a:lvl7pPr>
            <a:lvl8pPr marL="3199985" indent="0">
              <a:buNone/>
              <a:defRPr sz="2000"/>
            </a:lvl8pPr>
            <a:lvl9pPr marL="3657126" indent="0">
              <a:buNone/>
              <a:defRPr sz="2000"/>
            </a:lvl9pPr>
          </a:lstStyle>
          <a:p>
            <a:endParaRPr lang="en-US"/>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19271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067932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30614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1" name="Rectangle 10"/>
          <p:cNvSpPr/>
          <p:nvPr userDrawn="1"/>
        </p:nvSpPr>
        <p:spPr>
          <a:xfrm>
            <a:off x="35497" y="4840002"/>
            <a:ext cx="9073008" cy="303498"/>
          </a:xfrm>
          <a:prstGeom prst="rect">
            <a:avLst/>
          </a:prstGeom>
          <a:solidFill>
            <a:srgbClr val="F3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2" name="Title 1"/>
          <p:cNvSpPr>
            <a:spLocks noGrp="1"/>
          </p:cNvSpPr>
          <p:nvPr>
            <p:ph type="ctrTitle" hasCustomPrompt="1"/>
          </p:nvPr>
        </p:nvSpPr>
        <p:spPr>
          <a:xfrm>
            <a:off x="685800" y="1739262"/>
            <a:ext cx="7772400" cy="1102519"/>
          </a:xfrm>
        </p:spPr>
        <p:txBody>
          <a:bodyPr/>
          <a:lstStyle>
            <a:lvl1pPr algn="ctr">
              <a:defRPr b="1" baseline="0">
                <a:solidFill>
                  <a:srgbClr val="1B4177"/>
                </a:solidFill>
              </a:defRPr>
            </a:lvl1pPr>
          </a:lstStyle>
          <a:p>
            <a:r>
              <a:rPr lang="en-US" dirty="0" smtClean="0"/>
              <a:t>Presentation Title</a:t>
            </a:r>
            <a:endParaRPr lang="en-US" dirty="0"/>
          </a:p>
        </p:txBody>
      </p:sp>
      <p:sp>
        <p:nvSpPr>
          <p:cNvPr id="3" name="Subtitle 2"/>
          <p:cNvSpPr>
            <a:spLocks noGrp="1"/>
          </p:cNvSpPr>
          <p:nvPr>
            <p:ph type="subTitle" idx="1" hasCustomPrompt="1"/>
          </p:nvPr>
        </p:nvSpPr>
        <p:spPr>
          <a:xfrm>
            <a:off x="1371600" y="3022662"/>
            <a:ext cx="6400800" cy="791226"/>
          </a:xfrm>
        </p:spPr>
        <p:txBody>
          <a:bodyPr>
            <a:normAutofit/>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ation Sub-Title</a:t>
            </a:r>
            <a:endParaRPr lang="en-US" dirty="0"/>
          </a:p>
        </p:txBody>
      </p:sp>
      <p:sp>
        <p:nvSpPr>
          <p:cNvPr id="7" name="Rectangle 6"/>
          <p:cNvSpPr/>
          <p:nvPr userDrawn="1"/>
        </p:nvSpPr>
        <p:spPr>
          <a:xfrm>
            <a:off x="0" y="0"/>
            <a:ext cx="9144000" cy="1005576"/>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10" name="Rectangle 9"/>
          <p:cNvSpPr/>
          <p:nvPr userDrawn="1"/>
        </p:nvSpPr>
        <p:spPr>
          <a:xfrm>
            <a:off x="35496" y="897564"/>
            <a:ext cx="9073008" cy="27000"/>
          </a:xfrm>
          <a:prstGeom prst="rect">
            <a:avLst/>
          </a:prstGeom>
          <a:solidFill>
            <a:srgbClr val="1B41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102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9512" y="135000"/>
            <a:ext cx="5688632" cy="672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16082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b="1"/>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477071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7455381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059583"/>
            <a:ext cx="4038600" cy="35350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059583"/>
            <a:ext cx="4038600" cy="35350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623116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005577"/>
            <a:ext cx="4040188" cy="62558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6" y="1005577"/>
            <a:ext cx="4041775" cy="62558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401483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Espace réservé de la date 2"/>
          <p:cNvSpPr>
            <a:spLocks noGrp="1"/>
          </p:cNvSpPr>
          <p:nvPr>
            <p:ph type="dt" sz="half" idx="10"/>
          </p:nvPr>
        </p:nvSpPr>
        <p:spPr/>
        <p:txBody>
          <a:bodyPr/>
          <a:lstStyle/>
          <a:p>
            <a:fld id="{074BC2C2-9612-42E6-8E25-EA2A31CBAFDC}" type="datetime3">
              <a:rPr lang="en-US" smtClean="0">
                <a:solidFill>
                  <a:prstClr val="black">
                    <a:tint val="75000"/>
                  </a:prstClr>
                </a:solidFill>
              </a:rPr>
              <a:pPr/>
              <a:t>29 January 2014</a:t>
            </a:fld>
            <a:endParaRPr lang="en-US" dirty="0">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en-US">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AEBC9397-8921-489F-B39C-2E8FC685A84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947304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695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4" y="1076327"/>
            <a:ext cx="3008313" cy="351829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7EF5E57-8B35-447F-9D17-6D9BCA2C8447}" type="datetimeFigureOut">
              <a:rPr lang="en-US" smtClean="0"/>
              <a:pPr/>
              <a:t>1/29/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5022C1-BBB1-491E-B0A6-9417E06D3865}" type="slidenum">
              <a:rPr lang="en-US" smtClean="0"/>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7"/>
            <a:ext cx="7355160" cy="692777"/>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1059583"/>
            <a:ext cx="5111750" cy="3535040"/>
          </a:xfrm>
        </p:spPr>
        <p:txBody>
          <a:bodyPr/>
          <a:lstStyle>
            <a:lvl1pPr>
              <a:defRPr sz="24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1" y="1059583"/>
            <a:ext cx="3008313" cy="353504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13480694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059582"/>
            <a:ext cx="5486400" cy="24860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8776028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390957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05576"/>
            <a:ext cx="2057400" cy="3589046"/>
          </a:xfrm>
        </p:spPr>
        <p:txBody>
          <a:bodyPr vert="eaVert"/>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1005576"/>
            <a:ext cx="6019800" cy="3589046"/>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9169127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7819"/>
            <a:ext cx="7772400" cy="1102519"/>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lvl1pPr>
              <a:defRPr/>
            </a:lvl1pPr>
          </a:lstStyle>
          <a:p>
            <a:pPr>
              <a:defRPr/>
            </a:pPr>
            <a:fld id="{F4692F32-DA0F-4254-9C77-17FF5F974963}" type="datetime1">
              <a:rPr lang="de-DE" smtClean="0">
                <a:solidFill>
                  <a:prstClr val="black">
                    <a:tint val="75000"/>
                  </a:prstClr>
                </a:solidFill>
              </a:rPr>
              <a:pPr>
                <a:defRPr/>
              </a:pPr>
              <a:t>29.01.2014</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E77EDAD8-05D2-4A91-A42E-569BE8F0F033}"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7630808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pPr>
              <a:defRPr/>
            </a:pPr>
            <a:fld id="{D2B6EC47-DD75-4EE5-994F-9D77AB199ABD}" type="datetime1">
              <a:rPr lang="de-DE" smtClean="0">
                <a:solidFill>
                  <a:prstClr val="black">
                    <a:tint val="75000"/>
                  </a:prstClr>
                </a:solidFill>
              </a:rPr>
              <a:pPr>
                <a:defRPr/>
              </a:pPr>
              <a:t>29.01.2014</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4E576135-B906-4358-B55B-7422F6CB0D41}"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33714569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6"/>
            <a:ext cx="7772400" cy="1021556"/>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e durch Klicken bearbeiten</a:t>
            </a:r>
          </a:p>
        </p:txBody>
      </p:sp>
      <p:sp>
        <p:nvSpPr>
          <p:cNvPr id="4" name="Datumsplatzhalter 3"/>
          <p:cNvSpPr>
            <a:spLocks noGrp="1"/>
          </p:cNvSpPr>
          <p:nvPr>
            <p:ph type="dt" sz="half" idx="10"/>
          </p:nvPr>
        </p:nvSpPr>
        <p:spPr/>
        <p:txBody>
          <a:bodyPr/>
          <a:lstStyle>
            <a:lvl1pPr>
              <a:defRPr/>
            </a:lvl1pPr>
          </a:lstStyle>
          <a:p>
            <a:pPr>
              <a:defRPr/>
            </a:pPr>
            <a:fld id="{D87C8CB0-C749-493D-88D6-25A5208D8517}" type="datetime1">
              <a:rPr lang="de-DE" smtClean="0">
                <a:solidFill>
                  <a:prstClr val="black">
                    <a:tint val="75000"/>
                  </a:prstClr>
                </a:solidFill>
              </a:rPr>
              <a:pPr>
                <a:defRPr/>
              </a:pPr>
              <a:t>29.01.2014</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C8AF6F14-00F0-4C6D-B0D0-135AE1DCF3F0}"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38164413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3"/>
          <p:cNvSpPr>
            <a:spLocks noGrp="1"/>
          </p:cNvSpPr>
          <p:nvPr>
            <p:ph type="dt" sz="half" idx="10"/>
          </p:nvPr>
        </p:nvSpPr>
        <p:spPr/>
        <p:txBody>
          <a:bodyPr/>
          <a:lstStyle>
            <a:lvl1pPr>
              <a:defRPr/>
            </a:lvl1pPr>
          </a:lstStyle>
          <a:p>
            <a:pPr>
              <a:defRPr/>
            </a:pPr>
            <a:fld id="{AD8FFD21-CBC5-43F9-A0D3-47B973FE1099}" type="datetime1">
              <a:rPr lang="de-DE" smtClean="0">
                <a:solidFill>
                  <a:prstClr val="black">
                    <a:tint val="75000"/>
                  </a:prstClr>
                </a:solidFill>
              </a:rPr>
              <a:pPr>
                <a:defRPr/>
              </a:pPr>
              <a:t>29.01.2014</a:t>
            </a:fld>
            <a:endParaRPr lang="de-DE">
              <a:solidFill>
                <a:prstClr val="black">
                  <a:tint val="75000"/>
                </a:prstClr>
              </a:solidFill>
            </a:endParaRPr>
          </a:p>
        </p:txBody>
      </p:sp>
      <p:sp>
        <p:nvSpPr>
          <p:cNvPr id="6"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7" name="Foliennummernplatzhalter 5"/>
          <p:cNvSpPr>
            <a:spLocks noGrp="1"/>
          </p:cNvSpPr>
          <p:nvPr>
            <p:ph type="sldNum" sz="quarter" idx="12"/>
          </p:nvPr>
        </p:nvSpPr>
        <p:spPr/>
        <p:txBody>
          <a:bodyPr/>
          <a:lstStyle>
            <a:lvl1pPr>
              <a:defRPr/>
            </a:lvl1pPr>
          </a:lstStyle>
          <a:p>
            <a:pPr>
              <a:defRPr/>
            </a:pPr>
            <a:fld id="{4E2AED8D-581F-403A-8B7B-5CA2E077B17F}"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244253132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3"/>
          <p:cNvSpPr>
            <a:spLocks noGrp="1"/>
          </p:cNvSpPr>
          <p:nvPr>
            <p:ph type="dt" sz="half" idx="10"/>
          </p:nvPr>
        </p:nvSpPr>
        <p:spPr/>
        <p:txBody>
          <a:bodyPr/>
          <a:lstStyle>
            <a:lvl1pPr>
              <a:defRPr/>
            </a:lvl1pPr>
          </a:lstStyle>
          <a:p>
            <a:pPr>
              <a:defRPr/>
            </a:pPr>
            <a:fld id="{99DE6AFD-D821-423B-AF91-5CE4EE4051A4}" type="datetime1">
              <a:rPr lang="de-DE" smtClean="0">
                <a:solidFill>
                  <a:prstClr val="black">
                    <a:tint val="75000"/>
                  </a:prstClr>
                </a:solidFill>
              </a:rPr>
              <a:pPr>
                <a:defRPr/>
              </a:pPr>
              <a:t>29.01.2014</a:t>
            </a:fld>
            <a:endParaRPr lang="de-DE">
              <a:solidFill>
                <a:prstClr val="black">
                  <a:tint val="75000"/>
                </a:prstClr>
              </a:solidFill>
            </a:endParaRPr>
          </a:p>
        </p:txBody>
      </p:sp>
      <p:sp>
        <p:nvSpPr>
          <p:cNvPr id="8"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9" name="Foliennummernplatzhalter 5"/>
          <p:cNvSpPr>
            <a:spLocks noGrp="1"/>
          </p:cNvSpPr>
          <p:nvPr>
            <p:ph type="sldNum" sz="quarter" idx="12"/>
          </p:nvPr>
        </p:nvSpPr>
        <p:spPr/>
        <p:txBody>
          <a:bodyPr/>
          <a:lstStyle>
            <a:lvl1pPr>
              <a:defRPr/>
            </a:lvl1pPr>
          </a:lstStyle>
          <a:p>
            <a:pPr>
              <a:defRPr/>
            </a:pPr>
            <a:fld id="{5C49CD16-201F-4092-AC0A-D8EEC421164E}"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915813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3"/>
          <p:cNvSpPr>
            <a:spLocks noGrp="1"/>
          </p:cNvSpPr>
          <p:nvPr>
            <p:ph type="dt" sz="half" idx="10"/>
          </p:nvPr>
        </p:nvSpPr>
        <p:spPr/>
        <p:txBody>
          <a:bodyPr/>
          <a:lstStyle>
            <a:lvl1pPr>
              <a:defRPr/>
            </a:lvl1pPr>
          </a:lstStyle>
          <a:p>
            <a:pPr>
              <a:defRPr/>
            </a:pPr>
            <a:fld id="{B975E230-1D9C-44C8-8B19-9C4CD3EFA842}" type="datetime1">
              <a:rPr lang="de-DE" smtClean="0">
                <a:solidFill>
                  <a:prstClr val="black">
                    <a:tint val="75000"/>
                  </a:prstClr>
                </a:solidFill>
              </a:rPr>
              <a:pPr>
                <a:defRPr/>
              </a:pPr>
              <a:t>29.01.2014</a:t>
            </a:fld>
            <a:endParaRPr lang="de-DE">
              <a:solidFill>
                <a:prstClr val="black">
                  <a:tint val="75000"/>
                </a:prstClr>
              </a:solidFill>
            </a:endParaRPr>
          </a:p>
        </p:txBody>
      </p:sp>
      <p:sp>
        <p:nvSpPr>
          <p:cNvPr id="4"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5" name="Foliennummernplatzhalter 5"/>
          <p:cNvSpPr>
            <a:spLocks noGrp="1"/>
          </p:cNvSpPr>
          <p:nvPr>
            <p:ph type="sldNum" sz="quarter" idx="12"/>
          </p:nvPr>
        </p:nvSpPr>
        <p:spPr/>
        <p:txBody>
          <a:bodyPr/>
          <a:lstStyle>
            <a:lvl1pPr>
              <a:defRPr/>
            </a:lvl1pPr>
          </a:lstStyle>
          <a:p>
            <a:pPr>
              <a:defRPr/>
            </a:pPr>
            <a:fld id="{7D932DC2-FB2F-4A72-B837-E296B924D621}"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5967167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41" indent="0">
              <a:buNone/>
              <a:defRPr sz="2800"/>
            </a:lvl2pPr>
            <a:lvl3pPr marL="914281" indent="0">
              <a:buNone/>
              <a:defRPr sz="2400"/>
            </a:lvl3pPr>
            <a:lvl4pPr marL="1371423" indent="0">
              <a:buNone/>
              <a:defRPr sz="2000"/>
            </a:lvl4pPr>
            <a:lvl5pPr marL="1828563" indent="0">
              <a:buNone/>
              <a:defRPr sz="2000"/>
            </a:lvl5pPr>
            <a:lvl6pPr marL="2285704" indent="0">
              <a:buNone/>
              <a:defRPr sz="2000"/>
            </a:lvl6pPr>
            <a:lvl7pPr marL="2742844" indent="0">
              <a:buNone/>
              <a:defRPr sz="2000"/>
            </a:lvl7pPr>
            <a:lvl8pPr marL="3199985" indent="0">
              <a:buNone/>
              <a:defRPr sz="2000"/>
            </a:lvl8pPr>
            <a:lvl9pPr marL="3657126" indent="0">
              <a:buNone/>
              <a:defRPr sz="2000"/>
            </a:lvl9pPr>
          </a:lstStyle>
          <a:p>
            <a:endParaRPr lang="en-US"/>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141" indent="0">
              <a:buNone/>
              <a:defRPr sz="1200"/>
            </a:lvl2pPr>
            <a:lvl3pPr marL="914281" indent="0">
              <a:buNone/>
              <a:defRPr sz="1000"/>
            </a:lvl3pPr>
            <a:lvl4pPr marL="1371423" indent="0">
              <a:buNone/>
              <a:defRPr sz="900"/>
            </a:lvl4pPr>
            <a:lvl5pPr marL="1828563" indent="0">
              <a:buNone/>
              <a:defRPr sz="900"/>
            </a:lvl5pPr>
            <a:lvl6pPr marL="2285704" indent="0">
              <a:buNone/>
              <a:defRPr sz="900"/>
            </a:lvl6pPr>
            <a:lvl7pPr marL="2742844" indent="0">
              <a:buNone/>
              <a:defRPr sz="900"/>
            </a:lvl7pPr>
            <a:lvl8pPr marL="3199985" indent="0">
              <a:buNone/>
              <a:defRPr sz="900"/>
            </a:lvl8pPr>
            <a:lvl9pPr marL="365712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7EF5E57-8B35-447F-9D17-6D9BCA2C8447}" type="datetimeFigureOut">
              <a:rPr lang="en-US" smtClean="0"/>
              <a:pPr/>
              <a:t>1/29/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5022C1-BBB1-491E-B0A6-9417E06D3865}" type="slidenum">
              <a:rPr lang="en-US" smtClean="0"/>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3"/>
          <p:cNvSpPr>
            <a:spLocks noGrp="1"/>
          </p:cNvSpPr>
          <p:nvPr>
            <p:ph type="dt" sz="half" idx="10"/>
          </p:nvPr>
        </p:nvSpPr>
        <p:spPr/>
        <p:txBody>
          <a:bodyPr/>
          <a:lstStyle>
            <a:lvl1pPr>
              <a:defRPr/>
            </a:lvl1pPr>
          </a:lstStyle>
          <a:p>
            <a:pPr>
              <a:defRPr/>
            </a:pPr>
            <a:fld id="{D1D946DD-F650-49E0-8075-1565DDC67BE2}" type="datetime1">
              <a:rPr lang="de-DE" smtClean="0">
                <a:solidFill>
                  <a:prstClr val="black">
                    <a:tint val="75000"/>
                  </a:prstClr>
                </a:solidFill>
              </a:rPr>
              <a:pPr>
                <a:defRPr/>
              </a:pPr>
              <a:t>29.01.2014</a:t>
            </a:fld>
            <a:endParaRPr lang="de-DE">
              <a:solidFill>
                <a:prstClr val="black">
                  <a:tint val="75000"/>
                </a:prstClr>
              </a:solidFill>
            </a:endParaRPr>
          </a:p>
        </p:txBody>
      </p:sp>
      <p:sp>
        <p:nvSpPr>
          <p:cNvPr id="3"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4" name="Foliennummernplatzhalter 5"/>
          <p:cNvSpPr>
            <a:spLocks noGrp="1"/>
          </p:cNvSpPr>
          <p:nvPr>
            <p:ph type="sldNum" sz="quarter" idx="12"/>
          </p:nvPr>
        </p:nvSpPr>
        <p:spPr/>
        <p:txBody>
          <a:bodyPr/>
          <a:lstStyle>
            <a:lvl1pPr>
              <a:defRPr/>
            </a:lvl1pPr>
          </a:lstStyle>
          <a:p>
            <a:pPr>
              <a:defRPr/>
            </a:pPr>
            <a:fld id="{9CAF70A2-7765-46DF-A997-6FF457CF3705}"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34456254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1" y="204787"/>
            <a:ext cx="3008313" cy="871538"/>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3"/>
          <p:cNvSpPr>
            <a:spLocks noGrp="1"/>
          </p:cNvSpPr>
          <p:nvPr>
            <p:ph type="dt" sz="half" idx="10"/>
          </p:nvPr>
        </p:nvSpPr>
        <p:spPr/>
        <p:txBody>
          <a:bodyPr/>
          <a:lstStyle>
            <a:lvl1pPr>
              <a:defRPr/>
            </a:lvl1pPr>
          </a:lstStyle>
          <a:p>
            <a:pPr>
              <a:defRPr/>
            </a:pPr>
            <a:fld id="{50F82260-4AB2-474D-85A3-103C938281AC}" type="datetime1">
              <a:rPr lang="de-DE" smtClean="0">
                <a:solidFill>
                  <a:prstClr val="black">
                    <a:tint val="75000"/>
                  </a:prstClr>
                </a:solidFill>
              </a:rPr>
              <a:pPr>
                <a:defRPr/>
              </a:pPr>
              <a:t>29.01.2014</a:t>
            </a:fld>
            <a:endParaRPr lang="de-DE">
              <a:solidFill>
                <a:prstClr val="black">
                  <a:tint val="75000"/>
                </a:prstClr>
              </a:solidFill>
            </a:endParaRPr>
          </a:p>
        </p:txBody>
      </p:sp>
      <p:sp>
        <p:nvSpPr>
          <p:cNvPr id="6"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7" name="Foliennummernplatzhalter 5"/>
          <p:cNvSpPr>
            <a:spLocks noGrp="1"/>
          </p:cNvSpPr>
          <p:nvPr>
            <p:ph type="sldNum" sz="quarter" idx="12"/>
          </p:nvPr>
        </p:nvSpPr>
        <p:spPr/>
        <p:txBody>
          <a:bodyPr/>
          <a:lstStyle>
            <a:lvl1pPr>
              <a:defRPr/>
            </a:lvl1pPr>
          </a:lstStyle>
          <a:p>
            <a:pPr>
              <a:defRPr/>
            </a:pPr>
            <a:fld id="{C3947CFD-2578-40EF-BC03-CC1E87771751}"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517096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054"/>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459581"/>
            <a:ext cx="5486400" cy="30861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a:p>
        </p:txBody>
      </p:sp>
      <p:sp>
        <p:nvSpPr>
          <p:cNvPr id="4" name="Textplatzhalt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Datumsplatzhalter 3"/>
          <p:cNvSpPr>
            <a:spLocks noGrp="1"/>
          </p:cNvSpPr>
          <p:nvPr>
            <p:ph type="dt" sz="half" idx="10"/>
          </p:nvPr>
        </p:nvSpPr>
        <p:spPr/>
        <p:txBody>
          <a:bodyPr/>
          <a:lstStyle>
            <a:lvl1pPr>
              <a:defRPr/>
            </a:lvl1pPr>
          </a:lstStyle>
          <a:p>
            <a:pPr>
              <a:defRPr/>
            </a:pPr>
            <a:fld id="{AB784B12-AC75-41E3-B36C-730EC9BBBAF9}" type="datetime1">
              <a:rPr lang="de-DE" smtClean="0">
                <a:solidFill>
                  <a:prstClr val="black">
                    <a:tint val="75000"/>
                  </a:prstClr>
                </a:solidFill>
              </a:rPr>
              <a:pPr>
                <a:defRPr/>
              </a:pPr>
              <a:t>29.01.2014</a:t>
            </a:fld>
            <a:endParaRPr lang="de-DE">
              <a:solidFill>
                <a:prstClr val="black">
                  <a:tint val="75000"/>
                </a:prstClr>
              </a:solidFill>
            </a:endParaRPr>
          </a:p>
        </p:txBody>
      </p:sp>
      <p:sp>
        <p:nvSpPr>
          <p:cNvPr id="6"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7" name="Foliennummernplatzhalter 5"/>
          <p:cNvSpPr>
            <a:spLocks noGrp="1"/>
          </p:cNvSpPr>
          <p:nvPr>
            <p:ph type="sldNum" sz="quarter" idx="12"/>
          </p:nvPr>
        </p:nvSpPr>
        <p:spPr/>
        <p:txBody>
          <a:bodyPr/>
          <a:lstStyle>
            <a:lvl1pPr>
              <a:defRPr/>
            </a:lvl1pPr>
          </a:lstStyle>
          <a:p>
            <a:pPr>
              <a:defRPr/>
            </a:pPr>
            <a:fld id="{B11D970A-01FC-4999-85DB-10A2BE5CEA74}"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421423010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pPr>
              <a:defRPr/>
            </a:pPr>
            <a:fld id="{D2DC2026-0A17-47F6-B83D-5C29EA42FEF6}" type="datetime1">
              <a:rPr lang="de-DE" smtClean="0">
                <a:solidFill>
                  <a:prstClr val="black">
                    <a:tint val="75000"/>
                  </a:prstClr>
                </a:solidFill>
              </a:rPr>
              <a:pPr>
                <a:defRPr/>
              </a:pPr>
              <a:t>29.01.2014</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A4BC7008-91B3-41AB-ACAB-D461B60EEE9F}"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9365664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5979"/>
            <a:ext cx="2057400" cy="4388644"/>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05979"/>
            <a:ext cx="6019800" cy="4388644"/>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pPr>
              <a:defRPr/>
            </a:pPr>
            <a:fld id="{078E4360-01A3-46FC-B8BE-03842947850F}" type="datetime1">
              <a:rPr lang="de-DE" smtClean="0">
                <a:solidFill>
                  <a:prstClr val="black">
                    <a:tint val="75000"/>
                  </a:prstClr>
                </a:solidFill>
              </a:rPr>
              <a:pPr>
                <a:defRPr/>
              </a:pPr>
              <a:t>29.01.2014</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FDCBA9B0-9FA4-4C95-972E-7ECFFE78F44F}"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16586798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7819"/>
            <a:ext cx="7772400" cy="1102519"/>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lvl1pPr>
              <a:defRPr/>
            </a:lvl1pPr>
          </a:lstStyle>
          <a:p>
            <a:pPr>
              <a:defRPr/>
            </a:pPr>
            <a:fld id="{F4692F32-DA0F-4254-9C77-17FF5F974963}" type="datetime1">
              <a:rPr lang="de-DE" smtClean="0">
                <a:solidFill>
                  <a:prstClr val="black">
                    <a:tint val="75000"/>
                  </a:prstClr>
                </a:solidFill>
              </a:rPr>
              <a:pPr>
                <a:defRPr/>
              </a:pPr>
              <a:t>29.01.2014</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E77EDAD8-05D2-4A91-A42E-569BE8F0F033}"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37470344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pPr>
              <a:defRPr/>
            </a:pPr>
            <a:fld id="{D2B6EC47-DD75-4EE5-994F-9D77AB199ABD}" type="datetime1">
              <a:rPr lang="de-DE" smtClean="0">
                <a:solidFill>
                  <a:prstClr val="black">
                    <a:tint val="75000"/>
                  </a:prstClr>
                </a:solidFill>
              </a:rPr>
              <a:pPr>
                <a:defRPr/>
              </a:pPr>
              <a:t>29.01.2014</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4E576135-B906-4358-B55B-7422F6CB0D41}"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16031781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6"/>
            <a:ext cx="7772400" cy="1021556"/>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e durch Klicken bearbeiten</a:t>
            </a:r>
          </a:p>
        </p:txBody>
      </p:sp>
      <p:sp>
        <p:nvSpPr>
          <p:cNvPr id="4" name="Datumsplatzhalter 3"/>
          <p:cNvSpPr>
            <a:spLocks noGrp="1"/>
          </p:cNvSpPr>
          <p:nvPr>
            <p:ph type="dt" sz="half" idx="10"/>
          </p:nvPr>
        </p:nvSpPr>
        <p:spPr/>
        <p:txBody>
          <a:bodyPr/>
          <a:lstStyle>
            <a:lvl1pPr>
              <a:defRPr/>
            </a:lvl1pPr>
          </a:lstStyle>
          <a:p>
            <a:pPr>
              <a:defRPr/>
            </a:pPr>
            <a:fld id="{D87C8CB0-C749-493D-88D6-25A5208D8517}" type="datetime1">
              <a:rPr lang="de-DE" smtClean="0">
                <a:solidFill>
                  <a:prstClr val="black">
                    <a:tint val="75000"/>
                  </a:prstClr>
                </a:solidFill>
              </a:rPr>
              <a:pPr>
                <a:defRPr/>
              </a:pPr>
              <a:t>29.01.2014</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pPr>
              <a:defRPr/>
            </a:pPr>
            <a:fld id="{C8AF6F14-00F0-4C6D-B0D0-135AE1DCF3F0}"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294046418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3"/>
          <p:cNvSpPr>
            <a:spLocks noGrp="1"/>
          </p:cNvSpPr>
          <p:nvPr>
            <p:ph type="dt" sz="half" idx="10"/>
          </p:nvPr>
        </p:nvSpPr>
        <p:spPr/>
        <p:txBody>
          <a:bodyPr/>
          <a:lstStyle>
            <a:lvl1pPr>
              <a:defRPr/>
            </a:lvl1pPr>
          </a:lstStyle>
          <a:p>
            <a:pPr>
              <a:defRPr/>
            </a:pPr>
            <a:fld id="{AD8FFD21-CBC5-43F9-A0D3-47B973FE1099}" type="datetime1">
              <a:rPr lang="de-DE" smtClean="0">
                <a:solidFill>
                  <a:prstClr val="black">
                    <a:tint val="75000"/>
                  </a:prstClr>
                </a:solidFill>
              </a:rPr>
              <a:pPr>
                <a:defRPr/>
              </a:pPr>
              <a:t>29.01.2014</a:t>
            </a:fld>
            <a:endParaRPr lang="de-DE">
              <a:solidFill>
                <a:prstClr val="black">
                  <a:tint val="75000"/>
                </a:prstClr>
              </a:solidFill>
            </a:endParaRPr>
          </a:p>
        </p:txBody>
      </p:sp>
      <p:sp>
        <p:nvSpPr>
          <p:cNvPr id="6"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7" name="Foliennummernplatzhalter 5"/>
          <p:cNvSpPr>
            <a:spLocks noGrp="1"/>
          </p:cNvSpPr>
          <p:nvPr>
            <p:ph type="sldNum" sz="quarter" idx="12"/>
          </p:nvPr>
        </p:nvSpPr>
        <p:spPr/>
        <p:txBody>
          <a:bodyPr/>
          <a:lstStyle>
            <a:lvl1pPr>
              <a:defRPr/>
            </a:lvl1pPr>
          </a:lstStyle>
          <a:p>
            <a:pPr>
              <a:defRPr/>
            </a:pPr>
            <a:fld id="{4E2AED8D-581F-403A-8B7B-5CA2E077B17F}"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8969357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3"/>
          <p:cNvSpPr>
            <a:spLocks noGrp="1"/>
          </p:cNvSpPr>
          <p:nvPr>
            <p:ph type="dt" sz="half" idx="10"/>
          </p:nvPr>
        </p:nvSpPr>
        <p:spPr/>
        <p:txBody>
          <a:bodyPr/>
          <a:lstStyle>
            <a:lvl1pPr>
              <a:defRPr/>
            </a:lvl1pPr>
          </a:lstStyle>
          <a:p>
            <a:pPr>
              <a:defRPr/>
            </a:pPr>
            <a:fld id="{99DE6AFD-D821-423B-AF91-5CE4EE4051A4}" type="datetime1">
              <a:rPr lang="de-DE" smtClean="0">
                <a:solidFill>
                  <a:prstClr val="black">
                    <a:tint val="75000"/>
                  </a:prstClr>
                </a:solidFill>
              </a:rPr>
              <a:pPr>
                <a:defRPr/>
              </a:pPr>
              <a:t>29.01.2014</a:t>
            </a:fld>
            <a:endParaRPr lang="de-DE">
              <a:solidFill>
                <a:prstClr val="black">
                  <a:tint val="75000"/>
                </a:prstClr>
              </a:solidFill>
            </a:endParaRPr>
          </a:p>
        </p:txBody>
      </p:sp>
      <p:sp>
        <p:nvSpPr>
          <p:cNvPr id="8" name="Fußzeilenplatzhalter 4"/>
          <p:cNvSpPr>
            <a:spLocks noGrp="1"/>
          </p:cNvSpPr>
          <p:nvPr>
            <p:ph type="ftr" sz="quarter" idx="11"/>
          </p:nvPr>
        </p:nvSpPr>
        <p:spPr/>
        <p:txBody>
          <a:bodyPr/>
          <a:lstStyle>
            <a:lvl1pPr>
              <a:defRPr/>
            </a:lvl1pPr>
          </a:lstStyle>
          <a:p>
            <a:pPr>
              <a:defRPr/>
            </a:pPr>
            <a:endParaRPr lang="de-DE">
              <a:solidFill>
                <a:prstClr val="black">
                  <a:tint val="75000"/>
                </a:prstClr>
              </a:solidFill>
            </a:endParaRPr>
          </a:p>
        </p:txBody>
      </p:sp>
      <p:sp>
        <p:nvSpPr>
          <p:cNvPr id="9" name="Foliennummernplatzhalter 5"/>
          <p:cNvSpPr>
            <a:spLocks noGrp="1"/>
          </p:cNvSpPr>
          <p:nvPr>
            <p:ph type="sldNum" sz="quarter" idx="12"/>
          </p:nvPr>
        </p:nvSpPr>
        <p:spPr/>
        <p:txBody>
          <a:bodyPr/>
          <a:lstStyle>
            <a:lvl1pPr>
              <a:defRPr/>
            </a:lvl1pPr>
          </a:lstStyle>
          <a:p>
            <a:pPr>
              <a:defRPr/>
            </a:pPr>
            <a:fld id="{5C49CD16-201F-4092-AC0A-D8EEC421164E}" type="slidenum">
              <a:rPr lang="de-DE">
                <a:solidFill>
                  <a:prstClr val="black">
                    <a:tint val="75000"/>
                  </a:prstClr>
                </a:solidFill>
              </a:rPr>
              <a:pPr>
                <a:defRPr/>
              </a:pPr>
              <a:t>‹#›</a:t>
            </a:fld>
            <a:endParaRPr lang="de-DE">
              <a:solidFill>
                <a:prstClr val="black">
                  <a:tint val="75000"/>
                </a:prstClr>
              </a:solidFill>
            </a:endParaRPr>
          </a:p>
        </p:txBody>
      </p:sp>
    </p:spTree>
    <p:extLst>
      <p:ext uri="{BB962C8B-B14F-4D97-AF65-F5344CB8AC3E}">
        <p14:creationId xmlns:p14="http://schemas.microsoft.com/office/powerpoint/2010/main" val="12371894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10.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theme" Target="../theme/theme11.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4.jpe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5.jpe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heme" Target="../theme/theme6.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7.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8.png"/><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8.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image" Target="../media/image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9.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28" tIns="45714" rIns="91428" bIns="45714"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28" tIns="45714" rIns="91428" bIns="4571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1" y="4767264"/>
            <a:ext cx="2133600" cy="273844"/>
          </a:xfrm>
          <a:prstGeom prst="rect">
            <a:avLst/>
          </a:prstGeom>
        </p:spPr>
        <p:txBody>
          <a:bodyPr vert="horz" lIns="91428" tIns="45714" rIns="91428" bIns="45714" rtlCol="0" anchor="ctr"/>
          <a:lstStyle>
            <a:lvl1pPr algn="l">
              <a:defRPr sz="1200">
                <a:solidFill>
                  <a:schemeClr val="tx1">
                    <a:tint val="75000"/>
                  </a:schemeClr>
                </a:solidFill>
              </a:defRPr>
            </a:lvl1pPr>
          </a:lstStyle>
          <a:p>
            <a:fld id="{57EF5E57-8B35-447F-9D17-6D9BCA2C8447}" type="datetimeFigureOut">
              <a:rPr lang="en-US" smtClean="0"/>
              <a:pPr/>
              <a:t>1/29/2014</a:t>
            </a:fld>
            <a:endParaRPr lang="en-US"/>
          </a:p>
        </p:txBody>
      </p:sp>
      <p:sp>
        <p:nvSpPr>
          <p:cNvPr id="5" name="Footer Placeholder 4"/>
          <p:cNvSpPr>
            <a:spLocks noGrp="1"/>
          </p:cNvSpPr>
          <p:nvPr>
            <p:ph type="ftr" sz="quarter" idx="3"/>
          </p:nvPr>
        </p:nvSpPr>
        <p:spPr>
          <a:xfrm>
            <a:off x="3124201" y="4767264"/>
            <a:ext cx="2895600" cy="273844"/>
          </a:xfrm>
          <a:prstGeom prst="rect">
            <a:avLst/>
          </a:prstGeom>
        </p:spPr>
        <p:txBody>
          <a:bodyPr vert="horz" lIns="91428" tIns="45714" rIns="91428" bIns="45714"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28" tIns="45714" rIns="91428" bIns="45714" rtlCol="0" anchor="ctr"/>
          <a:lstStyle>
            <a:lvl1pPr algn="r">
              <a:defRPr sz="1200">
                <a:solidFill>
                  <a:schemeClr val="tx1">
                    <a:tint val="75000"/>
                  </a:schemeClr>
                </a:solidFill>
              </a:defRPr>
            </a:lvl1pPr>
          </a:lstStyle>
          <a:p>
            <a:fld id="{B95022C1-BBB1-491E-B0A6-9417E06D3865}"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281" rtl="0" eaLnBrk="1" latinLnBrk="0" hangingPunct="1">
        <a:spcBef>
          <a:spcPct val="0"/>
        </a:spcBef>
        <a:buNone/>
        <a:defRPr sz="4400" kern="1200">
          <a:solidFill>
            <a:schemeClr val="tx1"/>
          </a:solidFill>
          <a:latin typeface="+mj-lt"/>
          <a:ea typeface="+mj-ea"/>
          <a:cs typeface="+mj-cs"/>
        </a:defRPr>
      </a:lvl1pPr>
    </p:titleStyle>
    <p:bodyStyle>
      <a:lvl1pPr marL="342855" indent="-342855" algn="l" defTabSz="914281"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54" indent="-285713" algn="l" defTabSz="914281"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52" indent="-228571" algn="l" defTabSz="914281"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99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33"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27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6"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6"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1"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3" algn="l" defTabSz="914281" rtl="0" eaLnBrk="1" latinLnBrk="0" hangingPunct="1">
        <a:defRPr sz="1800" kern="1200">
          <a:solidFill>
            <a:schemeClr val="tx1"/>
          </a:solidFill>
          <a:latin typeface="+mn-lt"/>
          <a:ea typeface="+mn-ea"/>
          <a:cs typeface="+mn-cs"/>
        </a:defRPr>
      </a:lvl4pPr>
      <a:lvl5pPr marL="1828563" algn="l" defTabSz="914281" rtl="0" eaLnBrk="1" latinLnBrk="0" hangingPunct="1">
        <a:defRPr sz="1800" kern="1200">
          <a:solidFill>
            <a:schemeClr val="tx1"/>
          </a:solidFill>
          <a:latin typeface="+mn-lt"/>
          <a:ea typeface="+mn-ea"/>
          <a:cs typeface="+mn-cs"/>
        </a:defRPr>
      </a:lvl5pPr>
      <a:lvl6pPr marL="2285704" algn="l" defTabSz="914281" rtl="0" eaLnBrk="1" latinLnBrk="0" hangingPunct="1">
        <a:defRPr sz="1800" kern="1200">
          <a:solidFill>
            <a:schemeClr val="tx1"/>
          </a:solidFill>
          <a:latin typeface="+mn-lt"/>
          <a:ea typeface="+mn-ea"/>
          <a:cs typeface="+mn-cs"/>
        </a:defRPr>
      </a:lvl6pPr>
      <a:lvl7pPr marL="2742844" algn="l" defTabSz="914281" rtl="0" eaLnBrk="1" latinLnBrk="0" hangingPunct="1">
        <a:defRPr sz="1800" kern="1200">
          <a:solidFill>
            <a:schemeClr val="tx1"/>
          </a:solidFill>
          <a:latin typeface="+mn-lt"/>
          <a:ea typeface="+mn-ea"/>
          <a:cs typeface="+mn-cs"/>
        </a:defRPr>
      </a:lvl7pPr>
      <a:lvl8pPr marL="3199985" algn="l" defTabSz="914281" rtl="0" eaLnBrk="1" latinLnBrk="0" hangingPunct="1">
        <a:defRPr sz="1800" kern="1200">
          <a:solidFill>
            <a:schemeClr val="tx1"/>
          </a:solidFill>
          <a:latin typeface="+mn-lt"/>
          <a:ea typeface="+mn-ea"/>
          <a:cs typeface="+mn-cs"/>
        </a:defRPr>
      </a:lvl8pPr>
      <a:lvl9pPr marL="3657126" algn="l" defTabSz="914281"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smtClean="0"/>
              <a:t>Titelmasterformat durch Klicken bearbeiten</a:t>
            </a:r>
          </a:p>
        </p:txBody>
      </p:sp>
      <p:sp>
        <p:nvSpPr>
          <p:cNvPr id="1027" name="Textplatzhalter 2"/>
          <p:cNvSpPr>
            <a:spLocks noGrp="1"/>
          </p:cNvSpPr>
          <p:nvPr>
            <p:ph type="body" idx="1"/>
          </p:nvPr>
        </p:nvSpPr>
        <p:spPr bwMode="auto">
          <a:xfrm>
            <a:off x="457200" y="1200151"/>
            <a:ext cx="8229600" cy="33944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4" name="Datumsplatzhalt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defTabSz="914400">
              <a:defRPr/>
            </a:pPr>
            <a:fld id="{42168903-D592-478C-9918-D50C573CAB0C}" type="datetime1">
              <a:rPr lang="de-DE" smtClean="0">
                <a:solidFill>
                  <a:prstClr val="black">
                    <a:tint val="75000"/>
                  </a:prstClr>
                </a:solidFill>
              </a:rPr>
              <a:pPr defTabSz="914400">
                <a:defRPr/>
              </a:pPr>
              <a:t>29.01.2014</a:t>
            </a:fld>
            <a:endParaRPr lang="de-DE">
              <a:solidFill>
                <a:prstClr val="black">
                  <a:tint val="75000"/>
                </a:prstClr>
              </a:solidFill>
            </a:endParaRPr>
          </a:p>
        </p:txBody>
      </p:sp>
      <p:sp>
        <p:nvSpPr>
          <p:cNvPr id="5" name="Fußzeilenplatzhalt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defTabSz="914400">
              <a:defRPr/>
            </a:pPr>
            <a:endParaRPr lang="de-DE">
              <a:solidFill>
                <a:prstClr val="black">
                  <a:tint val="75000"/>
                </a:prstClr>
              </a:solidFill>
            </a:endParaRPr>
          </a:p>
        </p:txBody>
      </p:sp>
      <p:sp>
        <p:nvSpPr>
          <p:cNvPr id="6" name="Foliennummernplatzhalt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defTabSz="914400">
              <a:defRPr/>
            </a:pPr>
            <a:fld id="{D5CD935F-BD0F-4005-9ADD-B34F44E1CD08}" type="slidenum">
              <a:rPr lang="de-DE">
                <a:solidFill>
                  <a:prstClr val="black">
                    <a:tint val="75000"/>
                  </a:prstClr>
                </a:solidFill>
              </a:rPr>
              <a:pPr defTabSz="914400">
                <a:defRPr/>
              </a:pPr>
              <a:t>‹#›</a:t>
            </a:fld>
            <a:endParaRPr lang="de-DE">
              <a:solidFill>
                <a:prstClr val="black">
                  <a:tint val="75000"/>
                </a:prstClr>
              </a:solidFill>
            </a:endParaRPr>
          </a:p>
        </p:txBody>
      </p:sp>
    </p:spTree>
    <p:extLst>
      <p:ext uri="{BB962C8B-B14F-4D97-AF65-F5344CB8AC3E}">
        <p14:creationId xmlns:p14="http://schemas.microsoft.com/office/powerpoint/2010/main" val="4119218858"/>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57200" y="206375"/>
            <a:ext cx="8229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 smtClean="0"/>
              <a:t>Haga clic para modificar el estilo de título del patrón</a:t>
            </a:r>
          </a:p>
        </p:txBody>
      </p:sp>
      <p:sp>
        <p:nvSpPr>
          <p:cNvPr id="1027" name="2 Marcador de texto"/>
          <p:cNvSpPr>
            <a:spLocks noGrp="1"/>
          </p:cNvSpPr>
          <p:nvPr>
            <p:ph type="body" idx="1"/>
          </p:nvPr>
        </p:nvSpPr>
        <p:spPr bwMode="auto">
          <a:xfrm>
            <a:off x="457200" y="1200152"/>
            <a:ext cx="8229600" cy="3394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p>
        </p:txBody>
      </p:sp>
      <p:sp>
        <p:nvSpPr>
          <p:cNvPr id="4" name="3 Marcador de fecha"/>
          <p:cNvSpPr>
            <a:spLocks noGrp="1"/>
          </p:cNvSpPr>
          <p:nvPr>
            <p:ph type="dt" sz="half" idx="2"/>
          </p:nvPr>
        </p:nvSpPr>
        <p:spPr>
          <a:xfrm>
            <a:off x="457200" y="4767265"/>
            <a:ext cx="2133600" cy="274637"/>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defTabSz="914400">
              <a:defRPr/>
            </a:pPr>
            <a:fld id="{A4E75109-5AB8-4D42-B320-28E944AB0381}" type="datetimeFigureOut">
              <a:rPr lang="es-ES">
                <a:solidFill>
                  <a:prstClr val="black">
                    <a:tint val="75000"/>
                  </a:prstClr>
                </a:solidFill>
              </a:rPr>
              <a:pPr defTabSz="914400">
                <a:defRPr/>
              </a:pPr>
              <a:t>29/01/2014</a:t>
            </a:fld>
            <a:endParaRPr lang="es-ES">
              <a:solidFill>
                <a:prstClr val="black">
                  <a:tint val="75000"/>
                </a:prstClr>
              </a:solidFill>
            </a:endParaRPr>
          </a:p>
        </p:txBody>
      </p:sp>
      <p:sp>
        <p:nvSpPr>
          <p:cNvPr id="5" name="4 Marcador de pie de página"/>
          <p:cNvSpPr>
            <a:spLocks noGrp="1"/>
          </p:cNvSpPr>
          <p:nvPr>
            <p:ph type="ftr" sz="quarter" idx="3"/>
          </p:nvPr>
        </p:nvSpPr>
        <p:spPr>
          <a:xfrm>
            <a:off x="3124200" y="4767265"/>
            <a:ext cx="2895600" cy="274637"/>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defTabSz="914400">
              <a:defRPr/>
            </a:pPr>
            <a:endParaRPr lang="es-ES">
              <a:solidFill>
                <a:prstClr val="black">
                  <a:tint val="75000"/>
                </a:prstClr>
              </a:solidFill>
            </a:endParaRPr>
          </a:p>
        </p:txBody>
      </p:sp>
      <p:sp>
        <p:nvSpPr>
          <p:cNvPr id="6" name="5 Marcador de número de diapositiva"/>
          <p:cNvSpPr>
            <a:spLocks noGrp="1"/>
          </p:cNvSpPr>
          <p:nvPr>
            <p:ph type="sldNum" sz="quarter" idx="4"/>
          </p:nvPr>
        </p:nvSpPr>
        <p:spPr>
          <a:xfrm>
            <a:off x="6553200" y="4767265"/>
            <a:ext cx="2133600" cy="274637"/>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defTabSz="914400">
              <a:defRPr/>
            </a:pPr>
            <a:fld id="{5DF1C58C-2615-46CE-9DD1-B44347F82C07}" type="slidenum">
              <a:rPr lang="es-ES">
                <a:solidFill>
                  <a:prstClr val="black">
                    <a:tint val="75000"/>
                  </a:prstClr>
                </a:solidFill>
              </a:rPr>
              <a:pPr defTabSz="914400">
                <a:defRPr/>
              </a:pPr>
              <a:t>‹#›</a:t>
            </a:fld>
            <a:endParaRPr lang="es-ES">
              <a:solidFill>
                <a:prstClr val="black">
                  <a:tint val="75000"/>
                </a:prstClr>
              </a:solidFill>
            </a:endParaRPr>
          </a:p>
        </p:txBody>
      </p:sp>
    </p:spTree>
    <p:extLst>
      <p:ext uri="{BB962C8B-B14F-4D97-AF65-F5344CB8AC3E}">
        <p14:creationId xmlns:p14="http://schemas.microsoft.com/office/powerpoint/2010/main" val="933270849"/>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Lst>
  <p:transition>
    <p:fade/>
  </p:transition>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7"/>
          <p:cNvSpPr>
            <a:spLocks noGrp="1" noChangeArrowheads="1"/>
          </p:cNvSpPr>
          <p:nvPr>
            <p:ph type="title"/>
          </p:nvPr>
        </p:nvSpPr>
        <p:spPr bwMode="auto">
          <a:xfrm>
            <a:off x="428625" y="258367"/>
            <a:ext cx="84724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ctr" anchorCtr="0" compatLnSpc="1">
            <a:prstTxWarp prst="textNoShape">
              <a:avLst/>
            </a:prstTxWarp>
          </a:bodyPr>
          <a:lstStyle/>
          <a:p>
            <a:pPr lvl="0"/>
            <a:r>
              <a:rPr lang="en-US" smtClean="0"/>
              <a:t>Select to edit master title</a:t>
            </a:r>
          </a:p>
        </p:txBody>
      </p:sp>
      <p:sp>
        <p:nvSpPr>
          <p:cNvPr id="1027" name="Rectangle 8"/>
          <p:cNvSpPr>
            <a:spLocks noGrp="1" noChangeArrowheads="1"/>
          </p:cNvSpPr>
          <p:nvPr>
            <p:ph type="body" idx="1"/>
          </p:nvPr>
        </p:nvSpPr>
        <p:spPr bwMode="auto">
          <a:xfrm>
            <a:off x="495304" y="1131096"/>
            <a:ext cx="8050213" cy="3293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t" anchorCtr="0" compatLnSpc="1">
            <a:prstTxWarp prst="textNoShape">
              <a:avLst/>
            </a:prstTxWarp>
          </a:bodyPr>
          <a:lstStyle/>
          <a:p>
            <a:pPr lvl="0"/>
            <a:r>
              <a:rPr lang="en-US" smtClean="0"/>
              <a:t>Select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6329" name="Rectangle 9"/>
          <p:cNvSpPr>
            <a:spLocks noGrp="1" noChangeArrowheads="1"/>
          </p:cNvSpPr>
          <p:nvPr>
            <p:ph type="dt" sz="half" idx="2"/>
          </p:nvPr>
        </p:nvSpPr>
        <p:spPr bwMode="auto">
          <a:xfrm>
            <a:off x="685800" y="4686300"/>
            <a:ext cx="1905000" cy="342900"/>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spcBef>
                <a:spcPct val="0"/>
              </a:spcBef>
              <a:buFontTx/>
              <a:buNone/>
              <a:defRPr sz="1400">
                <a:latin typeface="Times New Roman" pitchFamily="18" charset="0"/>
              </a:defRPr>
            </a:lvl1pPr>
          </a:lstStyle>
          <a:p>
            <a:pPr fontAlgn="base">
              <a:spcAft>
                <a:spcPct val="0"/>
              </a:spcAft>
              <a:defRPr/>
            </a:pPr>
            <a:endParaRPr lang="en-US">
              <a:solidFill>
                <a:srgbClr val="000000"/>
              </a:solidFill>
            </a:endParaRPr>
          </a:p>
        </p:txBody>
      </p:sp>
      <p:sp>
        <p:nvSpPr>
          <p:cNvPr id="56330" name="Rectangle 10"/>
          <p:cNvSpPr>
            <a:spLocks noGrp="1" noChangeArrowheads="1"/>
          </p:cNvSpPr>
          <p:nvPr>
            <p:ph type="ftr" sz="quarter" idx="3"/>
          </p:nvPr>
        </p:nvSpPr>
        <p:spPr bwMode="auto">
          <a:xfrm>
            <a:off x="3124201" y="4686300"/>
            <a:ext cx="2895600" cy="342900"/>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lgn="ctr">
              <a:spcBef>
                <a:spcPct val="0"/>
              </a:spcBef>
              <a:buFontTx/>
              <a:buNone/>
              <a:defRPr sz="1400">
                <a:latin typeface="Times New Roman" pitchFamily="18" charset="0"/>
              </a:defRPr>
            </a:lvl1pPr>
          </a:lstStyle>
          <a:p>
            <a:pPr fontAlgn="base">
              <a:spcAft>
                <a:spcPct val="0"/>
              </a:spcAft>
              <a:defRPr/>
            </a:pPr>
            <a:endParaRPr lang="en-US">
              <a:solidFill>
                <a:srgbClr val="000000"/>
              </a:solidFill>
            </a:endParaRPr>
          </a:p>
        </p:txBody>
      </p:sp>
      <p:sp>
        <p:nvSpPr>
          <p:cNvPr id="56331" name="Rectangle 11"/>
          <p:cNvSpPr>
            <a:spLocks noGrp="1" noChangeArrowheads="1"/>
          </p:cNvSpPr>
          <p:nvPr>
            <p:ph type="sldNum" sz="quarter" idx="4"/>
          </p:nvPr>
        </p:nvSpPr>
        <p:spPr bwMode="auto">
          <a:xfrm>
            <a:off x="6553200" y="4686300"/>
            <a:ext cx="1905000" cy="342900"/>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lgn="r">
              <a:spcBef>
                <a:spcPct val="0"/>
              </a:spcBef>
              <a:buFontTx/>
              <a:buNone/>
              <a:defRPr sz="1400">
                <a:solidFill>
                  <a:schemeClr val="bg1"/>
                </a:solidFill>
                <a:latin typeface="Times New Roman" pitchFamily="18" charset="0"/>
              </a:defRPr>
            </a:lvl1pPr>
          </a:lstStyle>
          <a:p>
            <a:pPr fontAlgn="base">
              <a:spcAft>
                <a:spcPct val="0"/>
              </a:spcAft>
              <a:defRPr/>
            </a:pPr>
            <a:fld id="{BB428EB9-F445-4B50-8A6A-041A7A71664C}" type="slidenum">
              <a:rPr lang="en-US">
                <a:solidFill>
                  <a:srgbClr val="FFFFFF"/>
                </a:solidFill>
              </a:rPr>
              <a:pPr fontAlgn="base">
                <a:spcAft>
                  <a:spcPct val="0"/>
                </a:spcAft>
                <a:defRPr/>
              </a:pPr>
              <a:t>‹#›</a:t>
            </a:fld>
            <a:endParaRPr lang="en-US">
              <a:solidFill>
                <a:srgbClr val="FFFFFF"/>
              </a:solidFill>
            </a:endParaRPr>
          </a:p>
        </p:txBody>
      </p:sp>
      <p:sp>
        <p:nvSpPr>
          <p:cNvPr id="56332" name="Rectangle 12"/>
          <p:cNvSpPr>
            <a:spLocks noChangeArrowheads="1"/>
          </p:cNvSpPr>
          <p:nvPr/>
        </p:nvSpPr>
        <p:spPr bwMode="auto">
          <a:xfrm>
            <a:off x="0" y="4526759"/>
            <a:ext cx="9144000" cy="611981"/>
          </a:xfrm>
          <a:prstGeom prst="rect">
            <a:avLst/>
          </a:prstGeom>
          <a:solidFill>
            <a:srgbClr val="1D2F68"/>
          </a:solidFill>
          <a:ln w="9525">
            <a:solidFill>
              <a:srgbClr val="1D2F68"/>
            </a:solidFill>
            <a:miter lim="800000"/>
            <a:headEnd/>
            <a:tailEnd/>
          </a:ln>
          <a:effectLst/>
        </p:spPr>
        <p:txBody>
          <a:bodyPr wrap="none" lIns="91428" tIns="45714" rIns="91428" bIns="45714" anchor="ctr"/>
          <a:lstStyle/>
          <a:p>
            <a:pPr fontAlgn="base">
              <a:spcBef>
                <a:spcPct val="50000"/>
              </a:spcBef>
              <a:spcAft>
                <a:spcPct val="0"/>
              </a:spcAft>
              <a:buFontTx/>
              <a:buChar char="•"/>
              <a:defRPr/>
            </a:pPr>
            <a:endParaRPr lang="en-US" sz="2400">
              <a:solidFill>
                <a:srgbClr val="000000"/>
              </a:solidFill>
            </a:endParaRPr>
          </a:p>
        </p:txBody>
      </p:sp>
      <p:sp>
        <p:nvSpPr>
          <p:cNvPr id="56337" name="Rectangle 17"/>
          <p:cNvSpPr>
            <a:spLocks noChangeArrowheads="1"/>
          </p:cNvSpPr>
          <p:nvPr/>
        </p:nvSpPr>
        <p:spPr bwMode="auto">
          <a:xfrm>
            <a:off x="6940550" y="4729164"/>
            <a:ext cx="1905000" cy="342900"/>
          </a:xfrm>
          <a:prstGeom prst="rect">
            <a:avLst/>
          </a:prstGeom>
          <a:noFill/>
          <a:ln w="9525">
            <a:noFill/>
            <a:miter lim="800000"/>
            <a:headEnd/>
            <a:tailEnd/>
          </a:ln>
          <a:effectLst/>
        </p:spPr>
        <p:txBody>
          <a:bodyPr lIns="91428" tIns="45714" rIns="91428" bIns="45714"/>
          <a:lstStyle/>
          <a:p>
            <a:pPr algn="r" fontAlgn="base">
              <a:spcBef>
                <a:spcPct val="0"/>
              </a:spcBef>
              <a:spcAft>
                <a:spcPct val="0"/>
              </a:spcAft>
              <a:defRPr/>
            </a:pPr>
            <a:fld id="{3AC0BCE8-30AF-441F-A4FF-0A0250223E58}" type="slidenum">
              <a:rPr lang="en-US" sz="1200" b="1">
                <a:solidFill>
                  <a:srgbClr val="FFFFFF"/>
                </a:solidFill>
              </a:rPr>
              <a:pPr algn="r" fontAlgn="base">
                <a:spcBef>
                  <a:spcPct val="0"/>
                </a:spcBef>
                <a:spcAft>
                  <a:spcPct val="0"/>
                </a:spcAft>
                <a:defRPr/>
              </a:pPr>
              <a:t>‹#›</a:t>
            </a:fld>
            <a:endParaRPr lang="en-US" sz="1200" b="1">
              <a:solidFill>
                <a:srgbClr val="FFFFFF"/>
              </a:solidFill>
            </a:endParaRPr>
          </a:p>
        </p:txBody>
      </p:sp>
      <p:grpSp>
        <p:nvGrpSpPr>
          <p:cNvPr id="1033" name="Group 25"/>
          <p:cNvGrpSpPr>
            <a:grpSpLocks/>
          </p:cNvGrpSpPr>
          <p:nvPr/>
        </p:nvGrpSpPr>
        <p:grpSpPr bwMode="auto">
          <a:xfrm>
            <a:off x="5708655" y="4593436"/>
            <a:ext cx="2047875" cy="511969"/>
            <a:chOff x="3596" y="3858"/>
            <a:chExt cx="1290" cy="430"/>
          </a:xfrm>
        </p:grpSpPr>
        <p:pic>
          <p:nvPicPr>
            <p:cNvPr id="1036" name="Picture 26" descr="NEW FAA LOGO"/>
            <p:cNvPicPr>
              <a:picLocks noChangeAspect="1" noChangeArrowheads="1"/>
            </p:cNvPicPr>
            <p:nvPr userDrawn="1"/>
          </p:nvPicPr>
          <p:blipFill>
            <a:blip r:embed="rId13" cstate="print">
              <a:clrChange>
                <a:clrFrom>
                  <a:srgbClr val="DF1F06"/>
                </a:clrFrom>
                <a:clrTo>
                  <a:srgbClr val="DF1F06">
                    <a:alpha val="0"/>
                  </a:srgbClr>
                </a:clrTo>
              </a:clrChange>
              <a:extLst>
                <a:ext uri="{28A0092B-C50C-407E-A947-70E740481C1C}">
                  <a14:useLocalDpi xmlns:a14="http://schemas.microsoft.com/office/drawing/2010/main" val="0"/>
                </a:ext>
              </a:extLst>
            </a:blip>
            <a:srcRect l="14333" t="3734" r="14973" b="4564"/>
            <a:stretch>
              <a:fillRect/>
            </a:stretch>
          </p:blipFill>
          <p:spPr bwMode="auto">
            <a:xfrm>
              <a:off x="3596" y="3858"/>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47" name="Text Box 27"/>
            <p:cNvSpPr txBox="1">
              <a:spLocks noChangeArrowheads="1"/>
            </p:cNvSpPr>
            <p:nvPr userDrawn="1"/>
          </p:nvSpPr>
          <p:spPr bwMode="auto">
            <a:xfrm>
              <a:off x="4023" y="3947"/>
              <a:ext cx="863" cy="341"/>
            </a:xfrm>
            <a:prstGeom prst="rect">
              <a:avLst/>
            </a:prstGeom>
            <a:noFill/>
            <a:ln w="9525">
              <a:noFill/>
              <a:miter lim="800000"/>
              <a:headEnd/>
              <a:tailEnd/>
            </a:ln>
            <a:effectLst/>
          </p:spPr>
          <p:txBody>
            <a:bodyPr wrap="none">
              <a:spAutoFit/>
            </a:bodyPr>
            <a:lstStyle/>
            <a:p>
              <a:pPr fontAlgn="base">
                <a:lnSpc>
                  <a:spcPct val="85000"/>
                </a:lnSpc>
                <a:spcBef>
                  <a:spcPct val="0"/>
                </a:spcBef>
                <a:spcAft>
                  <a:spcPct val="0"/>
                </a:spcAft>
                <a:defRPr/>
              </a:pPr>
              <a:r>
                <a:rPr lang="en-US" sz="1200" b="1">
                  <a:solidFill>
                    <a:srgbClr val="FFFFFF"/>
                  </a:solidFill>
                </a:rPr>
                <a:t>Federal Aviation</a:t>
              </a:r>
            </a:p>
            <a:p>
              <a:pPr fontAlgn="base">
                <a:lnSpc>
                  <a:spcPct val="85000"/>
                </a:lnSpc>
                <a:spcBef>
                  <a:spcPct val="0"/>
                </a:spcBef>
                <a:spcAft>
                  <a:spcPct val="0"/>
                </a:spcAft>
                <a:defRPr/>
              </a:pPr>
              <a:r>
                <a:rPr lang="en-US" sz="1200" b="1">
                  <a:solidFill>
                    <a:srgbClr val="FFFFFF"/>
                  </a:solidFill>
                </a:rPr>
                <a:t>Administration</a:t>
              </a:r>
            </a:p>
          </p:txBody>
        </p:sp>
      </p:grpSp>
    </p:spTree>
    <p:extLst>
      <p:ext uri="{BB962C8B-B14F-4D97-AF65-F5344CB8AC3E}">
        <p14:creationId xmlns:p14="http://schemas.microsoft.com/office/powerpoint/2010/main" val="9838840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rtl="0" eaLnBrk="0" fontAlgn="base" hangingPunct="0">
        <a:spcBef>
          <a:spcPct val="0"/>
        </a:spcBef>
        <a:spcAft>
          <a:spcPct val="0"/>
        </a:spcAft>
        <a:defRPr sz="4000" b="1">
          <a:solidFill>
            <a:srgbClr val="1D2F68"/>
          </a:solidFill>
          <a:latin typeface="+mj-lt"/>
          <a:ea typeface="+mj-ea"/>
          <a:cs typeface="+mj-cs"/>
        </a:defRPr>
      </a:lvl1pPr>
      <a:lvl2pPr algn="l" rtl="0" eaLnBrk="0" fontAlgn="base" hangingPunct="0">
        <a:spcBef>
          <a:spcPct val="0"/>
        </a:spcBef>
        <a:spcAft>
          <a:spcPct val="0"/>
        </a:spcAft>
        <a:defRPr sz="4000" b="1">
          <a:solidFill>
            <a:srgbClr val="1D2F68"/>
          </a:solidFill>
          <a:latin typeface="Arial" charset="0"/>
        </a:defRPr>
      </a:lvl2pPr>
      <a:lvl3pPr algn="l" rtl="0" eaLnBrk="0" fontAlgn="base" hangingPunct="0">
        <a:spcBef>
          <a:spcPct val="0"/>
        </a:spcBef>
        <a:spcAft>
          <a:spcPct val="0"/>
        </a:spcAft>
        <a:defRPr sz="4000" b="1">
          <a:solidFill>
            <a:srgbClr val="1D2F68"/>
          </a:solidFill>
          <a:latin typeface="Arial" charset="0"/>
        </a:defRPr>
      </a:lvl3pPr>
      <a:lvl4pPr algn="l" rtl="0" eaLnBrk="0" fontAlgn="base" hangingPunct="0">
        <a:spcBef>
          <a:spcPct val="0"/>
        </a:spcBef>
        <a:spcAft>
          <a:spcPct val="0"/>
        </a:spcAft>
        <a:defRPr sz="4000" b="1">
          <a:solidFill>
            <a:srgbClr val="1D2F68"/>
          </a:solidFill>
          <a:latin typeface="Arial" charset="0"/>
        </a:defRPr>
      </a:lvl4pPr>
      <a:lvl5pPr algn="l" rtl="0" eaLnBrk="0" fontAlgn="base" hangingPunct="0">
        <a:spcBef>
          <a:spcPct val="0"/>
        </a:spcBef>
        <a:spcAft>
          <a:spcPct val="0"/>
        </a:spcAft>
        <a:defRPr sz="4000" b="1">
          <a:solidFill>
            <a:srgbClr val="1D2F68"/>
          </a:solidFill>
          <a:latin typeface="Arial" charset="0"/>
        </a:defRPr>
      </a:lvl5pPr>
      <a:lvl6pPr marL="457141" algn="l" rtl="0" fontAlgn="base">
        <a:spcBef>
          <a:spcPct val="0"/>
        </a:spcBef>
        <a:spcAft>
          <a:spcPct val="0"/>
        </a:spcAft>
        <a:defRPr sz="4000" b="1">
          <a:solidFill>
            <a:srgbClr val="1D2F68"/>
          </a:solidFill>
          <a:latin typeface="Arial" charset="0"/>
        </a:defRPr>
      </a:lvl6pPr>
      <a:lvl7pPr marL="914281" algn="l" rtl="0" fontAlgn="base">
        <a:spcBef>
          <a:spcPct val="0"/>
        </a:spcBef>
        <a:spcAft>
          <a:spcPct val="0"/>
        </a:spcAft>
        <a:defRPr sz="4000" b="1">
          <a:solidFill>
            <a:srgbClr val="1D2F68"/>
          </a:solidFill>
          <a:latin typeface="Arial" charset="0"/>
        </a:defRPr>
      </a:lvl7pPr>
      <a:lvl8pPr marL="1371423" algn="l" rtl="0" fontAlgn="base">
        <a:spcBef>
          <a:spcPct val="0"/>
        </a:spcBef>
        <a:spcAft>
          <a:spcPct val="0"/>
        </a:spcAft>
        <a:defRPr sz="4000" b="1">
          <a:solidFill>
            <a:srgbClr val="1D2F68"/>
          </a:solidFill>
          <a:latin typeface="Arial" charset="0"/>
        </a:defRPr>
      </a:lvl8pPr>
      <a:lvl9pPr marL="1828563" algn="l" rtl="0" fontAlgn="base">
        <a:spcBef>
          <a:spcPct val="0"/>
        </a:spcBef>
        <a:spcAft>
          <a:spcPct val="0"/>
        </a:spcAft>
        <a:defRPr sz="4000" b="1">
          <a:solidFill>
            <a:srgbClr val="1D2F68"/>
          </a:solidFill>
          <a:latin typeface="Arial" charset="0"/>
        </a:defRPr>
      </a:lvl9pPr>
    </p:titleStyle>
    <p:bodyStyle>
      <a:lvl1pPr marL="342855" indent="-342855" algn="l" rtl="0" eaLnBrk="0" fontAlgn="base" hangingPunct="0">
        <a:spcBef>
          <a:spcPct val="20000"/>
        </a:spcBef>
        <a:spcAft>
          <a:spcPct val="0"/>
        </a:spcAft>
        <a:buChar char="•"/>
        <a:defRPr sz="2800" b="1">
          <a:solidFill>
            <a:schemeClr val="tx1"/>
          </a:solidFill>
          <a:latin typeface="+mn-lt"/>
          <a:ea typeface="+mn-ea"/>
          <a:cs typeface="+mn-cs"/>
        </a:defRPr>
      </a:lvl1pPr>
      <a:lvl2pPr marL="742854" indent="-285713" algn="l" rtl="0" eaLnBrk="0" fontAlgn="base" hangingPunct="0">
        <a:spcBef>
          <a:spcPct val="20000"/>
        </a:spcBef>
        <a:spcAft>
          <a:spcPct val="0"/>
        </a:spcAft>
        <a:buChar char="–"/>
        <a:defRPr sz="2400">
          <a:solidFill>
            <a:schemeClr val="tx1"/>
          </a:solidFill>
          <a:latin typeface="+mn-lt"/>
        </a:defRPr>
      </a:lvl2pPr>
      <a:lvl3pPr marL="1142852" indent="-228571" algn="l" rtl="0" eaLnBrk="0" fontAlgn="base" hangingPunct="0">
        <a:spcBef>
          <a:spcPct val="20000"/>
        </a:spcBef>
        <a:spcAft>
          <a:spcPct val="0"/>
        </a:spcAft>
        <a:buChar char="•"/>
        <a:defRPr sz="2000">
          <a:solidFill>
            <a:schemeClr val="tx1"/>
          </a:solidFill>
          <a:latin typeface="+mn-lt"/>
        </a:defRPr>
      </a:lvl3pPr>
      <a:lvl4pPr marL="1599992" indent="-228571" algn="l" rtl="0" eaLnBrk="0" fontAlgn="base" hangingPunct="0">
        <a:spcBef>
          <a:spcPct val="20000"/>
        </a:spcBef>
        <a:spcAft>
          <a:spcPct val="0"/>
        </a:spcAft>
        <a:buChar char="–"/>
        <a:defRPr>
          <a:solidFill>
            <a:schemeClr val="tx1"/>
          </a:solidFill>
          <a:latin typeface="+mn-lt"/>
        </a:defRPr>
      </a:lvl4pPr>
      <a:lvl5pPr marL="2057133" indent="-228571" algn="l" rtl="0" eaLnBrk="0" fontAlgn="base" hangingPunct="0">
        <a:spcBef>
          <a:spcPct val="20000"/>
        </a:spcBef>
        <a:spcAft>
          <a:spcPct val="0"/>
        </a:spcAft>
        <a:buChar char="»"/>
        <a:defRPr>
          <a:solidFill>
            <a:schemeClr val="tx1"/>
          </a:solidFill>
          <a:latin typeface="+mn-lt"/>
        </a:defRPr>
      </a:lvl5pPr>
      <a:lvl6pPr marL="2514275" indent="-228571" algn="l" rtl="0" fontAlgn="base">
        <a:spcBef>
          <a:spcPct val="20000"/>
        </a:spcBef>
        <a:spcAft>
          <a:spcPct val="0"/>
        </a:spcAft>
        <a:buChar char="»"/>
        <a:defRPr>
          <a:solidFill>
            <a:schemeClr val="tx1"/>
          </a:solidFill>
          <a:latin typeface="+mn-lt"/>
        </a:defRPr>
      </a:lvl6pPr>
      <a:lvl7pPr marL="2971415" indent="-228571" algn="l" rtl="0" fontAlgn="base">
        <a:spcBef>
          <a:spcPct val="20000"/>
        </a:spcBef>
        <a:spcAft>
          <a:spcPct val="0"/>
        </a:spcAft>
        <a:buChar char="»"/>
        <a:defRPr>
          <a:solidFill>
            <a:schemeClr val="tx1"/>
          </a:solidFill>
          <a:latin typeface="+mn-lt"/>
        </a:defRPr>
      </a:lvl7pPr>
      <a:lvl8pPr marL="3428556" indent="-228571" algn="l" rtl="0" fontAlgn="base">
        <a:spcBef>
          <a:spcPct val="20000"/>
        </a:spcBef>
        <a:spcAft>
          <a:spcPct val="0"/>
        </a:spcAft>
        <a:buChar char="»"/>
        <a:defRPr>
          <a:solidFill>
            <a:schemeClr val="tx1"/>
          </a:solidFill>
          <a:latin typeface="+mn-lt"/>
        </a:defRPr>
      </a:lvl8pPr>
      <a:lvl9pPr marL="3885696" indent="-228571" algn="l" rtl="0" fontAlgn="base">
        <a:spcBef>
          <a:spcPct val="20000"/>
        </a:spcBef>
        <a:spcAft>
          <a:spcPct val="0"/>
        </a:spcAft>
        <a:buChar char="»"/>
        <a:defRPr>
          <a:solidFill>
            <a:schemeClr val="tx1"/>
          </a:solidFill>
          <a:latin typeface="+mn-lt"/>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1"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3" algn="l" defTabSz="914281" rtl="0" eaLnBrk="1" latinLnBrk="0" hangingPunct="1">
        <a:defRPr sz="1800" kern="1200">
          <a:solidFill>
            <a:schemeClr val="tx1"/>
          </a:solidFill>
          <a:latin typeface="+mn-lt"/>
          <a:ea typeface="+mn-ea"/>
          <a:cs typeface="+mn-cs"/>
        </a:defRPr>
      </a:lvl4pPr>
      <a:lvl5pPr marL="1828563" algn="l" defTabSz="914281" rtl="0" eaLnBrk="1" latinLnBrk="0" hangingPunct="1">
        <a:defRPr sz="1800" kern="1200">
          <a:solidFill>
            <a:schemeClr val="tx1"/>
          </a:solidFill>
          <a:latin typeface="+mn-lt"/>
          <a:ea typeface="+mn-ea"/>
          <a:cs typeface="+mn-cs"/>
        </a:defRPr>
      </a:lvl5pPr>
      <a:lvl6pPr marL="2285704" algn="l" defTabSz="914281" rtl="0" eaLnBrk="1" latinLnBrk="0" hangingPunct="1">
        <a:defRPr sz="1800" kern="1200">
          <a:solidFill>
            <a:schemeClr val="tx1"/>
          </a:solidFill>
          <a:latin typeface="+mn-lt"/>
          <a:ea typeface="+mn-ea"/>
          <a:cs typeface="+mn-cs"/>
        </a:defRPr>
      </a:lvl6pPr>
      <a:lvl7pPr marL="2742844" algn="l" defTabSz="914281" rtl="0" eaLnBrk="1" latinLnBrk="0" hangingPunct="1">
        <a:defRPr sz="1800" kern="1200">
          <a:solidFill>
            <a:schemeClr val="tx1"/>
          </a:solidFill>
          <a:latin typeface="+mn-lt"/>
          <a:ea typeface="+mn-ea"/>
          <a:cs typeface="+mn-cs"/>
        </a:defRPr>
      </a:lvl7pPr>
      <a:lvl8pPr marL="3199985" algn="l" defTabSz="914281" rtl="0" eaLnBrk="1" latinLnBrk="0" hangingPunct="1">
        <a:defRPr sz="1800" kern="1200">
          <a:solidFill>
            <a:schemeClr val="tx1"/>
          </a:solidFill>
          <a:latin typeface="+mn-lt"/>
          <a:ea typeface="+mn-ea"/>
          <a:cs typeface="+mn-cs"/>
        </a:defRPr>
      </a:lvl8pPr>
      <a:lvl9pPr marL="3657126" algn="l" defTabSz="91428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33468"/>
            <a:ext cx="8229600"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28" tIns="45714" rIns="91428" bIns="45714"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457200" y="1200151"/>
            <a:ext cx="8229600" cy="3394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28" tIns="45714" rIns="91428" bIns="4571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 Fifth level</a:t>
            </a:r>
          </a:p>
        </p:txBody>
      </p:sp>
      <p:sp>
        <p:nvSpPr>
          <p:cNvPr id="1028" name="Rectangle 4"/>
          <p:cNvSpPr>
            <a:spLocks noGrp="1" noChangeArrowheads="1"/>
          </p:cNvSpPr>
          <p:nvPr>
            <p:ph type="dt" sz="half" idx="2"/>
          </p:nvPr>
        </p:nvSpPr>
        <p:spPr bwMode="auto">
          <a:xfrm>
            <a:off x="457201" y="4683919"/>
            <a:ext cx="2133600"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28" tIns="45714" rIns="91428" bIns="45714" numCol="1" anchor="t" anchorCtr="0" compatLnSpc="1">
            <a:prstTxWarp prst="textNoShape">
              <a:avLst/>
            </a:prstTxWarp>
          </a:bodyPr>
          <a:lstStyle>
            <a:lvl1pPr>
              <a:defRPr sz="1400" b="0">
                <a:cs typeface="+mn-cs"/>
              </a:defRPr>
            </a:lvl1pPr>
          </a:lstStyle>
          <a:p>
            <a:pPr fontAlgn="base">
              <a:spcBef>
                <a:spcPct val="0"/>
              </a:spcBef>
              <a:spcAft>
                <a:spcPct val="0"/>
              </a:spcAft>
              <a:defRPr/>
            </a:pPr>
            <a:endParaRPr lang="en-US" dirty="0">
              <a:solidFill>
                <a:srgbClr val="000000"/>
              </a:solidFill>
            </a:endParaRPr>
          </a:p>
        </p:txBody>
      </p:sp>
      <p:sp>
        <p:nvSpPr>
          <p:cNvPr id="1029" name="Rectangle 5"/>
          <p:cNvSpPr>
            <a:spLocks noGrp="1" noChangeArrowheads="1"/>
          </p:cNvSpPr>
          <p:nvPr>
            <p:ph type="ftr" sz="quarter" idx="3"/>
          </p:nvPr>
        </p:nvSpPr>
        <p:spPr bwMode="auto">
          <a:xfrm>
            <a:off x="3124201" y="4683919"/>
            <a:ext cx="2895600"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28" tIns="45714" rIns="91428" bIns="45714" numCol="1" anchor="t" anchorCtr="0" compatLnSpc="1">
            <a:prstTxWarp prst="textNoShape">
              <a:avLst/>
            </a:prstTxWarp>
          </a:bodyPr>
          <a:lstStyle>
            <a:lvl1pPr algn="ctr">
              <a:defRPr sz="1400" b="0">
                <a:cs typeface="+mn-cs"/>
              </a:defRPr>
            </a:lvl1pPr>
          </a:lstStyle>
          <a:p>
            <a:pPr fontAlgn="base">
              <a:spcBef>
                <a:spcPct val="0"/>
              </a:spcBef>
              <a:spcAft>
                <a:spcPct val="0"/>
              </a:spcAft>
              <a:defRPr/>
            </a:pPr>
            <a:endParaRPr lang="en-US" dirty="0">
              <a:solidFill>
                <a:srgbClr val="000000"/>
              </a:solidFill>
            </a:endParaRPr>
          </a:p>
        </p:txBody>
      </p:sp>
    </p:spTree>
    <p:extLst>
      <p:ext uri="{BB962C8B-B14F-4D97-AF65-F5344CB8AC3E}">
        <p14:creationId xmlns:p14="http://schemas.microsoft.com/office/powerpoint/2010/main" val="149837120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rtl="0" eaLnBrk="0" fontAlgn="base" hangingPunct="0">
        <a:spcBef>
          <a:spcPct val="0"/>
        </a:spcBef>
        <a:spcAft>
          <a:spcPct val="0"/>
        </a:spcAft>
        <a:defRPr sz="3600" b="1">
          <a:solidFill>
            <a:srgbClr val="143E83"/>
          </a:solidFill>
          <a:latin typeface="+mj-lt"/>
          <a:ea typeface="+mj-ea"/>
          <a:cs typeface="ＭＳ Ｐゴシック" charset="0"/>
        </a:defRPr>
      </a:lvl1pPr>
      <a:lvl2pPr algn="l" rtl="0" eaLnBrk="0" fontAlgn="base" hangingPunct="0">
        <a:spcBef>
          <a:spcPct val="0"/>
        </a:spcBef>
        <a:spcAft>
          <a:spcPct val="0"/>
        </a:spcAft>
        <a:defRPr sz="3200" b="1">
          <a:solidFill>
            <a:srgbClr val="000066"/>
          </a:solidFill>
          <a:latin typeface="Arial" charset="0"/>
          <a:ea typeface="ＭＳ Ｐゴシック" charset="0"/>
          <a:cs typeface="ＭＳ Ｐゴシック" charset="0"/>
        </a:defRPr>
      </a:lvl2pPr>
      <a:lvl3pPr algn="l" rtl="0" eaLnBrk="0" fontAlgn="base" hangingPunct="0">
        <a:spcBef>
          <a:spcPct val="0"/>
        </a:spcBef>
        <a:spcAft>
          <a:spcPct val="0"/>
        </a:spcAft>
        <a:defRPr sz="3200" b="1">
          <a:solidFill>
            <a:srgbClr val="000066"/>
          </a:solidFill>
          <a:latin typeface="Arial" charset="0"/>
          <a:ea typeface="ＭＳ Ｐゴシック" charset="0"/>
          <a:cs typeface="ＭＳ Ｐゴシック" charset="0"/>
        </a:defRPr>
      </a:lvl3pPr>
      <a:lvl4pPr algn="l" rtl="0" eaLnBrk="0" fontAlgn="base" hangingPunct="0">
        <a:spcBef>
          <a:spcPct val="0"/>
        </a:spcBef>
        <a:spcAft>
          <a:spcPct val="0"/>
        </a:spcAft>
        <a:defRPr sz="3200" b="1">
          <a:solidFill>
            <a:srgbClr val="000066"/>
          </a:solidFill>
          <a:latin typeface="Arial" charset="0"/>
          <a:ea typeface="ＭＳ Ｐゴシック" charset="0"/>
          <a:cs typeface="ＭＳ Ｐゴシック" charset="0"/>
        </a:defRPr>
      </a:lvl4pPr>
      <a:lvl5pPr algn="l" rtl="0" eaLnBrk="0" fontAlgn="base" hangingPunct="0">
        <a:spcBef>
          <a:spcPct val="0"/>
        </a:spcBef>
        <a:spcAft>
          <a:spcPct val="0"/>
        </a:spcAft>
        <a:defRPr sz="3200" b="1">
          <a:solidFill>
            <a:srgbClr val="000066"/>
          </a:solidFill>
          <a:latin typeface="Arial" charset="0"/>
          <a:ea typeface="ＭＳ Ｐゴシック" charset="0"/>
          <a:cs typeface="ＭＳ Ｐゴシック" charset="0"/>
        </a:defRPr>
      </a:lvl5pPr>
      <a:lvl6pPr marL="457141" algn="l" rtl="0" fontAlgn="base">
        <a:spcBef>
          <a:spcPct val="0"/>
        </a:spcBef>
        <a:spcAft>
          <a:spcPct val="0"/>
        </a:spcAft>
        <a:defRPr sz="3200" b="1">
          <a:solidFill>
            <a:srgbClr val="000066"/>
          </a:solidFill>
          <a:latin typeface="Arial" charset="0"/>
          <a:ea typeface="ＭＳ Ｐゴシック" charset="0"/>
        </a:defRPr>
      </a:lvl6pPr>
      <a:lvl7pPr marL="914281" algn="l" rtl="0" fontAlgn="base">
        <a:spcBef>
          <a:spcPct val="0"/>
        </a:spcBef>
        <a:spcAft>
          <a:spcPct val="0"/>
        </a:spcAft>
        <a:defRPr sz="3200" b="1">
          <a:solidFill>
            <a:srgbClr val="000066"/>
          </a:solidFill>
          <a:latin typeface="Arial" charset="0"/>
          <a:ea typeface="ＭＳ Ｐゴシック" charset="0"/>
        </a:defRPr>
      </a:lvl7pPr>
      <a:lvl8pPr marL="1371423" algn="l" rtl="0" fontAlgn="base">
        <a:spcBef>
          <a:spcPct val="0"/>
        </a:spcBef>
        <a:spcAft>
          <a:spcPct val="0"/>
        </a:spcAft>
        <a:defRPr sz="3200" b="1">
          <a:solidFill>
            <a:srgbClr val="000066"/>
          </a:solidFill>
          <a:latin typeface="Arial" charset="0"/>
          <a:ea typeface="ＭＳ Ｐゴシック" charset="0"/>
        </a:defRPr>
      </a:lvl8pPr>
      <a:lvl9pPr marL="1828563" algn="l" rtl="0" fontAlgn="base">
        <a:spcBef>
          <a:spcPct val="0"/>
        </a:spcBef>
        <a:spcAft>
          <a:spcPct val="0"/>
        </a:spcAft>
        <a:defRPr sz="3200" b="1">
          <a:solidFill>
            <a:srgbClr val="000066"/>
          </a:solidFill>
          <a:latin typeface="Arial" charset="0"/>
          <a:ea typeface="ＭＳ Ｐゴシック" charset="0"/>
        </a:defRPr>
      </a:lvl9pPr>
    </p:titleStyle>
    <p:bodyStyle>
      <a:lvl1pPr marL="342855" indent="-342855" algn="l" rtl="0" eaLnBrk="0" fontAlgn="base" hangingPunct="0">
        <a:spcBef>
          <a:spcPct val="20000"/>
        </a:spcBef>
        <a:spcAft>
          <a:spcPct val="0"/>
        </a:spcAft>
        <a:buChar char="•"/>
        <a:defRPr sz="3200">
          <a:solidFill>
            <a:schemeClr val="tx1"/>
          </a:solidFill>
          <a:latin typeface="+mn-lt"/>
          <a:ea typeface="+mn-ea"/>
          <a:cs typeface="ＭＳ Ｐゴシック" charset="0"/>
        </a:defRPr>
      </a:lvl1pPr>
      <a:lvl2pPr marL="742854" indent="-285713" algn="l" rtl="0" eaLnBrk="0" fontAlgn="base" hangingPunct="0">
        <a:spcBef>
          <a:spcPct val="20000"/>
        </a:spcBef>
        <a:spcAft>
          <a:spcPct val="0"/>
        </a:spcAft>
        <a:buChar char="–"/>
        <a:defRPr sz="2800">
          <a:solidFill>
            <a:schemeClr val="tx1"/>
          </a:solidFill>
          <a:latin typeface="+mn-lt"/>
          <a:ea typeface="+mn-ea"/>
        </a:defRPr>
      </a:lvl2pPr>
      <a:lvl3pPr marL="1142852" indent="-228571" algn="l" rtl="0" eaLnBrk="0" fontAlgn="base" hangingPunct="0">
        <a:spcBef>
          <a:spcPct val="20000"/>
        </a:spcBef>
        <a:spcAft>
          <a:spcPct val="0"/>
        </a:spcAft>
        <a:buChar char="•"/>
        <a:defRPr sz="2400">
          <a:solidFill>
            <a:schemeClr val="tx1"/>
          </a:solidFill>
          <a:latin typeface="+mn-lt"/>
          <a:ea typeface="+mn-ea"/>
        </a:defRPr>
      </a:lvl3pPr>
      <a:lvl4pPr marL="1599992" indent="-228571" algn="l" rtl="0" eaLnBrk="0" fontAlgn="base" hangingPunct="0">
        <a:spcBef>
          <a:spcPct val="20000"/>
        </a:spcBef>
        <a:spcAft>
          <a:spcPct val="0"/>
        </a:spcAft>
        <a:buChar char="–"/>
        <a:defRPr sz="2000">
          <a:solidFill>
            <a:schemeClr val="tx1"/>
          </a:solidFill>
          <a:latin typeface="+mn-lt"/>
          <a:ea typeface="+mn-ea"/>
        </a:defRPr>
      </a:lvl4pPr>
      <a:lvl5pPr marL="2057133" indent="-228571" algn="l" rtl="0" eaLnBrk="0" fontAlgn="base" hangingPunct="0">
        <a:spcBef>
          <a:spcPct val="20000"/>
        </a:spcBef>
        <a:spcAft>
          <a:spcPct val="0"/>
        </a:spcAft>
        <a:buChar char="»"/>
        <a:defRPr sz="2000">
          <a:solidFill>
            <a:schemeClr val="tx1"/>
          </a:solidFill>
          <a:latin typeface="+mn-lt"/>
          <a:ea typeface="+mn-ea"/>
        </a:defRPr>
      </a:lvl5pPr>
      <a:lvl6pPr marL="2514275" indent="-228571" algn="l" rtl="0" fontAlgn="base">
        <a:spcBef>
          <a:spcPct val="20000"/>
        </a:spcBef>
        <a:spcAft>
          <a:spcPct val="0"/>
        </a:spcAft>
        <a:buChar char="»"/>
        <a:defRPr sz="2000">
          <a:solidFill>
            <a:schemeClr val="tx1"/>
          </a:solidFill>
          <a:latin typeface="+mn-lt"/>
          <a:ea typeface="+mn-ea"/>
        </a:defRPr>
      </a:lvl6pPr>
      <a:lvl7pPr marL="2971415" indent="-228571" algn="l" rtl="0" fontAlgn="base">
        <a:spcBef>
          <a:spcPct val="20000"/>
        </a:spcBef>
        <a:spcAft>
          <a:spcPct val="0"/>
        </a:spcAft>
        <a:buChar char="»"/>
        <a:defRPr sz="2000">
          <a:solidFill>
            <a:schemeClr val="tx1"/>
          </a:solidFill>
          <a:latin typeface="+mn-lt"/>
          <a:ea typeface="+mn-ea"/>
        </a:defRPr>
      </a:lvl7pPr>
      <a:lvl8pPr marL="3428556" indent="-228571" algn="l" rtl="0" fontAlgn="base">
        <a:spcBef>
          <a:spcPct val="20000"/>
        </a:spcBef>
        <a:spcAft>
          <a:spcPct val="0"/>
        </a:spcAft>
        <a:buChar char="»"/>
        <a:defRPr sz="2000">
          <a:solidFill>
            <a:schemeClr val="tx1"/>
          </a:solidFill>
          <a:latin typeface="+mn-lt"/>
          <a:ea typeface="+mn-ea"/>
        </a:defRPr>
      </a:lvl8pPr>
      <a:lvl9pPr marL="3885696" indent="-228571"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457141" rtl="0" eaLnBrk="1" latinLnBrk="0" hangingPunct="1">
        <a:defRPr sz="1800" kern="1200">
          <a:solidFill>
            <a:schemeClr val="tx1"/>
          </a:solidFill>
          <a:latin typeface="+mn-lt"/>
          <a:ea typeface="+mn-ea"/>
          <a:cs typeface="+mn-cs"/>
        </a:defRPr>
      </a:lvl1pPr>
      <a:lvl2pPr marL="457141" algn="l" defTabSz="457141" rtl="0" eaLnBrk="1" latinLnBrk="0" hangingPunct="1">
        <a:defRPr sz="1800" kern="1200">
          <a:solidFill>
            <a:schemeClr val="tx1"/>
          </a:solidFill>
          <a:latin typeface="+mn-lt"/>
          <a:ea typeface="+mn-ea"/>
          <a:cs typeface="+mn-cs"/>
        </a:defRPr>
      </a:lvl2pPr>
      <a:lvl3pPr marL="914281" algn="l" defTabSz="457141" rtl="0" eaLnBrk="1" latinLnBrk="0" hangingPunct="1">
        <a:defRPr sz="1800" kern="1200">
          <a:solidFill>
            <a:schemeClr val="tx1"/>
          </a:solidFill>
          <a:latin typeface="+mn-lt"/>
          <a:ea typeface="+mn-ea"/>
          <a:cs typeface="+mn-cs"/>
        </a:defRPr>
      </a:lvl3pPr>
      <a:lvl4pPr marL="1371423" algn="l" defTabSz="457141" rtl="0" eaLnBrk="1" latinLnBrk="0" hangingPunct="1">
        <a:defRPr sz="1800" kern="1200">
          <a:solidFill>
            <a:schemeClr val="tx1"/>
          </a:solidFill>
          <a:latin typeface="+mn-lt"/>
          <a:ea typeface="+mn-ea"/>
          <a:cs typeface="+mn-cs"/>
        </a:defRPr>
      </a:lvl4pPr>
      <a:lvl5pPr marL="1828563" algn="l" defTabSz="457141" rtl="0" eaLnBrk="1" latinLnBrk="0" hangingPunct="1">
        <a:defRPr sz="1800" kern="1200">
          <a:solidFill>
            <a:schemeClr val="tx1"/>
          </a:solidFill>
          <a:latin typeface="+mn-lt"/>
          <a:ea typeface="+mn-ea"/>
          <a:cs typeface="+mn-cs"/>
        </a:defRPr>
      </a:lvl5pPr>
      <a:lvl6pPr marL="2285704" algn="l" defTabSz="457141" rtl="0" eaLnBrk="1" latinLnBrk="0" hangingPunct="1">
        <a:defRPr sz="1800" kern="1200">
          <a:solidFill>
            <a:schemeClr val="tx1"/>
          </a:solidFill>
          <a:latin typeface="+mn-lt"/>
          <a:ea typeface="+mn-ea"/>
          <a:cs typeface="+mn-cs"/>
        </a:defRPr>
      </a:lvl6pPr>
      <a:lvl7pPr marL="2742844" algn="l" defTabSz="457141" rtl="0" eaLnBrk="1" latinLnBrk="0" hangingPunct="1">
        <a:defRPr sz="1800" kern="1200">
          <a:solidFill>
            <a:schemeClr val="tx1"/>
          </a:solidFill>
          <a:latin typeface="+mn-lt"/>
          <a:ea typeface="+mn-ea"/>
          <a:cs typeface="+mn-cs"/>
        </a:defRPr>
      </a:lvl7pPr>
      <a:lvl8pPr marL="3199985" algn="l" defTabSz="457141" rtl="0" eaLnBrk="1" latinLnBrk="0" hangingPunct="1">
        <a:defRPr sz="1800" kern="1200">
          <a:solidFill>
            <a:schemeClr val="tx1"/>
          </a:solidFill>
          <a:latin typeface="+mn-lt"/>
          <a:ea typeface="+mn-ea"/>
          <a:cs typeface="+mn-cs"/>
        </a:defRPr>
      </a:lvl8pPr>
      <a:lvl9pPr marL="3657126" algn="l" defTabSz="457141"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91428" tIns="45714" rIns="91428" bIns="45714" numCol="1" anchor="ctr" anchorCtr="0" compatLnSpc="1">
            <a:prstTxWarp prst="textNoShape">
              <a:avLst/>
            </a:prstTxWarp>
          </a:bodyPr>
          <a:lstStyle/>
          <a:p>
            <a:pPr lvl="0"/>
            <a:r>
              <a:rPr lang="pt-BR" smtClean="0"/>
              <a:t>Click to edit Master title style</a:t>
            </a:r>
            <a:endParaRPr lang="en-US" smtClean="0"/>
          </a:p>
        </p:txBody>
      </p:sp>
      <p:sp>
        <p:nvSpPr>
          <p:cNvPr id="4099" name="Text Placeholder 2"/>
          <p:cNvSpPr>
            <a:spLocks noGrp="1"/>
          </p:cNvSpPr>
          <p:nvPr>
            <p:ph type="body" idx="1"/>
          </p:nvPr>
        </p:nvSpPr>
        <p:spPr bwMode="auto">
          <a:xfrm>
            <a:off x="457200" y="1200151"/>
            <a:ext cx="8229600" cy="3394472"/>
          </a:xfrm>
          <a:prstGeom prst="rect">
            <a:avLst/>
          </a:prstGeom>
          <a:noFill/>
          <a:ln w="9525">
            <a:noFill/>
            <a:miter lim="800000"/>
            <a:headEnd/>
            <a:tailEnd/>
          </a:ln>
        </p:spPr>
        <p:txBody>
          <a:bodyPr vert="horz" wrap="square" lIns="91428" tIns="45714" rIns="91428" bIns="45714" numCol="1" anchor="t" anchorCtr="0" compatLnSpc="1">
            <a:prstTxWarp prst="textNoShape">
              <a:avLst/>
            </a:prstTxWarp>
          </a:bodyPr>
          <a:lstStyle/>
          <a:p>
            <a:pPr lvl="0"/>
            <a:r>
              <a:rPr lang="pt-BR" smtClean="0"/>
              <a:t>Click to edit Master text styles</a:t>
            </a:r>
          </a:p>
          <a:p>
            <a:pPr lvl="1"/>
            <a:r>
              <a:rPr lang="pt-BR" smtClean="0"/>
              <a:t>Second level</a:t>
            </a:r>
          </a:p>
          <a:p>
            <a:pPr lvl="2"/>
            <a:r>
              <a:rPr lang="pt-BR" smtClean="0"/>
              <a:t>Third level</a:t>
            </a:r>
          </a:p>
          <a:p>
            <a:pPr lvl="3"/>
            <a:r>
              <a:rPr lang="pt-BR" smtClean="0"/>
              <a:t>Fourth level</a:t>
            </a:r>
          </a:p>
          <a:p>
            <a:pPr lvl="4"/>
            <a:r>
              <a:rPr lang="pt-BR" smtClean="0"/>
              <a:t>Fifth level</a:t>
            </a:r>
            <a:endParaRPr lang="en-US" smtClean="0"/>
          </a:p>
        </p:txBody>
      </p:sp>
      <p:sp>
        <p:nvSpPr>
          <p:cNvPr id="4" name="Date Placeholder 3"/>
          <p:cNvSpPr>
            <a:spLocks noGrp="1"/>
          </p:cNvSpPr>
          <p:nvPr>
            <p:ph type="dt" sz="half" idx="2"/>
          </p:nvPr>
        </p:nvSpPr>
        <p:spPr>
          <a:xfrm>
            <a:off x="457201" y="4767264"/>
            <a:ext cx="2133600" cy="273844"/>
          </a:xfrm>
          <a:prstGeom prst="rect">
            <a:avLst/>
          </a:prstGeom>
        </p:spPr>
        <p:txBody>
          <a:bodyPr vert="horz" lIns="91428" tIns="45714" rIns="91428" bIns="45714" rtlCol="0" anchor="ctr"/>
          <a:lstStyle>
            <a:lvl1pPr algn="l" fontAlgn="auto">
              <a:spcBef>
                <a:spcPts val="0"/>
              </a:spcBef>
              <a:spcAft>
                <a:spcPts val="0"/>
              </a:spcAft>
              <a:defRPr sz="1200">
                <a:solidFill>
                  <a:schemeClr val="tx1">
                    <a:tint val="75000"/>
                  </a:schemeClr>
                </a:solidFill>
                <a:latin typeface="+mn-lt"/>
              </a:defRPr>
            </a:lvl1pPr>
          </a:lstStyle>
          <a:p>
            <a:pPr defTabSz="457141">
              <a:defRPr/>
            </a:pPr>
            <a:fld id="{1E4951DC-95DC-403E-AA7A-6D260C69C3FA}" type="datetimeFigureOut">
              <a:rPr lang="en-US" smtClean="0">
                <a:solidFill>
                  <a:prstClr val="black">
                    <a:tint val="75000"/>
                  </a:prstClr>
                </a:solidFill>
              </a:rPr>
              <a:pPr defTabSz="457141">
                <a:defRPr/>
              </a:pPr>
              <a:t>1/29/2014</a:t>
            </a:fld>
            <a:endParaRPr lang="en-US">
              <a:solidFill>
                <a:prstClr val="black">
                  <a:tint val="75000"/>
                </a:prstClr>
              </a:solidFill>
            </a:endParaRPr>
          </a:p>
        </p:txBody>
      </p:sp>
      <p:sp>
        <p:nvSpPr>
          <p:cNvPr id="5" name="Footer Placeholder 4"/>
          <p:cNvSpPr>
            <a:spLocks noGrp="1"/>
          </p:cNvSpPr>
          <p:nvPr>
            <p:ph type="ftr" sz="quarter" idx="3"/>
          </p:nvPr>
        </p:nvSpPr>
        <p:spPr>
          <a:xfrm>
            <a:off x="3124201" y="4767264"/>
            <a:ext cx="2895600" cy="273844"/>
          </a:xfrm>
          <a:prstGeom prst="rect">
            <a:avLst/>
          </a:prstGeom>
        </p:spPr>
        <p:txBody>
          <a:bodyPr vert="horz" lIns="91428" tIns="45714" rIns="91428" bIns="45714" rtlCol="0" anchor="ctr"/>
          <a:lstStyle>
            <a:lvl1pPr algn="ctr" fontAlgn="auto">
              <a:spcBef>
                <a:spcPts val="0"/>
              </a:spcBef>
              <a:spcAft>
                <a:spcPts val="0"/>
              </a:spcAft>
              <a:defRPr sz="1200">
                <a:solidFill>
                  <a:schemeClr val="tx1">
                    <a:tint val="75000"/>
                  </a:schemeClr>
                </a:solidFill>
                <a:latin typeface="+mn-lt"/>
              </a:defRPr>
            </a:lvl1pPr>
          </a:lstStyle>
          <a:p>
            <a:pPr defTabSz="457141">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28" tIns="45714" rIns="91428" bIns="45714" rtlCol="0" anchor="ctr"/>
          <a:lstStyle>
            <a:lvl1pPr algn="r" fontAlgn="auto">
              <a:spcBef>
                <a:spcPts val="0"/>
              </a:spcBef>
              <a:spcAft>
                <a:spcPts val="0"/>
              </a:spcAft>
              <a:defRPr sz="1200">
                <a:solidFill>
                  <a:schemeClr val="tx1">
                    <a:tint val="75000"/>
                  </a:schemeClr>
                </a:solidFill>
                <a:latin typeface="+mn-lt"/>
              </a:defRPr>
            </a:lvl1pPr>
          </a:lstStyle>
          <a:p>
            <a:pPr defTabSz="457141">
              <a:defRPr/>
            </a:pPr>
            <a:fld id="{60E9818F-1A05-435E-B01E-D4987674B8BB}" type="slidenum">
              <a:rPr lang="en-US" smtClean="0">
                <a:solidFill>
                  <a:prstClr val="black">
                    <a:tint val="75000"/>
                  </a:prstClr>
                </a:solidFill>
              </a:rPr>
              <a:pPr defTabSz="457141">
                <a:defRPr/>
              </a:pPr>
              <a:t>‹#›</a:t>
            </a:fld>
            <a:endParaRPr lang="en-US">
              <a:solidFill>
                <a:prstClr val="black">
                  <a:tint val="75000"/>
                </a:prstClr>
              </a:solidFill>
            </a:endParaRPr>
          </a:p>
        </p:txBody>
      </p:sp>
    </p:spTree>
    <p:extLst>
      <p:ext uri="{BB962C8B-B14F-4D97-AF65-F5344CB8AC3E}">
        <p14:creationId xmlns:p14="http://schemas.microsoft.com/office/powerpoint/2010/main" val="27309583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ctr" defTabSz="457141" rtl="0" eaLnBrk="0" fontAlgn="base" hangingPunct="0">
        <a:spcBef>
          <a:spcPct val="0"/>
        </a:spcBef>
        <a:spcAft>
          <a:spcPct val="0"/>
        </a:spcAft>
        <a:defRPr sz="4400" kern="1200">
          <a:solidFill>
            <a:schemeClr val="tx1"/>
          </a:solidFill>
          <a:latin typeface="+mj-lt"/>
          <a:ea typeface="+mj-ea"/>
          <a:cs typeface="+mj-cs"/>
        </a:defRPr>
      </a:lvl1pPr>
      <a:lvl2pPr algn="ctr" defTabSz="457141" rtl="0" eaLnBrk="0" fontAlgn="base" hangingPunct="0">
        <a:spcBef>
          <a:spcPct val="0"/>
        </a:spcBef>
        <a:spcAft>
          <a:spcPct val="0"/>
        </a:spcAft>
        <a:defRPr sz="4400">
          <a:solidFill>
            <a:schemeClr val="tx1"/>
          </a:solidFill>
          <a:latin typeface="Calibri" pitchFamily="34" charset="0"/>
        </a:defRPr>
      </a:lvl2pPr>
      <a:lvl3pPr algn="ctr" defTabSz="457141" rtl="0" eaLnBrk="0" fontAlgn="base" hangingPunct="0">
        <a:spcBef>
          <a:spcPct val="0"/>
        </a:spcBef>
        <a:spcAft>
          <a:spcPct val="0"/>
        </a:spcAft>
        <a:defRPr sz="4400">
          <a:solidFill>
            <a:schemeClr val="tx1"/>
          </a:solidFill>
          <a:latin typeface="Calibri" pitchFamily="34" charset="0"/>
        </a:defRPr>
      </a:lvl3pPr>
      <a:lvl4pPr algn="ctr" defTabSz="457141" rtl="0" eaLnBrk="0" fontAlgn="base" hangingPunct="0">
        <a:spcBef>
          <a:spcPct val="0"/>
        </a:spcBef>
        <a:spcAft>
          <a:spcPct val="0"/>
        </a:spcAft>
        <a:defRPr sz="4400">
          <a:solidFill>
            <a:schemeClr val="tx1"/>
          </a:solidFill>
          <a:latin typeface="Calibri" pitchFamily="34" charset="0"/>
        </a:defRPr>
      </a:lvl4pPr>
      <a:lvl5pPr algn="ctr" defTabSz="457141" rtl="0" eaLnBrk="0" fontAlgn="base" hangingPunct="0">
        <a:spcBef>
          <a:spcPct val="0"/>
        </a:spcBef>
        <a:spcAft>
          <a:spcPct val="0"/>
        </a:spcAft>
        <a:defRPr sz="4400">
          <a:solidFill>
            <a:schemeClr val="tx1"/>
          </a:solidFill>
          <a:latin typeface="Calibri" pitchFamily="34" charset="0"/>
        </a:defRPr>
      </a:lvl5pPr>
      <a:lvl6pPr marL="457141" algn="ctr" defTabSz="457141" rtl="0" fontAlgn="base">
        <a:spcBef>
          <a:spcPct val="0"/>
        </a:spcBef>
        <a:spcAft>
          <a:spcPct val="0"/>
        </a:spcAft>
        <a:defRPr sz="4400">
          <a:solidFill>
            <a:schemeClr val="tx1"/>
          </a:solidFill>
          <a:latin typeface="Calibri" pitchFamily="34" charset="0"/>
        </a:defRPr>
      </a:lvl6pPr>
      <a:lvl7pPr marL="914281" algn="ctr" defTabSz="457141" rtl="0" fontAlgn="base">
        <a:spcBef>
          <a:spcPct val="0"/>
        </a:spcBef>
        <a:spcAft>
          <a:spcPct val="0"/>
        </a:spcAft>
        <a:defRPr sz="4400">
          <a:solidFill>
            <a:schemeClr val="tx1"/>
          </a:solidFill>
          <a:latin typeface="Calibri" pitchFamily="34" charset="0"/>
        </a:defRPr>
      </a:lvl7pPr>
      <a:lvl8pPr marL="1371423" algn="ctr" defTabSz="457141" rtl="0" fontAlgn="base">
        <a:spcBef>
          <a:spcPct val="0"/>
        </a:spcBef>
        <a:spcAft>
          <a:spcPct val="0"/>
        </a:spcAft>
        <a:defRPr sz="4400">
          <a:solidFill>
            <a:schemeClr val="tx1"/>
          </a:solidFill>
          <a:latin typeface="Calibri" pitchFamily="34" charset="0"/>
        </a:defRPr>
      </a:lvl8pPr>
      <a:lvl9pPr marL="1828563" algn="ctr" defTabSz="457141" rtl="0" fontAlgn="base">
        <a:spcBef>
          <a:spcPct val="0"/>
        </a:spcBef>
        <a:spcAft>
          <a:spcPct val="0"/>
        </a:spcAft>
        <a:defRPr sz="4400">
          <a:solidFill>
            <a:schemeClr val="tx1"/>
          </a:solidFill>
          <a:latin typeface="Calibri" pitchFamily="34" charset="0"/>
        </a:defRPr>
      </a:lvl9pPr>
    </p:titleStyle>
    <p:bodyStyle>
      <a:lvl1pPr marL="342855" indent="-342855" algn="l" defTabSz="457141"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854" indent="-285713" algn="l" defTabSz="457141"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2852" indent="-228571" algn="l" defTabSz="457141"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9992" indent="-228571" algn="l" defTabSz="457141"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133" indent="-228571" algn="l" defTabSz="457141"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275" indent="-228571" algn="l" defTabSz="457141" rtl="0" eaLnBrk="1" latinLnBrk="0" hangingPunct="1">
        <a:spcBef>
          <a:spcPct val="20000"/>
        </a:spcBef>
        <a:buFont typeface="Arial"/>
        <a:buChar char="•"/>
        <a:defRPr sz="2000" kern="1200">
          <a:solidFill>
            <a:schemeClr val="tx1"/>
          </a:solidFill>
          <a:latin typeface="+mn-lt"/>
          <a:ea typeface="+mn-ea"/>
          <a:cs typeface="+mn-cs"/>
        </a:defRPr>
      </a:lvl6pPr>
      <a:lvl7pPr marL="2971415" indent="-228571" algn="l" defTabSz="457141" rtl="0" eaLnBrk="1" latinLnBrk="0" hangingPunct="1">
        <a:spcBef>
          <a:spcPct val="20000"/>
        </a:spcBef>
        <a:buFont typeface="Arial"/>
        <a:buChar char="•"/>
        <a:defRPr sz="2000" kern="1200">
          <a:solidFill>
            <a:schemeClr val="tx1"/>
          </a:solidFill>
          <a:latin typeface="+mn-lt"/>
          <a:ea typeface="+mn-ea"/>
          <a:cs typeface="+mn-cs"/>
        </a:defRPr>
      </a:lvl7pPr>
      <a:lvl8pPr marL="3428556" indent="-228571" algn="l" defTabSz="457141" rtl="0" eaLnBrk="1" latinLnBrk="0" hangingPunct="1">
        <a:spcBef>
          <a:spcPct val="20000"/>
        </a:spcBef>
        <a:buFont typeface="Arial"/>
        <a:buChar char="•"/>
        <a:defRPr sz="2000" kern="1200">
          <a:solidFill>
            <a:schemeClr val="tx1"/>
          </a:solidFill>
          <a:latin typeface="+mn-lt"/>
          <a:ea typeface="+mn-ea"/>
          <a:cs typeface="+mn-cs"/>
        </a:defRPr>
      </a:lvl8pPr>
      <a:lvl9pPr marL="3885696" indent="-228571" algn="l" defTabSz="45714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1" rtl="0" eaLnBrk="1" latinLnBrk="0" hangingPunct="1">
        <a:defRPr sz="1800" kern="1200">
          <a:solidFill>
            <a:schemeClr val="tx1"/>
          </a:solidFill>
          <a:latin typeface="+mn-lt"/>
          <a:ea typeface="+mn-ea"/>
          <a:cs typeface="+mn-cs"/>
        </a:defRPr>
      </a:lvl1pPr>
      <a:lvl2pPr marL="457141" algn="l" defTabSz="457141" rtl="0" eaLnBrk="1" latinLnBrk="0" hangingPunct="1">
        <a:defRPr sz="1800" kern="1200">
          <a:solidFill>
            <a:schemeClr val="tx1"/>
          </a:solidFill>
          <a:latin typeface="+mn-lt"/>
          <a:ea typeface="+mn-ea"/>
          <a:cs typeface="+mn-cs"/>
        </a:defRPr>
      </a:lvl2pPr>
      <a:lvl3pPr marL="914281" algn="l" defTabSz="457141" rtl="0" eaLnBrk="1" latinLnBrk="0" hangingPunct="1">
        <a:defRPr sz="1800" kern="1200">
          <a:solidFill>
            <a:schemeClr val="tx1"/>
          </a:solidFill>
          <a:latin typeface="+mn-lt"/>
          <a:ea typeface="+mn-ea"/>
          <a:cs typeface="+mn-cs"/>
        </a:defRPr>
      </a:lvl3pPr>
      <a:lvl4pPr marL="1371423" algn="l" defTabSz="457141" rtl="0" eaLnBrk="1" latinLnBrk="0" hangingPunct="1">
        <a:defRPr sz="1800" kern="1200">
          <a:solidFill>
            <a:schemeClr val="tx1"/>
          </a:solidFill>
          <a:latin typeface="+mn-lt"/>
          <a:ea typeface="+mn-ea"/>
          <a:cs typeface="+mn-cs"/>
        </a:defRPr>
      </a:lvl4pPr>
      <a:lvl5pPr marL="1828563" algn="l" defTabSz="457141" rtl="0" eaLnBrk="1" latinLnBrk="0" hangingPunct="1">
        <a:defRPr sz="1800" kern="1200">
          <a:solidFill>
            <a:schemeClr val="tx1"/>
          </a:solidFill>
          <a:latin typeface="+mn-lt"/>
          <a:ea typeface="+mn-ea"/>
          <a:cs typeface="+mn-cs"/>
        </a:defRPr>
      </a:lvl5pPr>
      <a:lvl6pPr marL="2285704" algn="l" defTabSz="457141" rtl="0" eaLnBrk="1" latinLnBrk="0" hangingPunct="1">
        <a:defRPr sz="1800" kern="1200">
          <a:solidFill>
            <a:schemeClr val="tx1"/>
          </a:solidFill>
          <a:latin typeface="+mn-lt"/>
          <a:ea typeface="+mn-ea"/>
          <a:cs typeface="+mn-cs"/>
        </a:defRPr>
      </a:lvl6pPr>
      <a:lvl7pPr marL="2742844" algn="l" defTabSz="457141" rtl="0" eaLnBrk="1" latinLnBrk="0" hangingPunct="1">
        <a:defRPr sz="1800" kern="1200">
          <a:solidFill>
            <a:schemeClr val="tx1"/>
          </a:solidFill>
          <a:latin typeface="+mn-lt"/>
          <a:ea typeface="+mn-ea"/>
          <a:cs typeface="+mn-cs"/>
        </a:defRPr>
      </a:lvl7pPr>
      <a:lvl8pPr marL="3199985" algn="l" defTabSz="457141" rtl="0" eaLnBrk="1" latinLnBrk="0" hangingPunct="1">
        <a:defRPr sz="1800" kern="1200">
          <a:solidFill>
            <a:schemeClr val="tx1"/>
          </a:solidFill>
          <a:latin typeface="+mn-lt"/>
          <a:ea typeface="+mn-ea"/>
          <a:cs typeface="+mn-cs"/>
        </a:defRPr>
      </a:lvl8pPr>
      <a:lvl9pPr marL="3657126" algn="l" defTabSz="457141"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91428" tIns="45714" rIns="91428" bIns="45714" numCol="1" anchor="ctr" anchorCtr="0" compatLnSpc="1">
            <a:prstTxWarp prst="textNoShape">
              <a:avLst/>
            </a:prstTxWarp>
          </a:bodyPr>
          <a:lstStyle/>
          <a:p>
            <a:pPr lvl="0"/>
            <a:r>
              <a:rPr lang="pt-BR" smtClean="0"/>
              <a:t>Click to edit Master title style</a:t>
            </a:r>
            <a:endParaRPr lang="en-US" smtClean="0"/>
          </a:p>
        </p:txBody>
      </p:sp>
      <p:sp>
        <p:nvSpPr>
          <p:cNvPr id="2051" name="Text Placeholder 2"/>
          <p:cNvSpPr>
            <a:spLocks noGrp="1"/>
          </p:cNvSpPr>
          <p:nvPr>
            <p:ph type="body" idx="1"/>
          </p:nvPr>
        </p:nvSpPr>
        <p:spPr bwMode="auto">
          <a:xfrm>
            <a:off x="457200" y="1200151"/>
            <a:ext cx="8229600" cy="3394472"/>
          </a:xfrm>
          <a:prstGeom prst="rect">
            <a:avLst/>
          </a:prstGeom>
          <a:noFill/>
          <a:ln w="9525">
            <a:noFill/>
            <a:miter lim="800000"/>
            <a:headEnd/>
            <a:tailEnd/>
          </a:ln>
        </p:spPr>
        <p:txBody>
          <a:bodyPr vert="horz" wrap="square" lIns="91428" tIns="45714" rIns="91428" bIns="45714" numCol="1" anchor="t" anchorCtr="0" compatLnSpc="1">
            <a:prstTxWarp prst="textNoShape">
              <a:avLst/>
            </a:prstTxWarp>
          </a:bodyPr>
          <a:lstStyle/>
          <a:p>
            <a:pPr lvl="0"/>
            <a:r>
              <a:rPr lang="pt-BR" smtClean="0"/>
              <a:t>Click to edit Master text styles</a:t>
            </a:r>
          </a:p>
          <a:p>
            <a:pPr lvl="1"/>
            <a:r>
              <a:rPr lang="pt-BR" smtClean="0"/>
              <a:t>Second level</a:t>
            </a:r>
          </a:p>
          <a:p>
            <a:pPr lvl="2"/>
            <a:r>
              <a:rPr lang="pt-BR" smtClean="0"/>
              <a:t>Third level</a:t>
            </a:r>
          </a:p>
          <a:p>
            <a:pPr lvl="3"/>
            <a:r>
              <a:rPr lang="pt-BR" smtClean="0"/>
              <a:t>Fourth level</a:t>
            </a:r>
          </a:p>
          <a:p>
            <a:pPr lvl="4"/>
            <a:r>
              <a:rPr lang="pt-BR" smtClean="0"/>
              <a:t>Fifth level</a:t>
            </a:r>
            <a:endParaRPr lang="en-US" smtClean="0"/>
          </a:p>
        </p:txBody>
      </p:sp>
      <p:sp>
        <p:nvSpPr>
          <p:cNvPr id="4" name="Date Placeholder 3"/>
          <p:cNvSpPr>
            <a:spLocks noGrp="1"/>
          </p:cNvSpPr>
          <p:nvPr>
            <p:ph type="dt" sz="half" idx="2"/>
          </p:nvPr>
        </p:nvSpPr>
        <p:spPr>
          <a:xfrm>
            <a:off x="457201" y="4767264"/>
            <a:ext cx="2133600" cy="273844"/>
          </a:xfrm>
          <a:prstGeom prst="rect">
            <a:avLst/>
          </a:prstGeom>
        </p:spPr>
        <p:txBody>
          <a:bodyPr vert="horz" lIns="91428" tIns="45714" rIns="91428" bIns="45714" rtlCol="0" anchor="ctr"/>
          <a:lstStyle>
            <a:lvl1pPr algn="l" fontAlgn="auto">
              <a:spcBef>
                <a:spcPts val="0"/>
              </a:spcBef>
              <a:spcAft>
                <a:spcPts val="0"/>
              </a:spcAft>
              <a:defRPr sz="1200">
                <a:solidFill>
                  <a:schemeClr val="tx1">
                    <a:tint val="75000"/>
                  </a:schemeClr>
                </a:solidFill>
                <a:latin typeface="+mn-lt"/>
              </a:defRPr>
            </a:lvl1pPr>
          </a:lstStyle>
          <a:p>
            <a:pPr defTabSz="457141">
              <a:defRPr/>
            </a:pPr>
            <a:fld id="{1E29074C-AA3B-4A5A-AD11-AEB402323AA3}" type="datetimeFigureOut">
              <a:rPr lang="en-US" smtClean="0">
                <a:solidFill>
                  <a:prstClr val="black">
                    <a:tint val="75000"/>
                  </a:prstClr>
                </a:solidFill>
              </a:rPr>
              <a:pPr defTabSz="457141">
                <a:defRPr/>
              </a:pPr>
              <a:t>1/29/2014</a:t>
            </a:fld>
            <a:endParaRPr lang="en-US">
              <a:solidFill>
                <a:prstClr val="black">
                  <a:tint val="75000"/>
                </a:prstClr>
              </a:solidFill>
            </a:endParaRPr>
          </a:p>
        </p:txBody>
      </p:sp>
      <p:sp>
        <p:nvSpPr>
          <p:cNvPr id="5" name="Footer Placeholder 4"/>
          <p:cNvSpPr>
            <a:spLocks noGrp="1"/>
          </p:cNvSpPr>
          <p:nvPr>
            <p:ph type="ftr" sz="quarter" idx="3"/>
          </p:nvPr>
        </p:nvSpPr>
        <p:spPr>
          <a:xfrm>
            <a:off x="3124201" y="4767264"/>
            <a:ext cx="2895600" cy="273844"/>
          </a:xfrm>
          <a:prstGeom prst="rect">
            <a:avLst/>
          </a:prstGeom>
        </p:spPr>
        <p:txBody>
          <a:bodyPr vert="horz" lIns="91428" tIns="45714" rIns="91428" bIns="45714" rtlCol="0" anchor="ctr"/>
          <a:lstStyle>
            <a:lvl1pPr algn="ctr" fontAlgn="auto">
              <a:spcBef>
                <a:spcPts val="0"/>
              </a:spcBef>
              <a:spcAft>
                <a:spcPts val="0"/>
              </a:spcAft>
              <a:defRPr sz="1200">
                <a:solidFill>
                  <a:schemeClr val="tx1">
                    <a:tint val="75000"/>
                  </a:schemeClr>
                </a:solidFill>
                <a:latin typeface="+mn-lt"/>
              </a:defRPr>
            </a:lvl1pPr>
          </a:lstStyle>
          <a:p>
            <a:pPr defTabSz="457141">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28" tIns="45714" rIns="91428" bIns="45714" rtlCol="0" anchor="ctr"/>
          <a:lstStyle>
            <a:lvl1pPr algn="r" fontAlgn="auto">
              <a:spcBef>
                <a:spcPts val="0"/>
              </a:spcBef>
              <a:spcAft>
                <a:spcPts val="0"/>
              </a:spcAft>
              <a:defRPr sz="1200">
                <a:solidFill>
                  <a:schemeClr val="tx1">
                    <a:tint val="75000"/>
                  </a:schemeClr>
                </a:solidFill>
                <a:latin typeface="+mn-lt"/>
              </a:defRPr>
            </a:lvl1pPr>
          </a:lstStyle>
          <a:p>
            <a:pPr defTabSz="457141">
              <a:defRPr/>
            </a:pPr>
            <a:fld id="{AD9428CA-D66A-4727-8F7F-722D0BF26249}" type="slidenum">
              <a:rPr lang="en-US" smtClean="0">
                <a:solidFill>
                  <a:prstClr val="black">
                    <a:tint val="75000"/>
                  </a:prstClr>
                </a:solidFill>
              </a:rPr>
              <a:pPr defTabSz="457141">
                <a:defRPr/>
              </a:pPr>
              <a:t>‹#›</a:t>
            </a:fld>
            <a:endParaRPr lang="en-US">
              <a:solidFill>
                <a:prstClr val="black">
                  <a:tint val="75000"/>
                </a:prstClr>
              </a:solidFill>
            </a:endParaRPr>
          </a:p>
        </p:txBody>
      </p:sp>
    </p:spTree>
    <p:extLst>
      <p:ext uri="{BB962C8B-B14F-4D97-AF65-F5344CB8AC3E}">
        <p14:creationId xmlns:p14="http://schemas.microsoft.com/office/powerpoint/2010/main" val="189186625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xStyles>
    <p:titleStyle>
      <a:lvl1pPr algn="ctr" defTabSz="457141" rtl="0" eaLnBrk="0" fontAlgn="base" hangingPunct="0">
        <a:spcBef>
          <a:spcPct val="0"/>
        </a:spcBef>
        <a:spcAft>
          <a:spcPct val="0"/>
        </a:spcAft>
        <a:defRPr sz="4400" kern="1200">
          <a:solidFill>
            <a:schemeClr val="tx1"/>
          </a:solidFill>
          <a:latin typeface="+mj-lt"/>
          <a:ea typeface="+mj-ea"/>
          <a:cs typeface="+mj-cs"/>
        </a:defRPr>
      </a:lvl1pPr>
      <a:lvl2pPr algn="ctr" defTabSz="457141" rtl="0" eaLnBrk="0" fontAlgn="base" hangingPunct="0">
        <a:spcBef>
          <a:spcPct val="0"/>
        </a:spcBef>
        <a:spcAft>
          <a:spcPct val="0"/>
        </a:spcAft>
        <a:defRPr sz="4400">
          <a:solidFill>
            <a:schemeClr val="tx1"/>
          </a:solidFill>
          <a:latin typeface="Calibri" pitchFamily="34" charset="0"/>
        </a:defRPr>
      </a:lvl2pPr>
      <a:lvl3pPr algn="ctr" defTabSz="457141" rtl="0" eaLnBrk="0" fontAlgn="base" hangingPunct="0">
        <a:spcBef>
          <a:spcPct val="0"/>
        </a:spcBef>
        <a:spcAft>
          <a:spcPct val="0"/>
        </a:spcAft>
        <a:defRPr sz="4400">
          <a:solidFill>
            <a:schemeClr val="tx1"/>
          </a:solidFill>
          <a:latin typeface="Calibri" pitchFamily="34" charset="0"/>
        </a:defRPr>
      </a:lvl3pPr>
      <a:lvl4pPr algn="ctr" defTabSz="457141" rtl="0" eaLnBrk="0" fontAlgn="base" hangingPunct="0">
        <a:spcBef>
          <a:spcPct val="0"/>
        </a:spcBef>
        <a:spcAft>
          <a:spcPct val="0"/>
        </a:spcAft>
        <a:defRPr sz="4400">
          <a:solidFill>
            <a:schemeClr val="tx1"/>
          </a:solidFill>
          <a:latin typeface="Calibri" pitchFamily="34" charset="0"/>
        </a:defRPr>
      </a:lvl4pPr>
      <a:lvl5pPr algn="ctr" defTabSz="457141" rtl="0" eaLnBrk="0" fontAlgn="base" hangingPunct="0">
        <a:spcBef>
          <a:spcPct val="0"/>
        </a:spcBef>
        <a:spcAft>
          <a:spcPct val="0"/>
        </a:spcAft>
        <a:defRPr sz="4400">
          <a:solidFill>
            <a:schemeClr val="tx1"/>
          </a:solidFill>
          <a:latin typeface="Calibri" pitchFamily="34" charset="0"/>
        </a:defRPr>
      </a:lvl5pPr>
      <a:lvl6pPr marL="457141" algn="ctr" defTabSz="457141" rtl="0" fontAlgn="base">
        <a:spcBef>
          <a:spcPct val="0"/>
        </a:spcBef>
        <a:spcAft>
          <a:spcPct val="0"/>
        </a:spcAft>
        <a:defRPr sz="4400">
          <a:solidFill>
            <a:schemeClr val="tx1"/>
          </a:solidFill>
          <a:latin typeface="Calibri" pitchFamily="34" charset="0"/>
        </a:defRPr>
      </a:lvl6pPr>
      <a:lvl7pPr marL="914281" algn="ctr" defTabSz="457141" rtl="0" fontAlgn="base">
        <a:spcBef>
          <a:spcPct val="0"/>
        </a:spcBef>
        <a:spcAft>
          <a:spcPct val="0"/>
        </a:spcAft>
        <a:defRPr sz="4400">
          <a:solidFill>
            <a:schemeClr val="tx1"/>
          </a:solidFill>
          <a:latin typeface="Calibri" pitchFamily="34" charset="0"/>
        </a:defRPr>
      </a:lvl7pPr>
      <a:lvl8pPr marL="1371423" algn="ctr" defTabSz="457141" rtl="0" fontAlgn="base">
        <a:spcBef>
          <a:spcPct val="0"/>
        </a:spcBef>
        <a:spcAft>
          <a:spcPct val="0"/>
        </a:spcAft>
        <a:defRPr sz="4400">
          <a:solidFill>
            <a:schemeClr val="tx1"/>
          </a:solidFill>
          <a:latin typeface="Calibri" pitchFamily="34" charset="0"/>
        </a:defRPr>
      </a:lvl8pPr>
      <a:lvl9pPr marL="1828563" algn="ctr" defTabSz="457141" rtl="0" fontAlgn="base">
        <a:spcBef>
          <a:spcPct val="0"/>
        </a:spcBef>
        <a:spcAft>
          <a:spcPct val="0"/>
        </a:spcAft>
        <a:defRPr sz="4400">
          <a:solidFill>
            <a:schemeClr val="tx1"/>
          </a:solidFill>
          <a:latin typeface="Calibri" pitchFamily="34" charset="0"/>
        </a:defRPr>
      </a:lvl9pPr>
    </p:titleStyle>
    <p:bodyStyle>
      <a:lvl1pPr marL="342855" indent="-342855" algn="l" defTabSz="457141"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854" indent="-285713" algn="l" defTabSz="457141"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2852" indent="-228571" algn="l" defTabSz="457141"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9992" indent="-228571" algn="l" defTabSz="457141"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133" indent="-228571" algn="l" defTabSz="457141"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275" indent="-228571" algn="l" defTabSz="457141" rtl="0" eaLnBrk="1" latinLnBrk="0" hangingPunct="1">
        <a:spcBef>
          <a:spcPct val="20000"/>
        </a:spcBef>
        <a:buFont typeface="Arial"/>
        <a:buChar char="•"/>
        <a:defRPr sz="2000" kern="1200">
          <a:solidFill>
            <a:schemeClr val="tx1"/>
          </a:solidFill>
          <a:latin typeface="+mn-lt"/>
          <a:ea typeface="+mn-ea"/>
          <a:cs typeface="+mn-cs"/>
        </a:defRPr>
      </a:lvl6pPr>
      <a:lvl7pPr marL="2971415" indent="-228571" algn="l" defTabSz="457141" rtl="0" eaLnBrk="1" latinLnBrk="0" hangingPunct="1">
        <a:spcBef>
          <a:spcPct val="20000"/>
        </a:spcBef>
        <a:buFont typeface="Arial"/>
        <a:buChar char="•"/>
        <a:defRPr sz="2000" kern="1200">
          <a:solidFill>
            <a:schemeClr val="tx1"/>
          </a:solidFill>
          <a:latin typeface="+mn-lt"/>
          <a:ea typeface="+mn-ea"/>
          <a:cs typeface="+mn-cs"/>
        </a:defRPr>
      </a:lvl7pPr>
      <a:lvl8pPr marL="3428556" indent="-228571" algn="l" defTabSz="457141" rtl="0" eaLnBrk="1" latinLnBrk="0" hangingPunct="1">
        <a:spcBef>
          <a:spcPct val="20000"/>
        </a:spcBef>
        <a:buFont typeface="Arial"/>
        <a:buChar char="•"/>
        <a:defRPr sz="2000" kern="1200">
          <a:solidFill>
            <a:schemeClr val="tx1"/>
          </a:solidFill>
          <a:latin typeface="+mn-lt"/>
          <a:ea typeface="+mn-ea"/>
          <a:cs typeface="+mn-cs"/>
        </a:defRPr>
      </a:lvl8pPr>
      <a:lvl9pPr marL="3885696" indent="-228571" algn="l" defTabSz="45714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1" rtl="0" eaLnBrk="1" latinLnBrk="0" hangingPunct="1">
        <a:defRPr sz="1800" kern="1200">
          <a:solidFill>
            <a:schemeClr val="tx1"/>
          </a:solidFill>
          <a:latin typeface="+mn-lt"/>
          <a:ea typeface="+mn-ea"/>
          <a:cs typeface="+mn-cs"/>
        </a:defRPr>
      </a:lvl1pPr>
      <a:lvl2pPr marL="457141" algn="l" defTabSz="457141" rtl="0" eaLnBrk="1" latinLnBrk="0" hangingPunct="1">
        <a:defRPr sz="1800" kern="1200">
          <a:solidFill>
            <a:schemeClr val="tx1"/>
          </a:solidFill>
          <a:latin typeface="+mn-lt"/>
          <a:ea typeface="+mn-ea"/>
          <a:cs typeface="+mn-cs"/>
        </a:defRPr>
      </a:lvl2pPr>
      <a:lvl3pPr marL="914281" algn="l" defTabSz="457141" rtl="0" eaLnBrk="1" latinLnBrk="0" hangingPunct="1">
        <a:defRPr sz="1800" kern="1200">
          <a:solidFill>
            <a:schemeClr val="tx1"/>
          </a:solidFill>
          <a:latin typeface="+mn-lt"/>
          <a:ea typeface="+mn-ea"/>
          <a:cs typeface="+mn-cs"/>
        </a:defRPr>
      </a:lvl3pPr>
      <a:lvl4pPr marL="1371423" algn="l" defTabSz="457141" rtl="0" eaLnBrk="1" latinLnBrk="0" hangingPunct="1">
        <a:defRPr sz="1800" kern="1200">
          <a:solidFill>
            <a:schemeClr val="tx1"/>
          </a:solidFill>
          <a:latin typeface="+mn-lt"/>
          <a:ea typeface="+mn-ea"/>
          <a:cs typeface="+mn-cs"/>
        </a:defRPr>
      </a:lvl4pPr>
      <a:lvl5pPr marL="1828563" algn="l" defTabSz="457141" rtl="0" eaLnBrk="1" latinLnBrk="0" hangingPunct="1">
        <a:defRPr sz="1800" kern="1200">
          <a:solidFill>
            <a:schemeClr val="tx1"/>
          </a:solidFill>
          <a:latin typeface="+mn-lt"/>
          <a:ea typeface="+mn-ea"/>
          <a:cs typeface="+mn-cs"/>
        </a:defRPr>
      </a:lvl5pPr>
      <a:lvl6pPr marL="2285704" algn="l" defTabSz="457141" rtl="0" eaLnBrk="1" latinLnBrk="0" hangingPunct="1">
        <a:defRPr sz="1800" kern="1200">
          <a:solidFill>
            <a:schemeClr val="tx1"/>
          </a:solidFill>
          <a:latin typeface="+mn-lt"/>
          <a:ea typeface="+mn-ea"/>
          <a:cs typeface="+mn-cs"/>
        </a:defRPr>
      </a:lvl6pPr>
      <a:lvl7pPr marL="2742844" algn="l" defTabSz="457141" rtl="0" eaLnBrk="1" latinLnBrk="0" hangingPunct="1">
        <a:defRPr sz="1800" kern="1200">
          <a:solidFill>
            <a:schemeClr val="tx1"/>
          </a:solidFill>
          <a:latin typeface="+mn-lt"/>
          <a:ea typeface="+mn-ea"/>
          <a:cs typeface="+mn-cs"/>
        </a:defRPr>
      </a:lvl7pPr>
      <a:lvl8pPr marL="3199985" algn="l" defTabSz="457141" rtl="0" eaLnBrk="1" latinLnBrk="0" hangingPunct="1">
        <a:defRPr sz="1800" kern="1200">
          <a:solidFill>
            <a:schemeClr val="tx1"/>
          </a:solidFill>
          <a:latin typeface="+mn-lt"/>
          <a:ea typeface="+mn-ea"/>
          <a:cs typeface="+mn-cs"/>
        </a:defRPr>
      </a:lvl8pPr>
      <a:lvl9pPr marL="3657126" algn="l" defTabSz="457141"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478915" y="563970"/>
            <a:ext cx="4186169" cy="550483"/>
          </a:xfrm>
          <a:prstGeom prst="rect">
            <a:avLst/>
          </a:prstGeom>
        </p:spPr>
        <p:txBody>
          <a:bodyPr wrap="square" lIns="0" tIns="0" rIns="0" bIns="0">
            <a:noAutofit/>
          </a:bodyPr>
          <a:lstStyle/>
          <a:p>
            <a:endParaRPr/>
          </a:p>
        </p:txBody>
      </p:sp>
      <p:sp>
        <p:nvSpPr>
          <p:cNvPr id="3" name="Holder 3"/>
          <p:cNvSpPr>
            <a:spLocks noGrp="1"/>
          </p:cNvSpPr>
          <p:nvPr>
            <p:ph type="body" idx="1"/>
          </p:nvPr>
        </p:nvSpPr>
        <p:spPr>
          <a:xfrm>
            <a:off x="1120205" y="1347510"/>
            <a:ext cx="6903590" cy="1826590"/>
          </a:xfrm>
          <a:prstGeom prst="rect">
            <a:avLst/>
          </a:prstGeom>
        </p:spPr>
        <p:txBody>
          <a:bodyPr wrap="square" lIns="0" tIns="0" rIns="0" bIns="0">
            <a:noAutofit/>
          </a:bodyPr>
          <a:lstStyle/>
          <a:p>
            <a:endParaRPr/>
          </a:p>
        </p:txBody>
      </p:sp>
      <p:sp>
        <p:nvSpPr>
          <p:cNvPr id="4" name="Holder 4"/>
          <p:cNvSpPr>
            <a:spLocks noGrp="1"/>
          </p:cNvSpPr>
          <p:nvPr>
            <p:ph type="ftr" sz="quarter" idx="5"/>
          </p:nvPr>
        </p:nvSpPr>
        <p:spPr>
          <a:xfrm>
            <a:off x="3108961" y="4783455"/>
            <a:ext cx="2926079" cy="257175"/>
          </a:xfrm>
          <a:prstGeom prst="rect">
            <a:avLst/>
          </a:prstGeom>
        </p:spPr>
        <p:txBody>
          <a:bodyPr wrap="square" lIns="0" tIns="0" rIns="0" bIns="0">
            <a:noAutofit/>
          </a:bodyPr>
          <a:lstStyle>
            <a:lvl1pPr algn="ctr">
              <a:defRPr>
                <a:solidFill>
                  <a:schemeClr val="tx1">
                    <a:tint val="75000"/>
                  </a:schemeClr>
                </a:solidFill>
              </a:defRPr>
            </a:lvl1pPr>
          </a:lstStyle>
          <a:p>
            <a:pPr defTabSz="715792"/>
            <a:endParaRPr sz="1400">
              <a:solidFill>
                <a:prstClr val="black">
                  <a:tint val="75000"/>
                </a:prstClr>
              </a:solidFill>
            </a:endParaRPr>
          </a:p>
        </p:txBody>
      </p:sp>
      <p:sp>
        <p:nvSpPr>
          <p:cNvPr id="5" name="Holder 5"/>
          <p:cNvSpPr>
            <a:spLocks noGrp="1"/>
          </p:cNvSpPr>
          <p:nvPr>
            <p:ph type="dt" sz="half" idx="6"/>
          </p:nvPr>
        </p:nvSpPr>
        <p:spPr>
          <a:xfrm>
            <a:off x="457200" y="4783455"/>
            <a:ext cx="2103120" cy="257175"/>
          </a:xfrm>
          <a:prstGeom prst="rect">
            <a:avLst/>
          </a:prstGeom>
        </p:spPr>
        <p:txBody>
          <a:bodyPr wrap="square" lIns="0" tIns="0" rIns="0" bIns="0">
            <a:noAutofit/>
          </a:bodyPr>
          <a:lstStyle>
            <a:lvl1pPr algn="l">
              <a:defRPr>
                <a:solidFill>
                  <a:schemeClr val="tx1">
                    <a:tint val="75000"/>
                  </a:schemeClr>
                </a:solidFill>
              </a:defRPr>
            </a:lvl1pPr>
          </a:lstStyle>
          <a:p>
            <a:pPr defTabSz="715792"/>
            <a:fld id="{1D8BD707-D9CF-40AE-B4C6-C98DA3205C09}" type="datetimeFigureOut">
              <a:rPr lang="en-US" sz="1400" smtClean="0">
                <a:solidFill>
                  <a:prstClr val="black">
                    <a:tint val="75000"/>
                  </a:prstClr>
                </a:solidFill>
              </a:rPr>
              <a:pPr defTabSz="715792"/>
              <a:t>1/29/2014</a:t>
            </a:fld>
            <a:endParaRPr lang="en-US" sz="1400" smtClean="0">
              <a:solidFill>
                <a:prstClr val="black">
                  <a:tint val="75000"/>
                </a:prstClr>
              </a:solidFill>
            </a:endParaRPr>
          </a:p>
        </p:txBody>
      </p:sp>
      <p:sp>
        <p:nvSpPr>
          <p:cNvPr id="6" name="Holder 6"/>
          <p:cNvSpPr>
            <a:spLocks noGrp="1"/>
          </p:cNvSpPr>
          <p:nvPr>
            <p:ph type="sldNum" sz="quarter" idx="7"/>
          </p:nvPr>
        </p:nvSpPr>
        <p:spPr>
          <a:xfrm>
            <a:off x="6583680" y="4783455"/>
            <a:ext cx="2103120" cy="257175"/>
          </a:xfrm>
          <a:prstGeom prst="rect">
            <a:avLst/>
          </a:prstGeom>
        </p:spPr>
        <p:txBody>
          <a:bodyPr wrap="square" lIns="0" tIns="0" rIns="0" bIns="0">
            <a:noAutofit/>
          </a:bodyPr>
          <a:lstStyle>
            <a:lvl1pPr algn="r">
              <a:defRPr>
                <a:solidFill>
                  <a:schemeClr val="tx1">
                    <a:tint val="75000"/>
                  </a:schemeClr>
                </a:solidFill>
              </a:defRPr>
            </a:lvl1pPr>
          </a:lstStyle>
          <a:p>
            <a:pPr defTabSz="715792"/>
            <a:fld id="{B6F15528-21DE-4FAA-801E-634DDDAF4B2B}" type="slidenum">
              <a:rPr sz="1400">
                <a:solidFill>
                  <a:prstClr val="black">
                    <a:tint val="75000"/>
                  </a:prstClr>
                </a:solidFill>
              </a:rPr>
              <a:pPr defTabSz="715792"/>
              <a:t>‹#›</a:t>
            </a:fld>
            <a:endParaRPr sz="1400">
              <a:solidFill>
                <a:prstClr val="black">
                  <a:tint val="75000"/>
                </a:prstClr>
              </a:solidFill>
            </a:endParaRPr>
          </a:p>
        </p:txBody>
      </p:sp>
    </p:spTree>
    <p:extLst>
      <p:ext uri="{BB962C8B-B14F-4D97-AF65-F5344CB8AC3E}">
        <p14:creationId xmlns:p14="http://schemas.microsoft.com/office/powerpoint/2010/main" val="206755268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Lst>
  <p:txStyles>
    <p:titleStyle/>
    <p:bodyStyle/>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28" tIns="45714" rIns="91428" bIns="45714"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28" tIns="45714" rIns="91428" bIns="4571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1" y="4767264"/>
            <a:ext cx="2133600" cy="273844"/>
          </a:xfrm>
          <a:prstGeom prst="rect">
            <a:avLst/>
          </a:prstGeom>
        </p:spPr>
        <p:txBody>
          <a:bodyPr vert="horz" lIns="91428" tIns="45714" rIns="91428" bIns="45714" rtlCol="0" anchor="ctr"/>
          <a:lstStyle>
            <a:lvl1pPr algn="l">
              <a:defRPr sz="1200">
                <a:solidFill>
                  <a:schemeClr val="tx1">
                    <a:tint val="75000"/>
                  </a:schemeClr>
                </a:solidFill>
              </a:defRPr>
            </a:lvl1pPr>
          </a:lstStyle>
          <a:p>
            <a:fld id="{57EF5E57-8B35-447F-9D17-6D9BCA2C8447}" type="datetimeFigureOut">
              <a:rPr lang="en-US" smtClean="0">
                <a:solidFill>
                  <a:prstClr val="black">
                    <a:tint val="75000"/>
                  </a:prstClr>
                </a:solidFill>
              </a:rPr>
              <a:pPr/>
              <a:t>1/29/2014</a:t>
            </a:fld>
            <a:endParaRPr lang="en-US">
              <a:solidFill>
                <a:prstClr val="black">
                  <a:tint val="75000"/>
                </a:prstClr>
              </a:solidFill>
            </a:endParaRPr>
          </a:p>
        </p:txBody>
      </p:sp>
      <p:sp>
        <p:nvSpPr>
          <p:cNvPr id="5" name="Footer Placeholder 4"/>
          <p:cNvSpPr>
            <a:spLocks noGrp="1"/>
          </p:cNvSpPr>
          <p:nvPr>
            <p:ph type="ftr" sz="quarter" idx="3"/>
          </p:nvPr>
        </p:nvSpPr>
        <p:spPr>
          <a:xfrm>
            <a:off x="3124201" y="4767264"/>
            <a:ext cx="2895600" cy="273844"/>
          </a:xfrm>
          <a:prstGeom prst="rect">
            <a:avLst/>
          </a:prstGeom>
        </p:spPr>
        <p:txBody>
          <a:bodyPr vert="horz" lIns="91428" tIns="45714" rIns="91428" bIns="45714"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28" tIns="45714" rIns="91428" bIns="45714" rtlCol="0" anchor="ctr"/>
          <a:lstStyle>
            <a:lvl1pPr algn="r">
              <a:defRPr sz="1200">
                <a:solidFill>
                  <a:schemeClr val="tx1">
                    <a:tint val="75000"/>
                  </a:schemeClr>
                </a:solidFill>
              </a:defRPr>
            </a:lvl1pPr>
          </a:lstStyle>
          <a:p>
            <a:fld id="{B95022C1-BBB1-491E-B0A6-9417E06D386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443892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ctr" defTabSz="914281" rtl="0" eaLnBrk="1" latinLnBrk="0" hangingPunct="1">
        <a:spcBef>
          <a:spcPct val="0"/>
        </a:spcBef>
        <a:buNone/>
        <a:defRPr sz="4400" kern="1200">
          <a:solidFill>
            <a:schemeClr val="tx1"/>
          </a:solidFill>
          <a:latin typeface="+mj-lt"/>
          <a:ea typeface="+mj-ea"/>
          <a:cs typeface="+mj-cs"/>
        </a:defRPr>
      </a:lvl1pPr>
    </p:titleStyle>
    <p:bodyStyle>
      <a:lvl1pPr marL="342855" indent="-342855" algn="l" defTabSz="914281"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54" indent="-285713" algn="l" defTabSz="914281"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52" indent="-228571" algn="l" defTabSz="914281"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992"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33"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27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15"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56"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96" indent="-228571" algn="l" defTabSz="9142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1" rtl="0" eaLnBrk="1" latinLnBrk="0" hangingPunct="1">
        <a:defRPr sz="1800" kern="1200">
          <a:solidFill>
            <a:schemeClr val="tx1"/>
          </a:solidFill>
          <a:latin typeface="+mn-lt"/>
          <a:ea typeface="+mn-ea"/>
          <a:cs typeface="+mn-cs"/>
        </a:defRPr>
      </a:lvl1pPr>
      <a:lvl2pPr marL="457141" algn="l" defTabSz="914281" rtl="0" eaLnBrk="1" latinLnBrk="0" hangingPunct="1">
        <a:defRPr sz="1800" kern="1200">
          <a:solidFill>
            <a:schemeClr val="tx1"/>
          </a:solidFill>
          <a:latin typeface="+mn-lt"/>
          <a:ea typeface="+mn-ea"/>
          <a:cs typeface="+mn-cs"/>
        </a:defRPr>
      </a:lvl2pPr>
      <a:lvl3pPr marL="914281" algn="l" defTabSz="914281" rtl="0" eaLnBrk="1" latinLnBrk="0" hangingPunct="1">
        <a:defRPr sz="1800" kern="1200">
          <a:solidFill>
            <a:schemeClr val="tx1"/>
          </a:solidFill>
          <a:latin typeface="+mn-lt"/>
          <a:ea typeface="+mn-ea"/>
          <a:cs typeface="+mn-cs"/>
        </a:defRPr>
      </a:lvl3pPr>
      <a:lvl4pPr marL="1371423" algn="l" defTabSz="914281" rtl="0" eaLnBrk="1" latinLnBrk="0" hangingPunct="1">
        <a:defRPr sz="1800" kern="1200">
          <a:solidFill>
            <a:schemeClr val="tx1"/>
          </a:solidFill>
          <a:latin typeface="+mn-lt"/>
          <a:ea typeface="+mn-ea"/>
          <a:cs typeface="+mn-cs"/>
        </a:defRPr>
      </a:lvl4pPr>
      <a:lvl5pPr marL="1828563" algn="l" defTabSz="914281" rtl="0" eaLnBrk="1" latinLnBrk="0" hangingPunct="1">
        <a:defRPr sz="1800" kern="1200">
          <a:solidFill>
            <a:schemeClr val="tx1"/>
          </a:solidFill>
          <a:latin typeface="+mn-lt"/>
          <a:ea typeface="+mn-ea"/>
          <a:cs typeface="+mn-cs"/>
        </a:defRPr>
      </a:lvl5pPr>
      <a:lvl6pPr marL="2285704" algn="l" defTabSz="914281" rtl="0" eaLnBrk="1" latinLnBrk="0" hangingPunct="1">
        <a:defRPr sz="1800" kern="1200">
          <a:solidFill>
            <a:schemeClr val="tx1"/>
          </a:solidFill>
          <a:latin typeface="+mn-lt"/>
          <a:ea typeface="+mn-ea"/>
          <a:cs typeface="+mn-cs"/>
        </a:defRPr>
      </a:lvl6pPr>
      <a:lvl7pPr marL="2742844" algn="l" defTabSz="914281" rtl="0" eaLnBrk="1" latinLnBrk="0" hangingPunct="1">
        <a:defRPr sz="1800" kern="1200">
          <a:solidFill>
            <a:schemeClr val="tx1"/>
          </a:solidFill>
          <a:latin typeface="+mn-lt"/>
          <a:ea typeface="+mn-ea"/>
          <a:cs typeface="+mn-cs"/>
        </a:defRPr>
      </a:lvl7pPr>
      <a:lvl8pPr marL="3199985" algn="l" defTabSz="914281" rtl="0" eaLnBrk="1" latinLnBrk="0" hangingPunct="1">
        <a:defRPr sz="1800" kern="1200">
          <a:solidFill>
            <a:schemeClr val="tx1"/>
          </a:solidFill>
          <a:latin typeface="+mn-lt"/>
          <a:ea typeface="+mn-ea"/>
          <a:cs typeface="+mn-cs"/>
        </a:defRPr>
      </a:lvl8pPr>
      <a:lvl9pPr marL="3657126" algn="l" defTabSz="914281"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059583"/>
            <a:ext cx="8229600" cy="353504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074BC2C2-9612-42E6-8E25-EA2A31CBAFDC}" type="datetime3">
              <a:rPr lang="en-US" smtClean="0">
                <a:solidFill>
                  <a:prstClr val="black">
                    <a:tint val="75000"/>
                  </a:prstClr>
                </a:solidFill>
              </a:rPr>
              <a:pPr defTabSz="914400"/>
              <a:t>29 January 2014</a:t>
            </a:fld>
            <a:endParaRPr lang="en-US">
              <a:solidFill>
                <a:prstClr val="black">
                  <a:tint val="75000"/>
                </a:prst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EBC9397-8921-489F-B39C-2E8FC685A84F}" type="slidenum">
              <a:rPr lang="en-US" smtClean="0">
                <a:solidFill>
                  <a:prstClr val="black">
                    <a:tint val="75000"/>
                  </a:prstClr>
                </a:solidFill>
              </a:rPr>
              <a:pPr defTabSz="914400"/>
              <a:t>‹#›</a:t>
            </a:fld>
            <a:endParaRPr lang="en-US">
              <a:solidFill>
                <a:prstClr val="black">
                  <a:tint val="75000"/>
                </a:prstClr>
              </a:solidFill>
            </a:endParaRPr>
          </a:p>
        </p:txBody>
      </p:sp>
      <p:sp>
        <p:nvSpPr>
          <p:cNvPr id="7" name="Rectangle 6"/>
          <p:cNvSpPr/>
          <p:nvPr userDrawn="1"/>
        </p:nvSpPr>
        <p:spPr>
          <a:xfrm>
            <a:off x="0" y="0"/>
            <a:ext cx="9144000" cy="1005576"/>
          </a:xfrm>
          <a:prstGeom prst="rect">
            <a:avLst/>
          </a:prstGeom>
          <a:blipFill dpi="0" rotWithShape="1">
            <a:blip r:embed="rId1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2" name="Title Placeholder 1"/>
          <p:cNvSpPr>
            <a:spLocks noGrp="1"/>
          </p:cNvSpPr>
          <p:nvPr>
            <p:ph type="title"/>
          </p:nvPr>
        </p:nvSpPr>
        <p:spPr>
          <a:xfrm>
            <a:off x="457201" y="74163"/>
            <a:ext cx="8229600" cy="85725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8" name="Rectangle 7"/>
          <p:cNvSpPr/>
          <p:nvPr userDrawn="1"/>
        </p:nvSpPr>
        <p:spPr>
          <a:xfrm>
            <a:off x="35496" y="4731991"/>
            <a:ext cx="9073008" cy="398009"/>
          </a:xfrm>
          <a:prstGeom prst="rect">
            <a:avLst/>
          </a:prstGeom>
          <a:solidFill>
            <a:srgbClr val="F3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9" name="Date Placeholder 3"/>
          <p:cNvSpPr txBox="1">
            <a:spLocks/>
          </p:cNvSpPr>
          <p:nvPr userDrawn="1"/>
        </p:nvSpPr>
        <p:spPr>
          <a:xfrm>
            <a:off x="350168" y="4836189"/>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E3B26C-73AB-4A40-93F7-43A9E526C3BC}" type="datetime3">
              <a:rPr lang="en-US" sz="1400" smtClean="0">
                <a:solidFill>
                  <a:srgbClr val="666666"/>
                </a:solidFill>
              </a:rPr>
              <a:pPr/>
              <a:t>29 January 2014</a:t>
            </a:fld>
            <a:endParaRPr lang="en-US" sz="1400" dirty="0">
              <a:solidFill>
                <a:srgbClr val="666666"/>
              </a:solidFill>
            </a:endParaRPr>
          </a:p>
        </p:txBody>
      </p:sp>
      <p:sp>
        <p:nvSpPr>
          <p:cNvPr id="10" name="Slide Number Placeholder 5"/>
          <p:cNvSpPr txBox="1">
            <a:spLocks/>
          </p:cNvSpPr>
          <p:nvPr userDrawn="1"/>
        </p:nvSpPr>
        <p:spPr>
          <a:xfrm>
            <a:off x="6686872" y="4836189"/>
            <a:ext cx="21336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400" dirty="0" smtClean="0">
                <a:solidFill>
                  <a:srgbClr val="666666"/>
                </a:solidFill>
              </a:rPr>
              <a:t>Page </a:t>
            </a:r>
            <a:fld id="{AEBC9397-8921-489F-B39C-2E8FC685A84F}" type="slidenum">
              <a:rPr lang="en-US" sz="1400" smtClean="0">
                <a:solidFill>
                  <a:srgbClr val="666666"/>
                </a:solidFill>
              </a:rPr>
              <a:pPr algn="r"/>
              <a:t>‹#›</a:t>
            </a:fld>
            <a:endParaRPr lang="en-US" sz="1400" dirty="0">
              <a:solidFill>
                <a:srgbClr val="666666"/>
              </a:solidFill>
            </a:endParaRPr>
          </a:p>
        </p:txBody>
      </p:sp>
      <p:sp>
        <p:nvSpPr>
          <p:cNvPr id="13" name="Rectangle 12"/>
          <p:cNvSpPr/>
          <p:nvPr userDrawn="1"/>
        </p:nvSpPr>
        <p:spPr>
          <a:xfrm>
            <a:off x="35497" y="4731990"/>
            <a:ext cx="9073008" cy="13500"/>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16" name="Rectangle 15"/>
          <p:cNvSpPr/>
          <p:nvPr userDrawn="1"/>
        </p:nvSpPr>
        <p:spPr>
          <a:xfrm>
            <a:off x="35496" y="897564"/>
            <a:ext cx="9073008" cy="27000"/>
          </a:xfrm>
          <a:prstGeom prst="rect">
            <a:avLst/>
          </a:prstGeom>
          <a:solidFill>
            <a:srgbClr val="1B41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2050" name="Picture 2"/>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617210" y="135000"/>
            <a:ext cx="1059246" cy="649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3874518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Lst>
  <p:hf hdr="0" ftr="0"/>
  <p:txStyles>
    <p:titleStyle>
      <a:lvl1pPr algn="l" defTabSz="914400" rtl="0" eaLnBrk="1" latinLnBrk="0" hangingPunct="1">
        <a:spcBef>
          <a:spcPct val="0"/>
        </a:spcBef>
        <a:buNone/>
        <a:defRPr sz="3600" b="1" kern="1200">
          <a:solidFill>
            <a:srgbClr val="1B4177"/>
          </a:solidFill>
          <a:latin typeface="+mj-lt"/>
          <a:ea typeface="+mj-ea"/>
          <a:cs typeface="+mj-cs"/>
        </a:defRPr>
      </a:lvl1pPr>
    </p:titleStyle>
    <p:bodyStyle>
      <a:lvl1pPr marL="342900" indent="-342900" algn="l" defTabSz="914400" rtl="0" eaLnBrk="1" latinLnBrk="0" hangingPunct="1">
        <a:spcBef>
          <a:spcPct val="20000"/>
        </a:spcBef>
        <a:buClr>
          <a:srgbClr val="EF5E41"/>
        </a:buClr>
        <a:buFont typeface="Arial" pitchFamily="34" charset="0"/>
        <a:buChar char="•"/>
        <a:defRPr sz="3200" kern="1200" baseline="0">
          <a:solidFill>
            <a:srgbClr val="1B4177"/>
          </a:solidFill>
          <a:latin typeface="+mn-lt"/>
          <a:ea typeface="+mn-ea"/>
          <a:cs typeface="+mn-cs"/>
        </a:defRPr>
      </a:lvl1pPr>
      <a:lvl2pPr marL="742950" indent="-285750" algn="l" defTabSz="914400" rtl="0" eaLnBrk="1" latinLnBrk="0" hangingPunct="1">
        <a:spcBef>
          <a:spcPct val="20000"/>
        </a:spcBef>
        <a:buClr>
          <a:srgbClr val="EF5E41"/>
        </a:buClr>
        <a:buFont typeface="Arial" pitchFamily="34" charset="0"/>
        <a:buChar char="–"/>
        <a:defRPr sz="2800" kern="1200" baseline="0">
          <a:solidFill>
            <a:srgbClr val="1B4177"/>
          </a:solidFill>
          <a:latin typeface="+mn-lt"/>
          <a:ea typeface="+mn-ea"/>
          <a:cs typeface="+mn-cs"/>
        </a:defRPr>
      </a:lvl2pPr>
      <a:lvl3pPr marL="1143000" indent="-228600" algn="l" defTabSz="914400" rtl="0" eaLnBrk="1" latinLnBrk="0" hangingPunct="1">
        <a:spcBef>
          <a:spcPct val="20000"/>
        </a:spcBef>
        <a:buClr>
          <a:srgbClr val="EF5E41"/>
        </a:buClr>
        <a:buFont typeface="Arial" pitchFamily="34" charset="0"/>
        <a:buChar char="•"/>
        <a:defRPr sz="2400" kern="1200" baseline="0">
          <a:solidFill>
            <a:srgbClr val="1B4177"/>
          </a:solidFill>
          <a:latin typeface="+mn-lt"/>
          <a:ea typeface="+mn-ea"/>
          <a:cs typeface="+mn-cs"/>
        </a:defRPr>
      </a:lvl3pPr>
      <a:lvl4pPr marL="1600200" indent="-228600" algn="l" defTabSz="914400" rtl="0" eaLnBrk="1" latinLnBrk="0" hangingPunct="1">
        <a:spcBef>
          <a:spcPct val="20000"/>
        </a:spcBef>
        <a:buClr>
          <a:srgbClr val="EF5E41"/>
        </a:buClr>
        <a:buFont typeface="Arial" pitchFamily="34" charset="0"/>
        <a:buChar char="–"/>
        <a:defRPr sz="2000" kern="1200" baseline="0">
          <a:solidFill>
            <a:srgbClr val="1B4177"/>
          </a:solidFill>
          <a:latin typeface="+mn-lt"/>
          <a:ea typeface="+mn-ea"/>
          <a:cs typeface="+mn-cs"/>
        </a:defRPr>
      </a:lvl4pPr>
      <a:lvl5pPr marL="2057400" indent="-228600" algn="l" defTabSz="914400" rtl="0" eaLnBrk="1" latinLnBrk="0" hangingPunct="1">
        <a:spcBef>
          <a:spcPct val="20000"/>
        </a:spcBef>
        <a:buClr>
          <a:srgbClr val="EF5E41"/>
        </a:buClr>
        <a:buFont typeface="Arial" pitchFamily="34" charset="0"/>
        <a:buChar char="»"/>
        <a:defRPr sz="2000" kern="1200" baseline="0">
          <a:solidFill>
            <a:srgbClr val="1B417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smtClean="0"/>
              <a:t>Titelmasterformat durch Klicken bearbeiten</a:t>
            </a:r>
          </a:p>
        </p:txBody>
      </p:sp>
      <p:sp>
        <p:nvSpPr>
          <p:cNvPr id="1027" name="Textplatzhalter 2"/>
          <p:cNvSpPr>
            <a:spLocks noGrp="1"/>
          </p:cNvSpPr>
          <p:nvPr>
            <p:ph type="body" idx="1"/>
          </p:nvPr>
        </p:nvSpPr>
        <p:spPr bwMode="auto">
          <a:xfrm>
            <a:off x="457200" y="1200151"/>
            <a:ext cx="8229600" cy="33944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4" name="Datumsplatzhalt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defTabSz="914400">
              <a:defRPr/>
            </a:pPr>
            <a:fld id="{42168903-D592-478C-9918-D50C573CAB0C}" type="datetime1">
              <a:rPr lang="de-DE" smtClean="0">
                <a:solidFill>
                  <a:prstClr val="black">
                    <a:tint val="75000"/>
                  </a:prstClr>
                </a:solidFill>
              </a:rPr>
              <a:pPr defTabSz="914400">
                <a:defRPr/>
              </a:pPr>
              <a:t>29.01.2014</a:t>
            </a:fld>
            <a:endParaRPr lang="de-DE">
              <a:solidFill>
                <a:prstClr val="black">
                  <a:tint val="75000"/>
                </a:prstClr>
              </a:solidFill>
            </a:endParaRPr>
          </a:p>
        </p:txBody>
      </p:sp>
      <p:sp>
        <p:nvSpPr>
          <p:cNvPr id="5" name="Fußzeilenplatzhalt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defTabSz="914400">
              <a:defRPr/>
            </a:pPr>
            <a:endParaRPr lang="de-DE">
              <a:solidFill>
                <a:prstClr val="black">
                  <a:tint val="75000"/>
                </a:prstClr>
              </a:solidFill>
            </a:endParaRPr>
          </a:p>
        </p:txBody>
      </p:sp>
      <p:sp>
        <p:nvSpPr>
          <p:cNvPr id="6" name="Foliennummernplatzhalt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defTabSz="914400">
              <a:defRPr/>
            </a:pPr>
            <a:fld id="{D5CD935F-BD0F-4005-9ADD-B34F44E1CD08}" type="slidenum">
              <a:rPr lang="de-DE">
                <a:solidFill>
                  <a:prstClr val="black">
                    <a:tint val="75000"/>
                  </a:prstClr>
                </a:solidFill>
              </a:rPr>
              <a:pPr defTabSz="914400">
                <a:defRPr/>
              </a:pPr>
              <a:t>‹#›</a:t>
            </a:fld>
            <a:endParaRPr lang="de-DE">
              <a:solidFill>
                <a:prstClr val="black">
                  <a:tint val="75000"/>
                </a:prstClr>
              </a:solidFill>
            </a:endParaRPr>
          </a:p>
        </p:txBody>
      </p:sp>
    </p:spTree>
    <p:extLst>
      <p:ext uri="{BB962C8B-B14F-4D97-AF65-F5344CB8AC3E}">
        <p14:creationId xmlns:p14="http://schemas.microsoft.com/office/powerpoint/2010/main" val="2910216119"/>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79.xml"/></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9.xml"/><Relationship Id="rId1" Type="http://schemas.openxmlformats.org/officeDocument/2006/relationships/slideLayout" Target="../slideLayouts/slideLayout7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4.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7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33.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4.xml"/></Relationships>
</file>

<file path=ppt/slides/_rels/slide1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4.png"/><Relationship Id="rId7" Type="http://schemas.openxmlformats.org/officeDocument/2006/relationships/image" Target="../media/image37.jpeg"/><Relationship Id="rId2" Type="http://schemas.openxmlformats.org/officeDocument/2006/relationships/notesSlide" Target="../notesSlides/notesSlide15.xml"/><Relationship Id="rId1" Type="http://schemas.openxmlformats.org/officeDocument/2006/relationships/slideLayout" Target="../slideLayouts/slideLayout74.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hyperlink" Target="http://www.icao.int/environmental-protection/Documents/SUSTAF%20Review%5b2%5d.pdf" TargetMode="External"/><Relationship Id="rId9"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19.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16.xml"/><Relationship Id="rId1" Type="http://schemas.openxmlformats.org/officeDocument/2006/relationships/slideLayout" Target="../slideLayouts/slideLayout95.xml"/></Relationships>
</file>

<file path=ppt/slides/_rels/slide2.xml.rels><?xml version="1.0" encoding="UTF-8" standalone="yes"?>
<Relationships xmlns="http://schemas.openxmlformats.org/package/2006/relationships"><Relationship Id="rId8" Type="http://schemas.openxmlformats.org/officeDocument/2006/relationships/image" Target="../media/image18.gif"/><Relationship Id="rId3" Type="http://schemas.openxmlformats.org/officeDocument/2006/relationships/image" Target="../media/image14.png"/><Relationship Id="rId7" Type="http://schemas.openxmlformats.org/officeDocument/2006/relationships/image" Target="../media/image17.jpeg"/><Relationship Id="rId12"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hyperlink" Target="http://www.matchc.com/flags/australia.html" TargetMode="External"/><Relationship Id="rId11" Type="http://schemas.openxmlformats.org/officeDocument/2006/relationships/image" Target="../media/image21.gif"/><Relationship Id="rId5" Type="http://schemas.openxmlformats.org/officeDocument/2006/relationships/image" Target="../media/image16.png"/><Relationship Id="rId10" Type="http://schemas.openxmlformats.org/officeDocument/2006/relationships/image" Target="../media/image20.gif"/><Relationship Id="rId4" Type="http://schemas.openxmlformats.org/officeDocument/2006/relationships/image" Target="../media/image15.png"/><Relationship Id="rId9" Type="http://schemas.openxmlformats.org/officeDocument/2006/relationships/image" Target="../media/image19.gif"/></Relationships>
</file>

<file path=ppt/slides/_rels/slide20.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17.xml"/><Relationship Id="rId1" Type="http://schemas.openxmlformats.org/officeDocument/2006/relationships/slideLayout" Target="../slideLayouts/slideLayout95.xml"/><Relationship Id="rId4" Type="http://schemas.openxmlformats.org/officeDocument/2006/relationships/image" Target="../media/image42.emf"/></Relationships>
</file>

<file path=ppt/slides/_rels/slide21.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18.xml"/><Relationship Id="rId1" Type="http://schemas.openxmlformats.org/officeDocument/2006/relationships/slideLayout" Target="../slideLayouts/slideLayout95.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jpeg"/></Relationships>
</file>

<file path=ppt/slides/_rels/slide22.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jpeg"/><Relationship Id="rId18" Type="http://schemas.openxmlformats.org/officeDocument/2006/relationships/image" Target="../media/image60.png"/><Relationship Id="rId26" Type="http://schemas.openxmlformats.org/officeDocument/2006/relationships/image" Target="../media/image68.png"/><Relationship Id="rId3" Type="http://schemas.openxmlformats.org/officeDocument/2006/relationships/image" Target="../media/image41.wmf"/><Relationship Id="rId21" Type="http://schemas.openxmlformats.org/officeDocument/2006/relationships/image" Target="../media/image63.jpeg"/><Relationship Id="rId34" Type="http://schemas.openxmlformats.org/officeDocument/2006/relationships/image" Target="../media/image76.png"/><Relationship Id="rId7" Type="http://schemas.openxmlformats.org/officeDocument/2006/relationships/image" Target="../media/image49.jpeg"/><Relationship Id="rId12" Type="http://schemas.openxmlformats.org/officeDocument/2006/relationships/image" Target="../media/image54.png"/><Relationship Id="rId17" Type="http://schemas.openxmlformats.org/officeDocument/2006/relationships/image" Target="../media/image59.png"/><Relationship Id="rId25" Type="http://schemas.openxmlformats.org/officeDocument/2006/relationships/image" Target="../media/image67.png"/><Relationship Id="rId33" Type="http://schemas.openxmlformats.org/officeDocument/2006/relationships/image" Target="../media/image75.png"/><Relationship Id="rId2" Type="http://schemas.openxmlformats.org/officeDocument/2006/relationships/notesSlide" Target="../notesSlides/notesSlide19.xml"/><Relationship Id="rId16" Type="http://schemas.openxmlformats.org/officeDocument/2006/relationships/image" Target="../media/image58.jpeg"/><Relationship Id="rId20" Type="http://schemas.openxmlformats.org/officeDocument/2006/relationships/image" Target="../media/image62.png"/><Relationship Id="rId29" Type="http://schemas.openxmlformats.org/officeDocument/2006/relationships/image" Target="../media/image71.jpeg"/><Relationship Id="rId1" Type="http://schemas.openxmlformats.org/officeDocument/2006/relationships/slideLayout" Target="../slideLayouts/slideLayout95.xml"/><Relationship Id="rId6" Type="http://schemas.openxmlformats.org/officeDocument/2006/relationships/image" Target="../media/image48.png"/><Relationship Id="rId11" Type="http://schemas.openxmlformats.org/officeDocument/2006/relationships/image" Target="../media/image53.png"/><Relationship Id="rId24" Type="http://schemas.openxmlformats.org/officeDocument/2006/relationships/image" Target="../media/image66.png"/><Relationship Id="rId32" Type="http://schemas.openxmlformats.org/officeDocument/2006/relationships/image" Target="../media/image74.jpeg"/><Relationship Id="rId5" Type="http://schemas.openxmlformats.org/officeDocument/2006/relationships/image" Target="../media/image47.jpeg"/><Relationship Id="rId15" Type="http://schemas.openxmlformats.org/officeDocument/2006/relationships/image" Target="../media/image57.jpeg"/><Relationship Id="rId23" Type="http://schemas.openxmlformats.org/officeDocument/2006/relationships/image" Target="../media/image65.png"/><Relationship Id="rId28" Type="http://schemas.openxmlformats.org/officeDocument/2006/relationships/image" Target="../media/image70.jpeg"/><Relationship Id="rId36" Type="http://schemas.openxmlformats.org/officeDocument/2006/relationships/image" Target="../media/image78.png"/><Relationship Id="rId10" Type="http://schemas.openxmlformats.org/officeDocument/2006/relationships/image" Target="../media/image52.png"/><Relationship Id="rId19" Type="http://schemas.openxmlformats.org/officeDocument/2006/relationships/image" Target="../media/image61.jpeg"/><Relationship Id="rId31" Type="http://schemas.openxmlformats.org/officeDocument/2006/relationships/image" Target="../media/image73.jpeg"/><Relationship Id="rId4" Type="http://schemas.openxmlformats.org/officeDocument/2006/relationships/image" Target="../media/image46.jpeg"/><Relationship Id="rId9" Type="http://schemas.openxmlformats.org/officeDocument/2006/relationships/image" Target="../media/image51.jpeg"/><Relationship Id="rId14" Type="http://schemas.openxmlformats.org/officeDocument/2006/relationships/image" Target="../media/image56.jpeg"/><Relationship Id="rId22" Type="http://schemas.openxmlformats.org/officeDocument/2006/relationships/image" Target="../media/image64.png"/><Relationship Id="rId27" Type="http://schemas.openxmlformats.org/officeDocument/2006/relationships/image" Target="../media/image69.jpeg"/><Relationship Id="rId30" Type="http://schemas.openxmlformats.org/officeDocument/2006/relationships/image" Target="../media/image72.png"/><Relationship Id="rId35" Type="http://schemas.openxmlformats.org/officeDocument/2006/relationships/image" Target="../media/image77.jpeg"/></Relationships>
</file>

<file path=ppt/slides/_rels/slide23.xml.rels><?xml version="1.0" encoding="UTF-8" standalone="yes"?>
<Relationships xmlns="http://schemas.openxmlformats.org/package/2006/relationships"><Relationship Id="rId8" Type="http://schemas.openxmlformats.org/officeDocument/2006/relationships/image" Target="../media/image83.gif"/><Relationship Id="rId3" Type="http://schemas.openxmlformats.org/officeDocument/2006/relationships/image" Target="../media/image41.wmf"/><Relationship Id="rId7" Type="http://schemas.openxmlformats.org/officeDocument/2006/relationships/image" Target="../media/image82.jpeg"/><Relationship Id="rId2" Type="http://schemas.openxmlformats.org/officeDocument/2006/relationships/notesSlide" Target="../notesSlides/notesSlide20.xml"/><Relationship Id="rId1" Type="http://schemas.openxmlformats.org/officeDocument/2006/relationships/slideLayout" Target="../slideLayouts/slideLayout95.xml"/><Relationship Id="rId6" Type="http://schemas.openxmlformats.org/officeDocument/2006/relationships/image" Target="../media/image81.jpeg"/><Relationship Id="rId5" Type="http://schemas.openxmlformats.org/officeDocument/2006/relationships/image" Target="../media/image80.png"/><Relationship Id="rId4" Type="http://schemas.openxmlformats.org/officeDocument/2006/relationships/image" Target="../media/image79.jpeg"/></Relationships>
</file>

<file path=ppt/slides/_rels/slide24.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21.xml"/><Relationship Id="rId1" Type="http://schemas.openxmlformats.org/officeDocument/2006/relationships/slideLayout" Target="../slideLayouts/slideLayout95.xml"/><Relationship Id="rId5" Type="http://schemas.openxmlformats.org/officeDocument/2006/relationships/image" Target="../media/image85.jpeg"/><Relationship Id="rId4" Type="http://schemas.openxmlformats.org/officeDocument/2006/relationships/image" Target="../media/image84.jpeg"/></Relationships>
</file>

<file path=ppt/slides/_rels/slide25.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22.xml"/><Relationship Id="rId1" Type="http://schemas.openxmlformats.org/officeDocument/2006/relationships/slideLayout" Target="../slideLayouts/slideLayout95.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26.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23.xml"/><Relationship Id="rId1" Type="http://schemas.openxmlformats.org/officeDocument/2006/relationships/slideLayout" Target="../slideLayouts/slideLayout84.xml"/><Relationship Id="rId4" Type="http://schemas.openxmlformats.org/officeDocument/2006/relationships/image" Target="../media/image89.png"/></Relationships>
</file>

<file path=ppt/slides/_rels/slide27.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6.png"/><Relationship Id="rId3" Type="http://schemas.openxmlformats.org/officeDocument/2006/relationships/tags" Target="../tags/tag3.xml"/><Relationship Id="rId7" Type="http://schemas.openxmlformats.org/officeDocument/2006/relationships/image" Target="../media/image91.png"/><Relationship Id="rId12" Type="http://schemas.openxmlformats.org/officeDocument/2006/relationships/image" Target="../media/image9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0.png"/><Relationship Id="rId11" Type="http://schemas.openxmlformats.org/officeDocument/2006/relationships/image" Target="../media/image41.wmf"/><Relationship Id="rId5" Type="http://schemas.openxmlformats.org/officeDocument/2006/relationships/notesSlide" Target="../notesSlides/notesSlide24.xml"/><Relationship Id="rId10" Type="http://schemas.openxmlformats.org/officeDocument/2006/relationships/image" Target="../media/image94.png"/><Relationship Id="rId4" Type="http://schemas.openxmlformats.org/officeDocument/2006/relationships/slideLayout" Target="../slideLayouts/slideLayout84.xml"/><Relationship Id="rId9" Type="http://schemas.openxmlformats.org/officeDocument/2006/relationships/image" Target="../media/image93.jpeg"/></Relationships>
</file>

<file path=ppt/slides/_rels/slide2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5.xml"/><Relationship Id="rId1" Type="http://schemas.openxmlformats.org/officeDocument/2006/relationships/slideLayout" Target="../slideLayouts/slideLayout84.xml"/><Relationship Id="rId5" Type="http://schemas.openxmlformats.org/officeDocument/2006/relationships/image" Target="../media/image98.png"/><Relationship Id="rId4" Type="http://schemas.openxmlformats.org/officeDocument/2006/relationships/image" Target="../media/image41.wmf"/></Relationships>
</file>

<file path=ppt/slides/_rels/slide29.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26.xml"/><Relationship Id="rId1" Type="http://schemas.openxmlformats.org/officeDocument/2006/relationships/slideLayout" Target="../slideLayouts/slideLayout84.xml"/><Relationship Id="rId4" Type="http://schemas.openxmlformats.org/officeDocument/2006/relationships/image" Target="../media/image99.png"/></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62.xml"/><Relationship Id="rId4" Type="http://schemas.openxmlformats.org/officeDocument/2006/relationships/image" Target="../media/image13.jpeg"/></Relationships>
</file>

<file path=ppt/slides/_rels/slide3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7.xml"/><Relationship Id="rId1" Type="http://schemas.openxmlformats.org/officeDocument/2006/relationships/slideLayout" Target="../slideLayouts/slideLayout84.xml"/><Relationship Id="rId4" Type="http://schemas.openxmlformats.org/officeDocument/2006/relationships/image" Target="../media/image41.wmf"/></Relationships>
</file>

<file path=ppt/slides/_rels/slide31.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28.xml"/><Relationship Id="rId1" Type="http://schemas.openxmlformats.org/officeDocument/2006/relationships/slideLayout" Target="../slideLayouts/slideLayout84.xml"/><Relationship Id="rId4" Type="http://schemas.openxmlformats.org/officeDocument/2006/relationships/image" Target="../media/image101.png"/></Relationships>
</file>

<file path=ppt/slides/_rels/slide3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33.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png"/><Relationship Id="rId1" Type="http://schemas.openxmlformats.org/officeDocument/2006/relationships/slideLayout" Target="../slideLayouts/slideLayout24.xml"/><Relationship Id="rId5" Type="http://schemas.openxmlformats.org/officeDocument/2006/relationships/image" Target="../media/image107.jpeg"/><Relationship Id="rId4" Type="http://schemas.openxmlformats.org/officeDocument/2006/relationships/image" Target="../media/image106.emf"/></Relationships>
</file>

<file path=ppt/slides/_rels/slide36.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30.xml"/><Relationship Id="rId1" Type="http://schemas.openxmlformats.org/officeDocument/2006/relationships/slideLayout" Target="../slideLayouts/slideLayout24.xml"/><Relationship Id="rId5" Type="http://schemas.openxmlformats.org/officeDocument/2006/relationships/hyperlink" Target="aisaf.org.au" TargetMode="External"/><Relationship Id="rId4" Type="http://schemas.openxmlformats.org/officeDocument/2006/relationships/image" Target="../media/image10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1.xml"/><Relationship Id="rId1" Type="http://schemas.openxmlformats.org/officeDocument/2006/relationships/slideLayout" Target="../slideLayouts/slideLayout24.xml"/><Relationship Id="rId6" Type="http://schemas.openxmlformats.org/officeDocument/2006/relationships/image" Target="../media/image111.jpg"/><Relationship Id="rId5" Type="http://schemas.openxmlformats.org/officeDocument/2006/relationships/hyperlink" Target="http://www.aisaf.org.au/events/advanced-biofuels-industry-day" TargetMode="External"/><Relationship Id="rId4" Type="http://schemas.openxmlformats.org/officeDocument/2006/relationships/hyperlink" Target="http://www.aisaf.org.au/events/low-carbon-jet-fuel-the-industry-flight-path" TargetMode="External"/></Relationships>
</file>

<file path=ppt/slides/_rels/slide3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3.xml"/></Relationships>
</file>

<file path=ppt/slides/_rels/slide40.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notesSlide" Target="../notesSlides/notesSlide32.xml"/><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42.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33.xml"/><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4.xml"/><Relationship Id="rId1" Type="http://schemas.openxmlformats.org/officeDocument/2006/relationships/slideLayout" Target="../slideLayouts/slideLayout36.xml"/><Relationship Id="rId4" Type="http://schemas.openxmlformats.org/officeDocument/2006/relationships/image" Target="../media/image115.png"/></Relationships>
</file>

<file path=ppt/slides/_rels/slide4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5.xml"/><Relationship Id="rId1" Type="http://schemas.openxmlformats.org/officeDocument/2006/relationships/slideLayout" Target="../slideLayouts/slideLayout47.xml"/></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6.xml"/><Relationship Id="rId1" Type="http://schemas.openxmlformats.org/officeDocument/2006/relationships/slideLayout" Target="../slideLayouts/slideLayout4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7.xml"/><Relationship Id="rId1" Type="http://schemas.openxmlformats.org/officeDocument/2006/relationships/slideLayout" Target="../slideLayouts/slideLayout4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7.xml.rels><?xml version="1.0" encoding="UTF-8" standalone="yes"?>
<Relationships xmlns="http://schemas.openxmlformats.org/package/2006/relationships"><Relationship Id="rId2" Type="http://schemas.openxmlformats.org/officeDocument/2006/relationships/hyperlink" Target="mailto:alexandre.filizola@anac.gov.br" TargetMode="External"/><Relationship Id="rId1" Type="http://schemas.openxmlformats.org/officeDocument/2006/relationships/slideLayout" Target="../slideLayouts/slideLayout48.xml"/></Relationships>
</file>

<file path=ppt/slides/_rels/slide48.xml.rels><?xml version="1.0" encoding="UTF-8" standalone="yes"?>
<Relationships xmlns="http://schemas.openxmlformats.org/package/2006/relationships"><Relationship Id="rId2" Type="http://schemas.openxmlformats.org/officeDocument/2006/relationships/image" Target="../media/image117.jpg"/><Relationship Id="rId1" Type="http://schemas.openxmlformats.org/officeDocument/2006/relationships/slideLayout" Target="../slideLayouts/slideLayout58.xml"/></Relationships>
</file>

<file path=ppt/slides/_rels/slide49.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image" Target="../media/image118.png"/><Relationship Id="rId1" Type="http://schemas.openxmlformats.org/officeDocument/2006/relationships/slideLayout" Target="../slideLayouts/slideLayout60.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 Id="rId9" Type="http://schemas.openxmlformats.org/officeDocument/2006/relationships/image" Target="../media/image12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4.xml"/></Relationships>
</file>

<file path=ppt/slides/_rels/slide50.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image" Target="../media/image126.png"/><Relationship Id="rId1" Type="http://schemas.openxmlformats.org/officeDocument/2006/relationships/slideLayout" Target="../slideLayouts/slideLayout58.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 Id="rId9" Type="http://schemas.openxmlformats.org/officeDocument/2006/relationships/image" Target="../media/image132.png"/></Relationships>
</file>

<file path=ppt/slides/_rels/slide51.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image" Target="../media/image133.jpg"/><Relationship Id="rId1" Type="http://schemas.openxmlformats.org/officeDocument/2006/relationships/slideLayout" Target="../slideLayouts/slideLayout60.xml"/><Relationship Id="rId6" Type="http://schemas.openxmlformats.org/officeDocument/2006/relationships/image" Target="../media/image137.png"/><Relationship Id="rId5" Type="http://schemas.openxmlformats.org/officeDocument/2006/relationships/image" Target="../media/image136.png"/><Relationship Id="rId10" Type="http://schemas.openxmlformats.org/officeDocument/2006/relationships/image" Target="../media/image141.png"/><Relationship Id="rId4" Type="http://schemas.openxmlformats.org/officeDocument/2006/relationships/image" Target="../media/image135.png"/><Relationship Id="rId9" Type="http://schemas.openxmlformats.org/officeDocument/2006/relationships/image" Target="../media/image140.png"/></Relationships>
</file>

<file path=ppt/slides/_rels/slide52.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image" Target="../media/image142.png"/><Relationship Id="rId1" Type="http://schemas.openxmlformats.org/officeDocument/2006/relationships/slideLayout" Target="../slideLayouts/slideLayout60.xml"/><Relationship Id="rId6" Type="http://schemas.openxmlformats.org/officeDocument/2006/relationships/image" Target="../media/image146.png"/><Relationship Id="rId5" Type="http://schemas.openxmlformats.org/officeDocument/2006/relationships/image" Target="../media/image145.png"/><Relationship Id="rId10" Type="http://schemas.openxmlformats.org/officeDocument/2006/relationships/image" Target="../media/image150.png"/><Relationship Id="rId4" Type="http://schemas.openxmlformats.org/officeDocument/2006/relationships/image" Target="../media/image144.png"/><Relationship Id="rId9" Type="http://schemas.openxmlformats.org/officeDocument/2006/relationships/image" Target="../media/image149.png"/></Relationships>
</file>

<file path=ppt/slides/_rels/slide53.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image" Target="../media/image126.png"/><Relationship Id="rId1" Type="http://schemas.openxmlformats.org/officeDocument/2006/relationships/slideLayout" Target="../slideLayouts/slideLayout60.xml"/><Relationship Id="rId6" Type="http://schemas.openxmlformats.org/officeDocument/2006/relationships/image" Target="../media/image154.png"/><Relationship Id="rId5" Type="http://schemas.openxmlformats.org/officeDocument/2006/relationships/image" Target="../media/image153.png"/><Relationship Id="rId10" Type="http://schemas.openxmlformats.org/officeDocument/2006/relationships/image" Target="../media/image158.png"/><Relationship Id="rId4" Type="http://schemas.openxmlformats.org/officeDocument/2006/relationships/image" Target="../media/image152.png"/><Relationship Id="rId9" Type="http://schemas.openxmlformats.org/officeDocument/2006/relationships/image" Target="../media/image157.png"/></Relationships>
</file>

<file path=ppt/slides/_rels/slide54.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60.png"/><Relationship Id="rId7" Type="http://schemas.openxmlformats.org/officeDocument/2006/relationships/image" Target="../media/image164.png"/><Relationship Id="rId2" Type="http://schemas.openxmlformats.org/officeDocument/2006/relationships/image" Target="../media/image159.png"/><Relationship Id="rId1" Type="http://schemas.openxmlformats.org/officeDocument/2006/relationships/slideLayout" Target="../slideLayouts/slideLayout60.xml"/><Relationship Id="rId6" Type="http://schemas.openxmlformats.org/officeDocument/2006/relationships/image" Target="../media/image163.png"/><Relationship Id="rId5" Type="http://schemas.openxmlformats.org/officeDocument/2006/relationships/image" Target="../media/image162.png"/><Relationship Id="rId10" Type="http://schemas.openxmlformats.org/officeDocument/2006/relationships/image" Target="../media/image167.jpg"/><Relationship Id="rId4" Type="http://schemas.openxmlformats.org/officeDocument/2006/relationships/image" Target="../media/image161.png"/><Relationship Id="rId9" Type="http://schemas.openxmlformats.org/officeDocument/2006/relationships/image" Target="../media/image166.png"/></Relationships>
</file>

<file path=ppt/slides/_rels/slide55.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8.png"/><Relationship Id="rId7" Type="http://schemas.openxmlformats.org/officeDocument/2006/relationships/image" Target="../media/image172.png"/><Relationship Id="rId2" Type="http://schemas.openxmlformats.org/officeDocument/2006/relationships/image" Target="../media/image126.png"/><Relationship Id="rId1" Type="http://schemas.openxmlformats.org/officeDocument/2006/relationships/slideLayout" Target="../slideLayouts/slideLayout60.xml"/><Relationship Id="rId6" Type="http://schemas.openxmlformats.org/officeDocument/2006/relationships/image" Target="../media/image171.png"/><Relationship Id="rId5" Type="http://schemas.openxmlformats.org/officeDocument/2006/relationships/image" Target="../media/image170.png"/><Relationship Id="rId10" Type="http://schemas.openxmlformats.org/officeDocument/2006/relationships/image" Target="../media/image175.jpg"/><Relationship Id="rId4" Type="http://schemas.openxmlformats.org/officeDocument/2006/relationships/image" Target="../media/image169.png"/><Relationship Id="rId9" Type="http://schemas.openxmlformats.org/officeDocument/2006/relationships/image" Target="../media/image174.png"/></Relationships>
</file>

<file path=ppt/slides/_rels/slide56.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76.png"/><Relationship Id="rId7" Type="http://schemas.openxmlformats.org/officeDocument/2006/relationships/image" Target="../media/image180.png"/><Relationship Id="rId2" Type="http://schemas.openxmlformats.org/officeDocument/2006/relationships/image" Target="../media/image126.png"/><Relationship Id="rId1" Type="http://schemas.openxmlformats.org/officeDocument/2006/relationships/slideLayout" Target="../slideLayouts/slideLayout60.xml"/><Relationship Id="rId6" Type="http://schemas.openxmlformats.org/officeDocument/2006/relationships/image" Target="../media/image179.png"/><Relationship Id="rId5" Type="http://schemas.openxmlformats.org/officeDocument/2006/relationships/image" Target="../media/image178.png"/><Relationship Id="rId10" Type="http://schemas.openxmlformats.org/officeDocument/2006/relationships/image" Target="../media/image183.jpg"/><Relationship Id="rId4" Type="http://schemas.openxmlformats.org/officeDocument/2006/relationships/image" Target="../media/image177.png"/><Relationship Id="rId9" Type="http://schemas.openxmlformats.org/officeDocument/2006/relationships/image" Target="../media/image182.png"/></Relationships>
</file>

<file path=ppt/slides/_rels/slide57.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image" Target="../media/image184.png"/><Relationship Id="rId7" Type="http://schemas.openxmlformats.org/officeDocument/2006/relationships/image" Target="../media/image188.png"/><Relationship Id="rId2" Type="http://schemas.openxmlformats.org/officeDocument/2006/relationships/hyperlink" Target="mailto:mike.lu.44@gmail.com" TargetMode="External"/><Relationship Id="rId1" Type="http://schemas.openxmlformats.org/officeDocument/2006/relationships/slideLayout" Target="../slideLayouts/slideLayout61.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5.png"/></Relationships>
</file>

<file path=ppt/slides/_rels/slide5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59.xml.rels><?xml version="1.0" encoding="UTF-8" standalone="yes"?>
<Relationships xmlns="http://schemas.openxmlformats.org/package/2006/relationships"><Relationship Id="rId8" Type="http://schemas.openxmlformats.org/officeDocument/2006/relationships/image" Target="../media/image194.jpeg"/><Relationship Id="rId13" Type="http://schemas.openxmlformats.org/officeDocument/2006/relationships/image" Target="../media/image199.png"/><Relationship Id="rId18" Type="http://schemas.openxmlformats.org/officeDocument/2006/relationships/image" Target="../media/image204.png"/><Relationship Id="rId26" Type="http://schemas.openxmlformats.org/officeDocument/2006/relationships/hyperlink" Target="http://www.algaenergy.es/" TargetMode="External"/><Relationship Id="rId3" Type="http://schemas.openxmlformats.org/officeDocument/2006/relationships/image" Target="../media/image190.png"/><Relationship Id="rId21" Type="http://schemas.openxmlformats.org/officeDocument/2006/relationships/image" Target="../media/image206.jpeg"/><Relationship Id="rId34" Type="http://schemas.openxmlformats.org/officeDocument/2006/relationships/image" Target="../media/image218.jpeg"/><Relationship Id="rId7" Type="http://schemas.openxmlformats.org/officeDocument/2006/relationships/hyperlink" Target="http://senasaaldia.senasa.es/wiki/docs/7_LOG_SEN.jpg" TargetMode="External"/><Relationship Id="rId12" Type="http://schemas.openxmlformats.org/officeDocument/2006/relationships/image" Target="../media/image198.png"/><Relationship Id="rId17" Type="http://schemas.openxmlformats.org/officeDocument/2006/relationships/image" Target="../media/image203.png"/><Relationship Id="rId25" Type="http://schemas.openxmlformats.org/officeDocument/2006/relationships/image" Target="../media/image210.gif"/><Relationship Id="rId33" Type="http://schemas.openxmlformats.org/officeDocument/2006/relationships/image" Target="../media/image217.png"/><Relationship Id="rId2" Type="http://schemas.openxmlformats.org/officeDocument/2006/relationships/notesSlide" Target="../notesSlides/notesSlide38.xml"/><Relationship Id="rId16" Type="http://schemas.openxmlformats.org/officeDocument/2006/relationships/image" Target="../media/image202.png"/><Relationship Id="rId20" Type="http://schemas.openxmlformats.org/officeDocument/2006/relationships/image" Target="../media/image205.jpeg"/><Relationship Id="rId29" Type="http://schemas.openxmlformats.org/officeDocument/2006/relationships/image" Target="../media/image213.png"/><Relationship Id="rId1" Type="http://schemas.openxmlformats.org/officeDocument/2006/relationships/slideLayout" Target="../slideLayouts/slideLayout107.xml"/><Relationship Id="rId6" Type="http://schemas.openxmlformats.org/officeDocument/2006/relationships/image" Target="../media/image193.jpeg"/><Relationship Id="rId11" Type="http://schemas.openxmlformats.org/officeDocument/2006/relationships/image" Target="../media/image197.png"/><Relationship Id="rId24" Type="http://schemas.openxmlformats.org/officeDocument/2006/relationships/image" Target="../media/image209.jpeg"/><Relationship Id="rId32" Type="http://schemas.openxmlformats.org/officeDocument/2006/relationships/image" Target="../media/image216.png"/><Relationship Id="rId37" Type="http://schemas.openxmlformats.org/officeDocument/2006/relationships/image" Target="../media/image221.jpeg"/><Relationship Id="rId5" Type="http://schemas.openxmlformats.org/officeDocument/2006/relationships/image" Target="../media/image192.png"/><Relationship Id="rId15" Type="http://schemas.openxmlformats.org/officeDocument/2006/relationships/image" Target="../media/image201.png"/><Relationship Id="rId23" Type="http://schemas.openxmlformats.org/officeDocument/2006/relationships/image" Target="../media/image208.jpeg"/><Relationship Id="rId28" Type="http://schemas.openxmlformats.org/officeDocument/2006/relationships/image" Target="../media/image212.png"/><Relationship Id="rId36" Type="http://schemas.openxmlformats.org/officeDocument/2006/relationships/image" Target="../media/image220.jpeg"/><Relationship Id="rId10" Type="http://schemas.openxmlformats.org/officeDocument/2006/relationships/image" Target="../media/image196.png"/><Relationship Id="rId19" Type="http://schemas.openxmlformats.org/officeDocument/2006/relationships/hyperlink" Target="http://www.rri-iberia.com/" TargetMode="External"/><Relationship Id="rId31" Type="http://schemas.openxmlformats.org/officeDocument/2006/relationships/image" Target="../media/image215.png"/><Relationship Id="rId4" Type="http://schemas.openxmlformats.org/officeDocument/2006/relationships/image" Target="../media/image191.png"/><Relationship Id="rId9" Type="http://schemas.openxmlformats.org/officeDocument/2006/relationships/image" Target="../media/image195.jpeg"/><Relationship Id="rId14" Type="http://schemas.openxmlformats.org/officeDocument/2006/relationships/image" Target="../media/image200.jpeg"/><Relationship Id="rId22" Type="http://schemas.openxmlformats.org/officeDocument/2006/relationships/image" Target="../media/image207.png"/><Relationship Id="rId27" Type="http://schemas.openxmlformats.org/officeDocument/2006/relationships/image" Target="../media/image211.png"/><Relationship Id="rId30" Type="http://schemas.openxmlformats.org/officeDocument/2006/relationships/image" Target="../media/image214.jpeg"/><Relationship Id="rId35" Type="http://schemas.openxmlformats.org/officeDocument/2006/relationships/image" Target="../media/image219.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4.xml"/></Relationships>
</file>

<file path=ppt/slides/_rels/slide60.xml.rels><?xml version="1.0" encoding="UTF-8" standalone="yes"?>
<Relationships xmlns="http://schemas.openxmlformats.org/package/2006/relationships"><Relationship Id="rId8" Type="http://schemas.openxmlformats.org/officeDocument/2006/relationships/image" Target="../media/image195.jpeg"/><Relationship Id="rId13" Type="http://schemas.openxmlformats.org/officeDocument/2006/relationships/image" Target="../media/image224.jpeg"/><Relationship Id="rId3" Type="http://schemas.openxmlformats.org/officeDocument/2006/relationships/image" Target="../media/image222.jpeg"/><Relationship Id="rId7" Type="http://schemas.openxmlformats.org/officeDocument/2006/relationships/image" Target="../media/image193.jpeg"/><Relationship Id="rId12" Type="http://schemas.openxmlformats.org/officeDocument/2006/relationships/image" Target="../media/image223.gif"/><Relationship Id="rId2" Type="http://schemas.openxmlformats.org/officeDocument/2006/relationships/notesSlide" Target="../notesSlides/notesSlide39.xml"/><Relationship Id="rId1" Type="http://schemas.openxmlformats.org/officeDocument/2006/relationships/slideLayout" Target="../slideLayouts/slideLayout107.xml"/><Relationship Id="rId6" Type="http://schemas.openxmlformats.org/officeDocument/2006/relationships/image" Target="../media/image192.png"/><Relationship Id="rId11" Type="http://schemas.openxmlformats.org/officeDocument/2006/relationships/image" Target="../media/image217.png"/><Relationship Id="rId5" Type="http://schemas.openxmlformats.org/officeDocument/2006/relationships/image" Target="../media/image191.png"/><Relationship Id="rId10" Type="http://schemas.openxmlformats.org/officeDocument/2006/relationships/image" Target="../media/image216.png"/><Relationship Id="rId4" Type="http://schemas.openxmlformats.org/officeDocument/2006/relationships/image" Target="../media/image190.png"/><Relationship Id="rId9" Type="http://schemas.openxmlformats.org/officeDocument/2006/relationships/image" Target="../media/image215.png"/><Relationship Id="rId14" Type="http://schemas.openxmlformats.org/officeDocument/2006/relationships/image" Target="../media/image225.png"/></Relationships>
</file>

<file path=ppt/slides/_rels/slide61.xml.rels><?xml version="1.0" encoding="UTF-8" standalone="yes"?>
<Relationships xmlns="http://schemas.openxmlformats.org/package/2006/relationships"><Relationship Id="rId8" Type="http://schemas.openxmlformats.org/officeDocument/2006/relationships/image" Target="../media/image215.png"/><Relationship Id="rId13" Type="http://schemas.openxmlformats.org/officeDocument/2006/relationships/image" Target="../media/image226.jpeg"/><Relationship Id="rId3" Type="http://schemas.openxmlformats.org/officeDocument/2006/relationships/image" Target="../media/image190.png"/><Relationship Id="rId7" Type="http://schemas.openxmlformats.org/officeDocument/2006/relationships/image" Target="../media/image195.jpeg"/><Relationship Id="rId12" Type="http://schemas.openxmlformats.org/officeDocument/2006/relationships/image" Target="../media/image224.jpeg"/><Relationship Id="rId2" Type="http://schemas.openxmlformats.org/officeDocument/2006/relationships/notesSlide" Target="../notesSlides/notesSlide40.xml"/><Relationship Id="rId16" Type="http://schemas.openxmlformats.org/officeDocument/2006/relationships/image" Target="../media/image228.jpeg"/><Relationship Id="rId1" Type="http://schemas.openxmlformats.org/officeDocument/2006/relationships/slideLayout" Target="../slideLayouts/slideLayout107.xml"/><Relationship Id="rId6" Type="http://schemas.openxmlformats.org/officeDocument/2006/relationships/image" Target="../media/image193.jpeg"/><Relationship Id="rId11" Type="http://schemas.openxmlformats.org/officeDocument/2006/relationships/image" Target="../media/image223.gif"/><Relationship Id="rId5" Type="http://schemas.openxmlformats.org/officeDocument/2006/relationships/image" Target="../media/image192.png"/><Relationship Id="rId15" Type="http://schemas.openxmlformats.org/officeDocument/2006/relationships/image" Target="../media/image221.jpeg"/><Relationship Id="rId10" Type="http://schemas.openxmlformats.org/officeDocument/2006/relationships/image" Target="../media/image217.png"/><Relationship Id="rId4" Type="http://schemas.openxmlformats.org/officeDocument/2006/relationships/image" Target="../media/image191.png"/><Relationship Id="rId9" Type="http://schemas.openxmlformats.org/officeDocument/2006/relationships/image" Target="../media/image216.png"/><Relationship Id="rId14" Type="http://schemas.openxmlformats.org/officeDocument/2006/relationships/image" Target="../media/image227.jpeg"/></Relationships>
</file>

<file path=ppt/slides/_rels/slide62.xml.rels><?xml version="1.0" encoding="UTF-8" standalone="yes"?>
<Relationships xmlns="http://schemas.openxmlformats.org/package/2006/relationships"><Relationship Id="rId8" Type="http://schemas.openxmlformats.org/officeDocument/2006/relationships/image" Target="../media/image215.png"/><Relationship Id="rId13" Type="http://schemas.openxmlformats.org/officeDocument/2006/relationships/image" Target="../media/image194.jpeg"/><Relationship Id="rId3" Type="http://schemas.openxmlformats.org/officeDocument/2006/relationships/image" Target="../media/image190.png"/><Relationship Id="rId7" Type="http://schemas.openxmlformats.org/officeDocument/2006/relationships/image" Target="../media/image195.jpeg"/><Relationship Id="rId12" Type="http://schemas.openxmlformats.org/officeDocument/2006/relationships/hyperlink" Target="http://senasaaldia.senasa.es/wiki/docs/7_LOG_SEN.jpg" TargetMode="External"/><Relationship Id="rId17" Type="http://schemas.openxmlformats.org/officeDocument/2006/relationships/image" Target="../media/image223.gif"/><Relationship Id="rId2" Type="http://schemas.openxmlformats.org/officeDocument/2006/relationships/notesSlide" Target="../notesSlides/notesSlide41.xml"/><Relationship Id="rId16" Type="http://schemas.openxmlformats.org/officeDocument/2006/relationships/image" Target="../media/image232.jpeg"/><Relationship Id="rId1" Type="http://schemas.openxmlformats.org/officeDocument/2006/relationships/slideLayout" Target="../slideLayouts/slideLayout107.xml"/><Relationship Id="rId6" Type="http://schemas.openxmlformats.org/officeDocument/2006/relationships/image" Target="../media/image193.jpeg"/><Relationship Id="rId11" Type="http://schemas.openxmlformats.org/officeDocument/2006/relationships/image" Target="../media/image229.jpeg"/><Relationship Id="rId5" Type="http://schemas.openxmlformats.org/officeDocument/2006/relationships/image" Target="../media/image192.png"/><Relationship Id="rId15" Type="http://schemas.openxmlformats.org/officeDocument/2006/relationships/image" Target="../media/image231.png"/><Relationship Id="rId10" Type="http://schemas.openxmlformats.org/officeDocument/2006/relationships/image" Target="../media/image217.png"/><Relationship Id="rId4" Type="http://schemas.openxmlformats.org/officeDocument/2006/relationships/image" Target="../media/image191.png"/><Relationship Id="rId9" Type="http://schemas.openxmlformats.org/officeDocument/2006/relationships/image" Target="../media/image216.png"/><Relationship Id="rId14" Type="http://schemas.openxmlformats.org/officeDocument/2006/relationships/image" Target="../media/image230.jpeg"/></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7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78.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3"/>
          <p:cNvPicPr>
            <a:picLocks noChangeAspect="1" noChangeArrowheads="1"/>
          </p:cNvPicPr>
          <p:nvPr/>
        </p:nvPicPr>
        <p:blipFill rotWithShape="1">
          <a:blip r:embed="rId2" cstate="print"/>
          <a:srcRect r="13380" b="27979"/>
          <a:stretch/>
        </p:blipFill>
        <p:spPr bwMode="auto">
          <a:xfrm>
            <a:off x="0" y="904191"/>
            <a:ext cx="9144000" cy="5518863"/>
          </a:xfrm>
          <a:prstGeom prst="rect">
            <a:avLst/>
          </a:prstGeom>
          <a:noFill/>
          <a:ln w="9525">
            <a:noFill/>
            <a:miter lim="800000"/>
            <a:headEnd/>
            <a:tailEnd/>
          </a:ln>
        </p:spPr>
      </p:pic>
      <p:sp>
        <p:nvSpPr>
          <p:cNvPr id="17" name="Text Box 7"/>
          <p:cNvSpPr txBox="1">
            <a:spLocks noChangeArrowheads="1"/>
          </p:cNvSpPr>
          <p:nvPr/>
        </p:nvSpPr>
        <p:spPr bwMode="auto">
          <a:xfrm>
            <a:off x="228600" y="4048125"/>
            <a:ext cx="1357312" cy="257175"/>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r>
              <a:rPr lang="en-US" sz="900" dirty="0">
                <a:solidFill>
                  <a:srgbClr val="000000"/>
                </a:solidFill>
                <a:latin typeface="Arial" pitchFamily="34" charset="0"/>
                <a:cs typeface="Arial" pitchFamily="34" charset="0"/>
              </a:rPr>
              <a:t>Produced by</a:t>
            </a:r>
            <a:endParaRPr lang="en-US" dirty="0">
              <a:latin typeface="Arial" pitchFamily="34" charset="0"/>
              <a:cs typeface="Arial" pitchFamily="34" charset="0"/>
            </a:endParaRPr>
          </a:p>
        </p:txBody>
      </p:sp>
      <p:pic>
        <p:nvPicPr>
          <p:cNvPr id="18" name="Picture 8" descr="Kwclear"/>
          <p:cNvPicPr>
            <a:picLocks noChangeAspect="1" noChangeArrowheads="1"/>
          </p:cNvPicPr>
          <p:nvPr/>
        </p:nvPicPr>
        <p:blipFill>
          <a:blip r:embed="rId3" cstate="print">
            <a:clrChange>
              <a:clrFrom>
                <a:srgbClr val="FDFDFD"/>
              </a:clrFrom>
              <a:clrTo>
                <a:srgbClr val="FDFDFD">
                  <a:alpha val="0"/>
                </a:srgbClr>
              </a:clrTo>
            </a:clrChange>
          </a:blip>
          <a:srcRect/>
          <a:stretch>
            <a:fillRect/>
          </a:stretch>
        </p:blipFill>
        <p:spPr bwMode="auto">
          <a:xfrm>
            <a:off x="228604" y="4250149"/>
            <a:ext cx="1279525" cy="226603"/>
          </a:xfrm>
          <a:prstGeom prst="rect">
            <a:avLst/>
          </a:prstGeom>
          <a:noFill/>
          <a:ln w="9525" algn="in">
            <a:noFill/>
            <a:miter lim="800000"/>
            <a:headEnd/>
            <a:tailEnd/>
          </a:ln>
          <a:effectLst/>
        </p:spPr>
      </p:pic>
      <p:sp>
        <p:nvSpPr>
          <p:cNvPr id="20" name="Text Box 9"/>
          <p:cNvSpPr txBox="1">
            <a:spLocks noChangeArrowheads="1"/>
          </p:cNvSpPr>
          <p:nvPr/>
        </p:nvSpPr>
        <p:spPr bwMode="auto">
          <a:xfrm>
            <a:off x="2362200" y="133350"/>
            <a:ext cx="2667000" cy="971550"/>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endParaRPr lang="en-US" sz="800" b="1" dirty="0">
              <a:solidFill>
                <a:srgbClr val="00CCFF"/>
              </a:solidFill>
              <a:latin typeface="Arial" pitchFamily="34" charset="0"/>
              <a:cs typeface="Arial" pitchFamily="34" charset="0"/>
            </a:endParaRPr>
          </a:p>
          <a:p>
            <a:pPr fontAlgn="base">
              <a:spcBef>
                <a:spcPct val="0"/>
              </a:spcBef>
              <a:spcAft>
                <a:spcPct val="0"/>
              </a:spcAft>
            </a:pPr>
            <a:r>
              <a:rPr lang="en-US" sz="2400" b="1" dirty="0">
                <a:latin typeface="Arial" pitchFamily="34" charset="0"/>
                <a:cs typeface="Arial" pitchFamily="34" charset="0"/>
              </a:rPr>
              <a:t>CAAFI 2014</a:t>
            </a:r>
          </a:p>
          <a:p>
            <a:pPr fontAlgn="base">
              <a:spcBef>
                <a:spcPct val="0"/>
              </a:spcBef>
              <a:spcAft>
                <a:spcPct val="0"/>
              </a:spcAft>
            </a:pPr>
            <a:r>
              <a:rPr lang="en-US" sz="2400" b="1" dirty="0">
                <a:latin typeface="Arial" pitchFamily="34" charset="0"/>
                <a:cs typeface="Arial" pitchFamily="34" charset="0"/>
              </a:rPr>
              <a:t>General Meeting</a:t>
            </a:r>
          </a:p>
          <a:p>
            <a:pPr fontAlgn="base">
              <a:spcBef>
                <a:spcPct val="0"/>
              </a:spcBef>
              <a:spcAft>
                <a:spcPct val="0"/>
              </a:spcAft>
            </a:pPr>
            <a:r>
              <a:rPr lang="en-US" sz="2400" b="1" dirty="0">
                <a:latin typeface="Arial" pitchFamily="34" charset="0"/>
                <a:cs typeface="Arial" pitchFamily="34" charset="0"/>
              </a:rPr>
              <a:t>&amp; Expo</a:t>
            </a:r>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801" y="66179"/>
            <a:ext cx="1981200" cy="1286372"/>
          </a:xfrm>
          <a:prstGeom prst="rect">
            <a:avLst/>
          </a:prstGeom>
        </p:spPr>
      </p:pic>
      <p:sp>
        <p:nvSpPr>
          <p:cNvPr id="2" name="TextBox 1"/>
          <p:cNvSpPr txBox="1"/>
          <p:nvPr/>
        </p:nvSpPr>
        <p:spPr>
          <a:xfrm>
            <a:off x="228604" y="1270160"/>
            <a:ext cx="5333999" cy="2092869"/>
          </a:xfrm>
          <a:prstGeom prst="rect">
            <a:avLst/>
          </a:prstGeom>
          <a:noFill/>
        </p:spPr>
        <p:txBody>
          <a:bodyPr wrap="square" lIns="91428" tIns="45714" rIns="91428" bIns="45714" rtlCol="0">
            <a:spAutoFit/>
          </a:bodyPr>
          <a:lstStyle/>
          <a:p>
            <a:r>
              <a:rPr lang="en-US" sz="4200" dirty="0"/>
              <a:t>International Initiatives</a:t>
            </a:r>
          </a:p>
          <a:p>
            <a:r>
              <a:rPr lang="en-US" sz="2400" dirty="0"/>
              <a:t>Moderated by: Lourdes Maurice, FAA</a:t>
            </a:r>
          </a:p>
          <a:p>
            <a:r>
              <a:rPr lang="en-US" sz="2000" dirty="0"/>
              <a:t>Special Guest: Jane </a:t>
            </a:r>
            <a:r>
              <a:rPr lang="en-US" sz="2000" dirty="0" err="1"/>
              <a:t>Hupe</a:t>
            </a:r>
            <a:r>
              <a:rPr lang="en-US" sz="2000" dirty="0"/>
              <a:t>, </a:t>
            </a:r>
          </a:p>
          <a:p>
            <a:r>
              <a:rPr lang="en-US" sz="2000" dirty="0"/>
              <a:t>Chief of ICAO Environment Branch</a:t>
            </a:r>
          </a:p>
          <a:p>
            <a:endParaRPr lang="en-US" sz="2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2" descr="\\nastorage4.icao.lan\vol2regular$\ICAO\Common\COMS\ENV-A38\Factsheets\Final\CO2-CHA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161" t="6702" r="1450" b="2123"/>
          <a:stretch/>
        </p:blipFill>
        <p:spPr bwMode="auto">
          <a:xfrm>
            <a:off x="662761" y="984847"/>
            <a:ext cx="7871640" cy="3697461"/>
          </a:xfrm>
          <a:prstGeom prst="rect">
            <a:avLst/>
          </a:prstGeom>
          <a:noFill/>
          <a:extLst>
            <a:ext uri="{909E8E84-426E-40DD-AFC4-6F175D3DCCD1}">
              <a14:hiddenFill xmlns:a14="http://schemas.microsoft.com/office/drawing/2010/main">
                <a:solidFill>
                  <a:srgbClr val="FFFFFF"/>
                </a:solidFill>
              </a14:hiddenFill>
            </a:ext>
          </a:extLst>
        </p:spPr>
      </p:pic>
      <p:sp>
        <p:nvSpPr>
          <p:cNvPr id="6" name="Titre 1"/>
          <p:cNvSpPr txBox="1">
            <a:spLocks/>
          </p:cNvSpPr>
          <p:nvPr/>
        </p:nvSpPr>
        <p:spPr>
          <a:xfrm>
            <a:off x="457201" y="74163"/>
            <a:ext cx="8229600" cy="857250"/>
          </a:xfrm>
          <a:prstGeom prst="rect">
            <a:avLst/>
          </a:prstGeom>
        </p:spPr>
        <p:txBody>
          <a:bodyPr>
            <a:normAutofit fontScale="92500" lnSpcReduction="20000"/>
          </a:bodyPr>
          <a:lstStyle>
            <a:lvl1pPr algn="l" defTabSz="914400" rtl="0" eaLnBrk="1" latinLnBrk="0" hangingPunct="1">
              <a:spcBef>
                <a:spcPct val="0"/>
              </a:spcBef>
              <a:buNone/>
              <a:defRPr sz="3600" b="1" kern="1200">
                <a:solidFill>
                  <a:srgbClr val="1B4177"/>
                </a:solidFill>
                <a:latin typeface="+mj-lt"/>
                <a:ea typeface="+mj-ea"/>
                <a:cs typeface="+mj-cs"/>
              </a:defRPr>
            </a:lvl1pPr>
          </a:lstStyle>
          <a:p>
            <a:r>
              <a:rPr lang="en-US" sz="3200" dirty="0" smtClean="0"/>
              <a:t>Climate change</a:t>
            </a:r>
          </a:p>
          <a:p>
            <a:r>
              <a:rPr lang="en-US" sz="3200" dirty="0" smtClean="0"/>
              <a:t>Aspirational goals and basket of measures</a:t>
            </a:r>
            <a:endParaRPr lang="en-CA" sz="3200" dirty="0"/>
          </a:p>
        </p:txBody>
      </p:sp>
    </p:spTree>
    <p:extLst>
      <p:ext uri="{BB962C8B-B14F-4D97-AF65-F5344CB8AC3E}">
        <p14:creationId xmlns:p14="http://schemas.microsoft.com/office/powerpoint/2010/main" val="35480125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en-US" dirty="0" smtClean="0"/>
              <a:t>Global Framework for </a:t>
            </a:r>
            <a:br>
              <a:rPr lang="en-US" dirty="0" smtClean="0"/>
            </a:br>
            <a:r>
              <a:rPr lang="en-US" dirty="0" smtClean="0"/>
              <a:t>Aviation Alternative Fuels (GFAAF)</a:t>
            </a:r>
            <a:endParaRPr lang="en-CA" dirty="0"/>
          </a:p>
        </p:txBody>
      </p:sp>
      <p:pic>
        <p:nvPicPr>
          <p:cNvPr id="5" name="Image 4"/>
          <p:cNvPicPr>
            <a:picLocks noChangeAspect="1"/>
          </p:cNvPicPr>
          <p:nvPr/>
        </p:nvPicPr>
        <p:blipFill rotWithShape="1">
          <a:blip r:embed="rId3">
            <a:extLst>
              <a:ext uri="{28A0092B-C50C-407E-A947-70E740481C1C}">
                <a14:useLocalDpi xmlns:a14="http://schemas.microsoft.com/office/drawing/2010/main" val="0"/>
              </a:ext>
            </a:extLst>
          </a:blip>
          <a:srcRect l="26774" t="7420" r="27634" b="22828"/>
          <a:stretch/>
        </p:blipFill>
        <p:spPr>
          <a:xfrm>
            <a:off x="2339752" y="951570"/>
            <a:ext cx="5709089" cy="3684874"/>
          </a:xfrm>
          <a:prstGeom prst="rect">
            <a:avLst/>
          </a:prstGeom>
        </p:spPr>
      </p:pic>
    </p:spTree>
    <p:extLst>
      <p:ext uri="{BB962C8B-B14F-4D97-AF65-F5344CB8AC3E}">
        <p14:creationId xmlns:p14="http://schemas.microsoft.com/office/powerpoint/2010/main" val="41250370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esolution A38-18: ICAO’s Mandate from </a:t>
            </a:r>
            <a:br>
              <a:rPr lang="en-US" dirty="0" smtClean="0"/>
            </a:br>
            <a:r>
              <a:rPr lang="en-US" dirty="0" smtClean="0"/>
              <a:t>its 191 States on Alt. Fuels</a:t>
            </a:r>
            <a:endParaRPr lang="en-CA" dirty="0"/>
          </a:p>
        </p:txBody>
      </p:sp>
      <p:sp>
        <p:nvSpPr>
          <p:cNvPr id="3" name="Content Placeholder 2"/>
          <p:cNvSpPr>
            <a:spLocks noGrp="1"/>
          </p:cNvSpPr>
          <p:nvPr>
            <p:ph idx="1"/>
          </p:nvPr>
        </p:nvSpPr>
        <p:spPr>
          <a:xfrm>
            <a:off x="251520" y="951570"/>
            <a:ext cx="8712968" cy="3726413"/>
          </a:xfrm>
        </p:spPr>
        <p:txBody>
          <a:bodyPr>
            <a:normAutofit fontScale="85000" lnSpcReduction="20000"/>
          </a:bodyPr>
          <a:lstStyle/>
          <a:p>
            <a:pPr>
              <a:spcBef>
                <a:spcPts val="1800"/>
              </a:spcBef>
            </a:pPr>
            <a:r>
              <a:rPr lang="en-US" sz="2400" dirty="0" smtClean="0"/>
              <a:t>Member States, industry</a:t>
            </a:r>
            <a:r>
              <a:rPr lang="en-US" sz="2400" dirty="0"/>
              <a:t>, financial institutions and </a:t>
            </a:r>
            <a:r>
              <a:rPr lang="en-US" sz="2400" dirty="0" smtClean="0"/>
              <a:t>other international </a:t>
            </a:r>
            <a:r>
              <a:rPr lang="en-US" sz="2400" dirty="0"/>
              <a:t>organizations to actively participate in </a:t>
            </a:r>
            <a:r>
              <a:rPr lang="en-US" sz="2400" b="1" dirty="0"/>
              <a:t>exchange of information </a:t>
            </a:r>
            <a:r>
              <a:rPr lang="en-US" sz="2400" dirty="0"/>
              <a:t>and </a:t>
            </a:r>
            <a:r>
              <a:rPr lang="en-US" sz="2400" b="1" dirty="0" smtClean="0"/>
              <a:t>best practices </a:t>
            </a:r>
            <a:r>
              <a:rPr lang="en-US" sz="2400" dirty="0"/>
              <a:t>and in further work </a:t>
            </a:r>
            <a:r>
              <a:rPr lang="en-US" sz="2400" b="1" u="sng" dirty="0"/>
              <a:t>under ICAO</a:t>
            </a:r>
            <a:r>
              <a:rPr lang="en-US" sz="2400" b="1" dirty="0"/>
              <a:t> </a:t>
            </a:r>
            <a:r>
              <a:rPr lang="en-US" sz="2400" dirty="0"/>
              <a:t>on sustainable alternative fuels </a:t>
            </a:r>
            <a:r>
              <a:rPr lang="en-US" sz="2400" dirty="0" smtClean="0"/>
              <a:t>for aviation</a:t>
            </a:r>
            <a:endParaRPr lang="en-GB" sz="2400" dirty="0" smtClean="0"/>
          </a:p>
          <a:p>
            <a:r>
              <a:rPr lang="en-US" sz="2400" dirty="0" smtClean="0"/>
              <a:t>Continue </a:t>
            </a:r>
            <a:r>
              <a:rPr lang="en-US" sz="2400" dirty="0"/>
              <a:t>to maintain the ICAO Global Framework for Aviation Alternative </a:t>
            </a:r>
            <a:r>
              <a:rPr lang="en-US" sz="2400" dirty="0" smtClean="0"/>
              <a:t>Fuels </a:t>
            </a:r>
            <a:r>
              <a:rPr lang="en-GB" sz="2400" dirty="0" smtClean="0"/>
              <a:t>(GFAAF)</a:t>
            </a:r>
            <a:endParaRPr lang="en-GB" sz="2400" dirty="0"/>
          </a:p>
          <a:p>
            <a:r>
              <a:rPr lang="en-US" sz="2400" b="1" dirty="0" smtClean="0"/>
              <a:t>Collect </a:t>
            </a:r>
            <a:r>
              <a:rPr lang="en-US" sz="2400" b="1" dirty="0"/>
              <a:t>information on progress of alternative fuels in aviation</a:t>
            </a:r>
            <a:r>
              <a:rPr lang="en-US" sz="2400" dirty="0"/>
              <a:t>, </a:t>
            </a:r>
            <a:r>
              <a:rPr lang="en-US" sz="2400" b="1" dirty="0" smtClean="0"/>
              <a:t>to </a:t>
            </a:r>
            <a:r>
              <a:rPr lang="en-US" sz="2400" b="1" dirty="0"/>
              <a:t>give a global view </a:t>
            </a:r>
            <a:r>
              <a:rPr lang="en-US" sz="2400" dirty="0"/>
              <a:t>of the future use of alternative jet fuels </a:t>
            </a:r>
            <a:r>
              <a:rPr lang="en-US" sz="2400" dirty="0" smtClean="0"/>
              <a:t>and to </a:t>
            </a:r>
            <a:r>
              <a:rPr lang="en-US" sz="2400" dirty="0"/>
              <a:t>account for changes in life cycle GHG emissions in order to assess </a:t>
            </a:r>
            <a:r>
              <a:rPr lang="en-US" sz="2400" dirty="0" smtClean="0"/>
              <a:t>progress toward </a:t>
            </a:r>
            <a:r>
              <a:rPr lang="en-US" sz="2400" dirty="0"/>
              <a:t>achieving global aspirational </a:t>
            </a:r>
            <a:r>
              <a:rPr lang="en-US" sz="2400" dirty="0" smtClean="0"/>
              <a:t>goals</a:t>
            </a:r>
            <a:endParaRPr lang="en-US" sz="2400" dirty="0"/>
          </a:p>
          <a:p>
            <a:r>
              <a:rPr lang="en-US" sz="2400" dirty="0" smtClean="0"/>
              <a:t>Work </a:t>
            </a:r>
            <a:r>
              <a:rPr lang="en-US" sz="2400" dirty="0"/>
              <a:t>with financial institutions to </a:t>
            </a:r>
            <a:r>
              <a:rPr lang="en-US" sz="2400" b="1" dirty="0"/>
              <a:t>facilitate access to financing </a:t>
            </a:r>
            <a:r>
              <a:rPr lang="en-US" sz="2400" b="1" dirty="0" smtClean="0"/>
              <a:t>infrastructure development </a:t>
            </a:r>
            <a:r>
              <a:rPr lang="en-US" sz="2400" b="1" dirty="0"/>
              <a:t>projects </a:t>
            </a:r>
            <a:r>
              <a:rPr lang="en-US" sz="2400" dirty="0"/>
              <a:t>dedicated to sustainable aviation alternative fuels </a:t>
            </a:r>
            <a:r>
              <a:rPr lang="en-US" sz="2400" dirty="0" smtClean="0"/>
              <a:t>and </a:t>
            </a:r>
            <a:r>
              <a:rPr lang="en-GB" sz="2400" dirty="0" smtClean="0"/>
              <a:t>incentives </a:t>
            </a:r>
            <a:r>
              <a:rPr lang="en-GB" sz="2400" b="1" dirty="0"/>
              <a:t>to overcome initial market </a:t>
            </a:r>
            <a:r>
              <a:rPr lang="en-GB" sz="2400" b="1" dirty="0" smtClean="0"/>
              <a:t>hurdles</a:t>
            </a:r>
          </a:p>
          <a:p>
            <a:pPr marL="0" indent="0">
              <a:spcBef>
                <a:spcPts val="1200"/>
              </a:spcBef>
              <a:buNone/>
            </a:pPr>
            <a:endParaRPr lang="en-CA" sz="2400" b="1" dirty="0"/>
          </a:p>
          <a:p>
            <a:pPr marL="514350" indent="-514350">
              <a:buFont typeface="+mj-lt"/>
              <a:buAutoNum type="arabicPeriod"/>
            </a:pPr>
            <a:endParaRPr lang="en-CA" sz="2400" dirty="0"/>
          </a:p>
        </p:txBody>
      </p:sp>
    </p:spTree>
    <p:extLst>
      <p:ext uri="{BB962C8B-B14F-4D97-AF65-F5344CB8AC3E}">
        <p14:creationId xmlns:p14="http://schemas.microsoft.com/office/powerpoint/2010/main" val="1104292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en-US" dirty="0"/>
              <a:t>Resolution </a:t>
            </a:r>
            <a:r>
              <a:rPr lang="en-US" dirty="0" smtClean="0"/>
              <a:t>A38-18:</a:t>
            </a:r>
            <a:br>
              <a:rPr lang="en-US" dirty="0" smtClean="0"/>
            </a:br>
            <a:r>
              <a:rPr lang="en-US" dirty="0" smtClean="0"/>
              <a:t>Additional related requests</a:t>
            </a:r>
            <a:endParaRPr lang="en-CA" dirty="0"/>
          </a:p>
        </p:txBody>
      </p:sp>
      <p:sp>
        <p:nvSpPr>
          <p:cNvPr id="3" name="Espace réservé du contenu 2"/>
          <p:cNvSpPr>
            <a:spLocks noGrp="1"/>
          </p:cNvSpPr>
          <p:nvPr>
            <p:ph idx="1"/>
          </p:nvPr>
        </p:nvSpPr>
        <p:spPr>
          <a:xfrm>
            <a:off x="457200" y="1329612"/>
            <a:ext cx="8229600" cy="3265010"/>
          </a:xfrm>
        </p:spPr>
        <p:txBody>
          <a:bodyPr>
            <a:normAutofit fontScale="85000" lnSpcReduction="20000"/>
          </a:bodyPr>
          <a:lstStyle/>
          <a:p>
            <a:r>
              <a:rPr lang="en-GB" sz="2400" dirty="0"/>
              <a:t>Voluntary preparation and update </a:t>
            </a:r>
            <a:r>
              <a:rPr lang="en-GB" sz="2400" dirty="0" smtClean="0"/>
              <a:t>by States of </a:t>
            </a:r>
            <a:r>
              <a:rPr lang="en-GB" sz="2400" b="1" dirty="0" smtClean="0"/>
              <a:t>action </a:t>
            </a:r>
            <a:r>
              <a:rPr lang="en-GB" sz="2400" b="1" dirty="0"/>
              <a:t>plans</a:t>
            </a:r>
            <a:r>
              <a:rPr lang="en-GB" sz="2400" dirty="0"/>
              <a:t> </a:t>
            </a:r>
            <a:r>
              <a:rPr lang="en-GB" sz="2400" dirty="0" smtClean="0"/>
              <a:t>outlining policy actions on CO</a:t>
            </a:r>
            <a:r>
              <a:rPr lang="en-GB" sz="2400" baseline="-25000" dirty="0" smtClean="0"/>
              <a:t>2</a:t>
            </a:r>
            <a:r>
              <a:rPr lang="en-GB" sz="2400" dirty="0" smtClean="0"/>
              <a:t> </a:t>
            </a:r>
            <a:r>
              <a:rPr lang="en-GB" sz="2400" dirty="0"/>
              <a:t>emissions reduction </a:t>
            </a:r>
            <a:r>
              <a:rPr lang="en-GB" sz="2400" dirty="0" smtClean="0"/>
              <a:t>and fuel efficiency improvement activities</a:t>
            </a:r>
            <a:endParaRPr lang="en-GB" sz="2400" dirty="0"/>
          </a:p>
          <a:p>
            <a:pPr>
              <a:spcBef>
                <a:spcPts val="1200"/>
              </a:spcBef>
            </a:pPr>
            <a:r>
              <a:rPr lang="en-GB" sz="2400" b="1" dirty="0" smtClean="0"/>
              <a:t>Guidance and assistance </a:t>
            </a:r>
            <a:r>
              <a:rPr lang="en-GB" sz="2400" dirty="0" smtClean="0"/>
              <a:t>for preparation of action plans</a:t>
            </a:r>
          </a:p>
          <a:p>
            <a:pPr>
              <a:spcBef>
                <a:spcPts val="1200"/>
              </a:spcBef>
            </a:pPr>
            <a:r>
              <a:rPr lang="en-GB" sz="2400" b="1" dirty="0" smtClean="0"/>
              <a:t>Estimation</a:t>
            </a:r>
            <a:r>
              <a:rPr lang="en-GB" sz="2400" b="1" dirty="0"/>
              <a:t>, monitoring and verification </a:t>
            </a:r>
            <a:r>
              <a:rPr lang="en-GB" sz="2400" dirty="0"/>
              <a:t>of global greenhouse gas (GHG) emissions produced by international </a:t>
            </a:r>
            <a:r>
              <a:rPr lang="en-GB" sz="2400" dirty="0" smtClean="0"/>
              <a:t>aviation</a:t>
            </a:r>
          </a:p>
          <a:p>
            <a:pPr>
              <a:spcBef>
                <a:spcPts val="1200"/>
              </a:spcBef>
            </a:pPr>
            <a:r>
              <a:rPr lang="en-GB" sz="2400" b="1" dirty="0" smtClean="0"/>
              <a:t>Update </a:t>
            </a:r>
            <a:r>
              <a:rPr lang="en-GB" sz="2400" b="1" dirty="0"/>
              <a:t>of environmental trends </a:t>
            </a:r>
            <a:r>
              <a:rPr lang="en-GB" sz="2400" b="1" dirty="0" smtClean="0"/>
              <a:t>assessment</a:t>
            </a:r>
          </a:p>
          <a:p>
            <a:pPr>
              <a:spcBef>
                <a:spcPts val="1200"/>
              </a:spcBef>
            </a:pPr>
            <a:endParaRPr lang="en-GB" sz="2400" b="1" dirty="0"/>
          </a:p>
          <a:p>
            <a:pPr>
              <a:spcBef>
                <a:spcPts val="1200"/>
              </a:spcBef>
            </a:pPr>
            <a:r>
              <a:rPr lang="en-GB" sz="2400" b="1" dirty="0" smtClean="0"/>
              <a:t>Many elements developed with the support of CAEP</a:t>
            </a:r>
            <a:endParaRPr lang="en-GB" sz="2400" b="1" dirty="0"/>
          </a:p>
          <a:p>
            <a:endParaRPr lang="en-CA" dirty="0"/>
          </a:p>
        </p:txBody>
      </p:sp>
    </p:spTree>
    <p:extLst>
      <p:ext uri="{BB962C8B-B14F-4D97-AF65-F5344CB8AC3E}">
        <p14:creationId xmlns:p14="http://schemas.microsoft.com/office/powerpoint/2010/main" val="39625530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en-US" dirty="0"/>
              <a:t>Committee for Aviation Environmental Protection (CAEP)</a:t>
            </a:r>
            <a:endParaRPr lang="en-CA" dirty="0"/>
          </a:p>
        </p:txBody>
      </p:sp>
      <p:sp>
        <p:nvSpPr>
          <p:cNvPr id="3" name="Espace réservé du contenu 2"/>
          <p:cNvSpPr>
            <a:spLocks noGrp="1"/>
          </p:cNvSpPr>
          <p:nvPr>
            <p:ph idx="1"/>
          </p:nvPr>
        </p:nvSpPr>
        <p:spPr/>
        <p:txBody>
          <a:bodyPr>
            <a:normAutofit/>
          </a:bodyPr>
          <a:lstStyle/>
          <a:p>
            <a:r>
              <a:rPr lang="en-US" sz="2200" dirty="0"/>
              <a:t>Established by the ICAO Council in </a:t>
            </a:r>
            <a:r>
              <a:rPr lang="en-US" sz="2200" dirty="0" smtClean="0"/>
              <a:t>1983</a:t>
            </a:r>
            <a:endParaRPr lang="en-US" sz="2200" dirty="0"/>
          </a:p>
          <a:p>
            <a:r>
              <a:rPr lang="en-US" sz="2200" dirty="0" smtClean="0"/>
              <a:t>23 members States – 16 Observer States and Organizations</a:t>
            </a:r>
          </a:p>
          <a:p>
            <a:r>
              <a:rPr lang="en-US" sz="2200" dirty="0" smtClean="0"/>
              <a:t>400 </a:t>
            </a:r>
            <a:r>
              <a:rPr lang="en-CA" sz="2200" dirty="0"/>
              <a:t>internationally-renowned experts </a:t>
            </a:r>
            <a:r>
              <a:rPr lang="en-CA" sz="2200" dirty="0" smtClean="0"/>
              <a:t>involved</a:t>
            </a:r>
            <a:endParaRPr lang="en-US" sz="2200" dirty="0"/>
          </a:p>
          <a:p>
            <a:pPr lvl="1"/>
            <a:endParaRPr lang="en-CA" sz="2000" dirty="0"/>
          </a:p>
        </p:txBody>
      </p:sp>
      <p:pic>
        <p:nvPicPr>
          <p:cNvPr id="4" name="Image 3"/>
          <p:cNvPicPr/>
          <p:nvPr/>
        </p:nvPicPr>
        <p:blipFill>
          <a:blip r:embed="rId3">
            <a:extLst>
              <a:ext uri="{28A0092B-C50C-407E-A947-70E740481C1C}">
                <a14:useLocalDpi xmlns:a14="http://schemas.microsoft.com/office/drawing/2010/main" val="0"/>
              </a:ext>
            </a:extLst>
          </a:blip>
          <a:srcRect/>
          <a:stretch>
            <a:fillRect/>
          </a:stretch>
        </p:blipFill>
        <p:spPr bwMode="auto">
          <a:xfrm>
            <a:off x="1176450" y="2355726"/>
            <a:ext cx="6635910" cy="2187243"/>
          </a:xfrm>
          <a:prstGeom prst="rect">
            <a:avLst/>
          </a:prstGeom>
          <a:noFill/>
        </p:spPr>
      </p:pic>
      <p:sp>
        <p:nvSpPr>
          <p:cNvPr id="7" name="Oval 6"/>
          <p:cNvSpPr/>
          <p:nvPr/>
        </p:nvSpPr>
        <p:spPr>
          <a:xfrm>
            <a:off x="4932040" y="3705876"/>
            <a:ext cx="1800200" cy="1134126"/>
          </a:xfrm>
          <a:prstGeom prst="ellipse">
            <a:avLst/>
          </a:prstGeom>
          <a:noFill/>
          <a:ln w="539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endParaRPr>
          </a:p>
        </p:txBody>
      </p:sp>
    </p:spTree>
    <p:extLst>
      <p:ext uri="{BB962C8B-B14F-4D97-AF65-F5344CB8AC3E}">
        <p14:creationId xmlns:p14="http://schemas.microsoft.com/office/powerpoint/2010/main" val="30551764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smtClean="0"/>
              <a:t>CAEP Alternative Fuels Task Force</a:t>
            </a:r>
            <a:endParaRPr lang="en-CA" dirty="0"/>
          </a:p>
        </p:txBody>
      </p:sp>
      <p:sp>
        <p:nvSpPr>
          <p:cNvPr id="3" name="Espace réservé du contenu 2"/>
          <p:cNvSpPr>
            <a:spLocks noGrp="1"/>
          </p:cNvSpPr>
          <p:nvPr>
            <p:ph idx="1"/>
          </p:nvPr>
        </p:nvSpPr>
        <p:spPr>
          <a:xfrm>
            <a:off x="457200" y="1167595"/>
            <a:ext cx="8229600" cy="3427028"/>
          </a:xfrm>
        </p:spPr>
        <p:txBody>
          <a:bodyPr>
            <a:normAutofit lnSpcReduction="10000"/>
          </a:bodyPr>
          <a:lstStyle/>
          <a:p>
            <a:r>
              <a:rPr lang="en-US" sz="2400" dirty="0" smtClean="0"/>
              <a:t>Goal: </a:t>
            </a:r>
            <a:r>
              <a:rPr lang="en-US" sz="2400" b="1" dirty="0" smtClean="0"/>
              <a:t>assessing the potential range of emissions reductions </a:t>
            </a:r>
            <a:r>
              <a:rPr lang="en-US" sz="2400" dirty="0" smtClean="0"/>
              <a:t>from the use of alternative Fuels to 2050</a:t>
            </a:r>
          </a:p>
          <a:p>
            <a:pPr>
              <a:spcBef>
                <a:spcPts val="1800"/>
              </a:spcBef>
            </a:pPr>
            <a:r>
              <a:rPr lang="en-US" sz="2400" dirty="0" smtClean="0"/>
              <a:t>2 directions of work:</a:t>
            </a:r>
            <a:endParaRPr lang="en-US" sz="2000" dirty="0" smtClean="0"/>
          </a:p>
          <a:p>
            <a:pPr lvl="1">
              <a:spcBef>
                <a:spcPts val="2400"/>
              </a:spcBef>
            </a:pPr>
            <a:r>
              <a:rPr lang="en-US" sz="2000" b="1" dirty="0" smtClean="0"/>
              <a:t>Life Cycle Assessment of alternative jet fuels</a:t>
            </a:r>
          </a:p>
          <a:p>
            <a:pPr lvl="1"/>
            <a:endParaRPr lang="en-US" sz="2000" dirty="0" smtClean="0"/>
          </a:p>
          <a:p>
            <a:pPr lvl="1"/>
            <a:endParaRPr lang="en-US" sz="2000" dirty="0"/>
          </a:p>
          <a:p>
            <a:pPr lvl="1"/>
            <a:r>
              <a:rPr lang="en-US" sz="2000" dirty="0" smtClean="0"/>
              <a:t>Projection of the </a:t>
            </a:r>
            <a:r>
              <a:rPr lang="en-US" sz="2000" b="1" dirty="0" smtClean="0"/>
              <a:t>future production </a:t>
            </a:r>
            <a:r>
              <a:rPr lang="en-US" sz="2000" dirty="0" smtClean="0"/>
              <a:t>of </a:t>
            </a:r>
          </a:p>
          <a:p>
            <a:pPr marL="457200" lvl="1" indent="0">
              <a:buNone/>
            </a:pPr>
            <a:r>
              <a:rPr lang="en-US" sz="2000" dirty="0" smtClean="0"/>
              <a:t>     alternative </a:t>
            </a:r>
            <a:r>
              <a:rPr lang="en-US" sz="2000" dirty="0"/>
              <a:t>jet fuels</a:t>
            </a:r>
          </a:p>
          <a:p>
            <a:pPr lvl="1"/>
            <a:endParaRPr lang="en-CA" sz="2000" dirty="0"/>
          </a:p>
        </p:txBody>
      </p:sp>
      <p:graphicFrame>
        <p:nvGraphicFramePr>
          <p:cNvPr id="4" name="Diagramme 3"/>
          <p:cNvGraphicFramePr/>
          <p:nvPr>
            <p:extLst>
              <p:ext uri="{D42A27DB-BD31-4B8C-83A1-F6EECF244321}">
                <p14:modId xmlns:p14="http://schemas.microsoft.com/office/powerpoint/2010/main" val="1402070807"/>
              </p:ext>
            </p:extLst>
          </p:nvPr>
        </p:nvGraphicFramePr>
        <p:xfrm>
          <a:off x="6427148" y="1968217"/>
          <a:ext cx="1939185" cy="9971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ZoneTexte 4"/>
          <p:cNvSpPr txBox="1"/>
          <p:nvPr/>
        </p:nvSpPr>
        <p:spPr>
          <a:xfrm>
            <a:off x="7163656" y="2329587"/>
            <a:ext cx="540917" cy="369332"/>
          </a:xfrm>
          <a:prstGeom prst="rect">
            <a:avLst/>
          </a:prstGeom>
          <a:noFill/>
        </p:spPr>
        <p:txBody>
          <a:bodyPr wrap="none" rtlCol="0">
            <a:spAutoFit/>
          </a:bodyPr>
          <a:lstStyle/>
          <a:p>
            <a:pPr defTabSz="914400"/>
            <a:r>
              <a:rPr lang="en-US" b="1" dirty="0" smtClean="0">
                <a:solidFill>
                  <a:srgbClr val="FF0000"/>
                </a:solidFill>
              </a:rPr>
              <a:t>LCA</a:t>
            </a:r>
            <a:endParaRPr lang="en-CA" b="1" dirty="0">
              <a:solidFill>
                <a:srgbClr val="FF0000"/>
              </a:solidFill>
            </a:endParaRPr>
          </a:p>
        </p:txBody>
      </p:sp>
      <p:pic>
        <p:nvPicPr>
          <p:cNvPr id="6" name="Picture 5" descr="C:\Users\PNovelli\AppData\Local\Microsoft\Windows\Temporary Internet Files\Content.IE5\ZAO56NZU\MP900448621[1].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90315" y="3219823"/>
            <a:ext cx="1933421" cy="863903"/>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 6"/>
          <p:cNvPicPr>
            <a:picLocks noChangeAspect="1"/>
          </p:cNvPicPr>
          <p:nvPr/>
        </p:nvPicPr>
        <p:blipFill rotWithShape="1">
          <a:blip r:embed="rId9" cstate="print">
            <a:extLst>
              <a:ext uri="{28A0092B-C50C-407E-A947-70E740481C1C}">
                <a14:useLocalDpi xmlns:a14="http://schemas.microsoft.com/office/drawing/2010/main" val="0"/>
              </a:ext>
            </a:extLst>
          </a:blip>
          <a:srcRect l="1" r="828"/>
          <a:stretch/>
        </p:blipFill>
        <p:spPr>
          <a:xfrm>
            <a:off x="5435463" y="3813888"/>
            <a:ext cx="1728192" cy="869762"/>
          </a:xfrm>
          <a:prstGeom prst="rect">
            <a:avLst/>
          </a:prstGeom>
        </p:spPr>
      </p:pic>
    </p:spTree>
    <p:extLst>
      <p:ext uri="{BB962C8B-B14F-4D97-AF65-F5344CB8AC3E}">
        <p14:creationId xmlns:p14="http://schemas.microsoft.com/office/powerpoint/2010/main" val="288101008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en-US" sz="3200" dirty="0" smtClean="0"/>
              <a:t>Conclusion</a:t>
            </a:r>
            <a:endParaRPr lang="en-CA" sz="3200" dirty="0"/>
          </a:p>
        </p:txBody>
      </p:sp>
      <p:sp>
        <p:nvSpPr>
          <p:cNvPr id="3" name="Espace réservé du contenu 2"/>
          <p:cNvSpPr>
            <a:spLocks noGrp="1"/>
          </p:cNvSpPr>
          <p:nvPr>
            <p:ph idx="1"/>
          </p:nvPr>
        </p:nvSpPr>
        <p:spPr>
          <a:xfrm>
            <a:off x="457200" y="1383619"/>
            <a:ext cx="8229600" cy="3211004"/>
          </a:xfrm>
        </p:spPr>
        <p:txBody>
          <a:bodyPr>
            <a:normAutofit/>
          </a:bodyPr>
          <a:lstStyle/>
          <a:p>
            <a:r>
              <a:rPr lang="en-US" sz="2400" b="1" dirty="0" smtClean="0"/>
              <a:t>International cooperation is the core of ICAO’s activities</a:t>
            </a:r>
          </a:p>
          <a:p>
            <a:pPr lvl="1"/>
            <a:r>
              <a:rPr lang="en-US" sz="2000" dirty="0" smtClean="0"/>
              <a:t>Information/best practices sharing and dissemination</a:t>
            </a:r>
          </a:p>
          <a:p>
            <a:pPr lvl="1"/>
            <a:r>
              <a:rPr lang="en-US" sz="2000" dirty="0" smtClean="0"/>
              <a:t>Global view to support decision making built on States’ contributions</a:t>
            </a:r>
          </a:p>
          <a:p>
            <a:pPr>
              <a:spcBef>
                <a:spcPts val="1800"/>
              </a:spcBef>
            </a:pPr>
            <a:r>
              <a:rPr lang="en-US" sz="2400" b="1" dirty="0" smtClean="0"/>
              <a:t>Cooperation among aviation stakeholders and with the energy sector is key, in particular to addressing sustainability and securing access of aviation to sustainable fuels</a:t>
            </a:r>
          </a:p>
          <a:p>
            <a:pPr>
              <a:spcBef>
                <a:spcPts val="1800"/>
              </a:spcBef>
            </a:pPr>
            <a:endParaRPr lang="en-US" sz="2400" b="1" dirty="0" smtClean="0"/>
          </a:p>
        </p:txBody>
      </p:sp>
    </p:spTree>
    <p:extLst>
      <p:ext uri="{BB962C8B-B14F-4D97-AF65-F5344CB8AC3E}">
        <p14:creationId xmlns:p14="http://schemas.microsoft.com/office/powerpoint/2010/main" val="16704569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txBox="1">
            <a:spLocks noGrp="1"/>
          </p:cNvSpPr>
          <p:nvPr>
            <p:ph type="title"/>
          </p:nvPr>
        </p:nvSpPr>
        <p:spPr>
          <a:xfrm>
            <a:off x="179512" y="-49578"/>
            <a:ext cx="9144000" cy="646331"/>
          </a:xfrm>
          <a:extLst/>
        </p:spPr>
        <p:txBody>
          <a:bodyPr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fontAlgn="auto">
              <a:spcAft>
                <a:spcPts val="0"/>
              </a:spcAft>
              <a:defRPr/>
            </a:pPr>
            <a:r>
              <a:rPr lang="en-GB" b="1" dirty="0" smtClean="0"/>
              <a:t>Additional information</a:t>
            </a:r>
            <a:endParaRPr lang="en-GB" b="1" dirty="0"/>
          </a:p>
        </p:txBody>
      </p:sp>
      <p:sp>
        <p:nvSpPr>
          <p:cNvPr id="10" name="Text Placeholder 8"/>
          <p:cNvSpPr txBox="1">
            <a:spLocks/>
          </p:cNvSpPr>
          <p:nvPr/>
        </p:nvSpPr>
        <p:spPr bwMode="auto">
          <a:xfrm>
            <a:off x="76200" y="4371975"/>
            <a:ext cx="8877300" cy="314325"/>
          </a:xfrm>
          <a:prstGeom prst="rect">
            <a:avLst/>
          </a:prstGeom>
          <a:noFill/>
          <a:ln w="9525">
            <a:noFill/>
            <a:miter lim="800000"/>
            <a:headEnd/>
            <a:tailEnd/>
          </a:ln>
        </p:spPr>
        <p:txBody>
          <a:bodyPr/>
          <a:lstStyle/>
          <a:p>
            <a:pPr defTabSz="914400" eaLnBrk="0" hangingPunct="0">
              <a:spcBef>
                <a:spcPct val="20000"/>
              </a:spcBef>
              <a:defRPr/>
            </a:pPr>
            <a:r>
              <a:rPr lang="en-US" kern="0" dirty="0">
                <a:solidFill>
                  <a:srgbClr val="144894"/>
                </a:solidFill>
              </a:rPr>
              <a:t>For more information on our activities, please visit ICAO’ website: </a:t>
            </a:r>
            <a:r>
              <a:rPr lang="en-US" b="1" kern="0" dirty="0">
                <a:solidFill>
                  <a:srgbClr val="144894"/>
                </a:solidFill>
              </a:rPr>
              <a:t>http://www.icao.int/env</a:t>
            </a:r>
          </a:p>
          <a:p>
            <a:pPr defTabSz="914400" eaLnBrk="0" hangingPunct="0">
              <a:spcBef>
                <a:spcPct val="20000"/>
              </a:spcBef>
              <a:buFont typeface="Arial" pitchFamily="34" charset="0"/>
              <a:buNone/>
              <a:defRPr/>
            </a:pPr>
            <a:endParaRPr lang="en-US" sz="2400" b="1" kern="0" dirty="0">
              <a:solidFill>
                <a:srgbClr val="144894"/>
              </a:solidFill>
            </a:endParaRPr>
          </a:p>
          <a:p>
            <a:pPr defTabSz="914400" eaLnBrk="0" hangingPunct="0">
              <a:spcBef>
                <a:spcPct val="20000"/>
              </a:spcBef>
              <a:buFont typeface="Arial" pitchFamily="34" charset="0"/>
              <a:buNone/>
              <a:defRPr/>
            </a:pPr>
            <a:endParaRPr lang="en-US" sz="2400" b="1" kern="0" dirty="0">
              <a:solidFill>
                <a:srgbClr val="144894"/>
              </a:solidFill>
            </a:endParaRPr>
          </a:p>
        </p:txBody>
      </p:sp>
      <p:pic>
        <p:nvPicPr>
          <p:cNvPr id="1027" name="Picture 3"/>
          <p:cNvPicPr>
            <a:picLocks noChangeAspect="1" noChangeArrowheads="1"/>
          </p:cNvPicPr>
          <p:nvPr/>
        </p:nvPicPr>
        <p:blipFill>
          <a:blip r:embed="rId3"/>
          <a:srcRect l="30065" t="10440" r="28105" b="1862"/>
          <a:stretch>
            <a:fillRect/>
          </a:stretch>
        </p:blipFill>
        <p:spPr bwMode="auto">
          <a:xfrm>
            <a:off x="76201" y="986572"/>
            <a:ext cx="1598613" cy="1572816"/>
          </a:xfrm>
          <a:prstGeom prst="rect">
            <a:avLst/>
          </a:prstGeom>
          <a:noFill/>
          <a:ln w="9525">
            <a:noFill/>
            <a:miter lim="800000"/>
            <a:headEnd/>
            <a:tailEnd/>
          </a:ln>
        </p:spPr>
      </p:pic>
      <p:pic>
        <p:nvPicPr>
          <p:cNvPr id="3074" name="Picture 2" descr="http://www.icao.int/environmental-protection/PublishingImages/SUSTAF_Review_cover.PNG">
            <a:hlinkClick r:id="rId4"/>
          </p:cNvPr>
          <p:cNvPicPr>
            <a:picLocks noChangeAspect="1" noChangeArrowheads="1"/>
          </p:cNvPicPr>
          <p:nvPr/>
        </p:nvPicPr>
        <p:blipFill>
          <a:blip r:embed="rId5"/>
          <a:srcRect/>
          <a:stretch>
            <a:fillRect/>
          </a:stretch>
        </p:blipFill>
        <p:spPr bwMode="auto">
          <a:xfrm>
            <a:off x="76201" y="2711273"/>
            <a:ext cx="1595437" cy="1572816"/>
          </a:xfrm>
          <a:prstGeom prst="rect">
            <a:avLst/>
          </a:prstGeom>
          <a:noFill/>
          <a:ln>
            <a:noFill/>
          </a:ln>
        </p:spPr>
      </p:pic>
      <p:pic>
        <p:nvPicPr>
          <p:cNvPr id="41991"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18168" y="1008238"/>
            <a:ext cx="1661237" cy="15555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992"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67348" y="2711274"/>
            <a:ext cx="1622425" cy="15692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Slide Number Placeholder 6"/>
          <p:cNvSpPr>
            <a:spLocks noGrp="1"/>
          </p:cNvSpPr>
          <p:nvPr>
            <p:ph type="sldNum" sz="quarter" idx="4294967295"/>
          </p:nvPr>
        </p:nvSpPr>
        <p:spPr>
          <a:xfrm>
            <a:off x="6019800" y="4972050"/>
            <a:ext cx="3124200" cy="171450"/>
          </a:xfrm>
          <a:prstGeom prst="rect">
            <a:avLst/>
          </a:prstGeom>
        </p:spPr>
        <p:txBody>
          <a:bodyPr rIns="91440"/>
          <a:lstStyle/>
          <a:p>
            <a:pPr algn="ctr">
              <a:defRPr/>
            </a:pPr>
            <a:fld id="{70CADAEE-5000-4EEF-AF25-ADF845811417}" type="slidenum">
              <a:rPr lang="en-US">
                <a:solidFill>
                  <a:prstClr val="black">
                    <a:tint val="75000"/>
                  </a:prstClr>
                </a:solidFill>
              </a:rPr>
              <a:pPr algn="ctr">
                <a:defRPr/>
              </a:pPr>
              <a:t>17</a:t>
            </a:fld>
            <a:endParaRPr lang="en-US" dirty="0">
              <a:solidFill>
                <a:prstClr val="black">
                  <a:tint val="75000"/>
                </a:prstClr>
              </a:solidFill>
            </a:endParaRPr>
          </a:p>
        </p:txBody>
      </p:sp>
      <p:pic>
        <p:nvPicPr>
          <p:cNvPr id="12"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l="43721" t="10646" r="18371" b="3669"/>
          <a:stretch/>
        </p:blipFill>
        <p:spPr bwMode="auto">
          <a:xfrm>
            <a:off x="5450732" y="993012"/>
            <a:ext cx="3502769" cy="33402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298" name="Picture 2" descr="http://www.icao.int/publications/PublishingImages/ICAO%20Journal/2013/6802thumb_e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67347" y="994546"/>
            <a:ext cx="1638300" cy="1614488"/>
          </a:xfrm>
          <a:prstGeom prst="rect">
            <a:avLst/>
          </a:prstGeom>
          <a:noFill/>
          <a:extLst>
            <a:ext uri="{909E8E84-426E-40DD-AFC4-6F175D3DCCD1}">
              <a14:hiddenFill xmlns:a14="http://schemas.microsoft.com/office/drawing/2010/main">
                <a:solidFill>
                  <a:srgbClr val="FFFFFF"/>
                </a:solidFill>
              </a14:hiddenFill>
            </a:ext>
          </a:extLst>
        </p:spPr>
      </p:pic>
      <p:pic>
        <p:nvPicPr>
          <p:cNvPr id="55300" name="Picture 4" descr="http://www.icao.int/environmental-protection/PublishingImages/Rio20_Publication_200px.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39433" y="2735620"/>
            <a:ext cx="1565560" cy="152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2031972"/>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3"/>
          <p:cNvPicPr>
            <a:picLocks noChangeAspect="1" noChangeArrowheads="1"/>
          </p:cNvPicPr>
          <p:nvPr/>
        </p:nvPicPr>
        <p:blipFill rotWithShape="1">
          <a:blip r:embed="rId2" cstate="print"/>
          <a:srcRect r="13380" b="27979"/>
          <a:stretch/>
        </p:blipFill>
        <p:spPr bwMode="auto">
          <a:xfrm>
            <a:off x="0" y="904191"/>
            <a:ext cx="9144000" cy="5518863"/>
          </a:xfrm>
          <a:prstGeom prst="rect">
            <a:avLst/>
          </a:prstGeom>
          <a:noFill/>
          <a:ln w="9525">
            <a:noFill/>
            <a:miter lim="800000"/>
            <a:headEnd/>
            <a:tailEnd/>
          </a:ln>
        </p:spPr>
      </p:pic>
      <p:sp>
        <p:nvSpPr>
          <p:cNvPr id="17" name="Text Box 7"/>
          <p:cNvSpPr txBox="1">
            <a:spLocks noChangeArrowheads="1"/>
          </p:cNvSpPr>
          <p:nvPr/>
        </p:nvSpPr>
        <p:spPr bwMode="auto">
          <a:xfrm>
            <a:off x="228600" y="4048125"/>
            <a:ext cx="1357312" cy="257175"/>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r>
              <a:rPr lang="en-US" sz="900" dirty="0">
                <a:solidFill>
                  <a:srgbClr val="000000"/>
                </a:solidFill>
                <a:latin typeface="Arial" pitchFamily="34" charset="0"/>
                <a:cs typeface="Arial" pitchFamily="34" charset="0"/>
              </a:rPr>
              <a:t>Produced by</a:t>
            </a:r>
            <a:endParaRPr lang="en-US" dirty="0">
              <a:latin typeface="Arial" pitchFamily="34" charset="0"/>
              <a:cs typeface="Arial" pitchFamily="34" charset="0"/>
            </a:endParaRPr>
          </a:p>
        </p:txBody>
      </p:sp>
      <p:pic>
        <p:nvPicPr>
          <p:cNvPr id="18" name="Picture 8" descr="Kwclear"/>
          <p:cNvPicPr>
            <a:picLocks noChangeAspect="1" noChangeArrowheads="1"/>
          </p:cNvPicPr>
          <p:nvPr/>
        </p:nvPicPr>
        <p:blipFill>
          <a:blip r:embed="rId3" cstate="print">
            <a:clrChange>
              <a:clrFrom>
                <a:srgbClr val="FDFDFD"/>
              </a:clrFrom>
              <a:clrTo>
                <a:srgbClr val="FDFDFD">
                  <a:alpha val="0"/>
                </a:srgbClr>
              </a:clrTo>
            </a:clrChange>
          </a:blip>
          <a:srcRect/>
          <a:stretch>
            <a:fillRect/>
          </a:stretch>
        </p:blipFill>
        <p:spPr bwMode="auto">
          <a:xfrm>
            <a:off x="228604" y="4250149"/>
            <a:ext cx="1279525" cy="226603"/>
          </a:xfrm>
          <a:prstGeom prst="rect">
            <a:avLst/>
          </a:prstGeom>
          <a:noFill/>
          <a:ln w="9525" algn="in">
            <a:noFill/>
            <a:miter lim="800000"/>
            <a:headEnd/>
            <a:tailEnd/>
          </a:ln>
          <a:effectLst/>
        </p:spPr>
      </p:pic>
      <p:sp>
        <p:nvSpPr>
          <p:cNvPr id="20" name="Text Box 9"/>
          <p:cNvSpPr txBox="1">
            <a:spLocks noChangeArrowheads="1"/>
          </p:cNvSpPr>
          <p:nvPr/>
        </p:nvSpPr>
        <p:spPr bwMode="auto">
          <a:xfrm>
            <a:off x="2362200" y="133350"/>
            <a:ext cx="2667000" cy="971550"/>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endParaRPr lang="en-US" sz="800" b="1" dirty="0">
              <a:solidFill>
                <a:srgbClr val="00CCFF"/>
              </a:solidFill>
              <a:latin typeface="Arial" pitchFamily="34" charset="0"/>
              <a:cs typeface="Arial" pitchFamily="34" charset="0"/>
            </a:endParaRPr>
          </a:p>
          <a:p>
            <a:pPr fontAlgn="base">
              <a:spcBef>
                <a:spcPct val="0"/>
              </a:spcBef>
              <a:spcAft>
                <a:spcPct val="0"/>
              </a:spcAft>
            </a:pPr>
            <a:r>
              <a:rPr lang="en-US" sz="2400" b="1" dirty="0">
                <a:latin typeface="Arial" pitchFamily="34" charset="0"/>
                <a:cs typeface="Arial" pitchFamily="34" charset="0"/>
              </a:rPr>
              <a:t>CAAFI 2014</a:t>
            </a:r>
          </a:p>
          <a:p>
            <a:pPr fontAlgn="base">
              <a:spcBef>
                <a:spcPct val="0"/>
              </a:spcBef>
              <a:spcAft>
                <a:spcPct val="0"/>
              </a:spcAft>
            </a:pPr>
            <a:r>
              <a:rPr lang="en-US" sz="2400" b="1" dirty="0">
                <a:latin typeface="Arial" pitchFamily="34" charset="0"/>
                <a:cs typeface="Arial" pitchFamily="34" charset="0"/>
              </a:rPr>
              <a:t>General Meeting</a:t>
            </a:r>
          </a:p>
          <a:p>
            <a:pPr fontAlgn="base">
              <a:spcBef>
                <a:spcPct val="0"/>
              </a:spcBef>
              <a:spcAft>
                <a:spcPct val="0"/>
              </a:spcAft>
            </a:pPr>
            <a:r>
              <a:rPr lang="en-US" sz="2400" b="1" dirty="0">
                <a:latin typeface="Arial" pitchFamily="34" charset="0"/>
                <a:cs typeface="Arial" pitchFamily="34" charset="0"/>
              </a:rPr>
              <a:t>&amp; Expo</a:t>
            </a:r>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801" y="66179"/>
            <a:ext cx="1981200" cy="1286372"/>
          </a:xfrm>
          <a:prstGeom prst="rect">
            <a:avLst/>
          </a:prstGeom>
        </p:spPr>
      </p:pic>
      <p:sp>
        <p:nvSpPr>
          <p:cNvPr id="2" name="TextBox 1"/>
          <p:cNvSpPr txBox="1"/>
          <p:nvPr/>
        </p:nvSpPr>
        <p:spPr>
          <a:xfrm>
            <a:off x="457200" y="1581151"/>
            <a:ext cx="5105400" cy="1508093"/>
          </a:xfrm>
          <a:prstGeom prst="rect">
            <a:avLst/>
          </a:prstGeom>
          <a:noFill/>
        </p:spPr>
        <p:txBody>
          <a:bodyPr wrap="square" lIns="91428" tIns="45714" rIns="91428" bIns="45714" rtlCol="0">
            <a:spAutoFit/>
          </a:bodyPr>
          <a:lstStyle/>
          <a:p>
            <a:r>
              <a:rPr lang="en-US" sz="4400"/>
              <a:t>Joachim Buse, </a:t>
            </a:r>
          </a:p>
          <a:p>
            <a:r>
              <a:rPr lang="en-US" sz="2400"/>
              <a:t>Vice Chairman, Av. Init.  for Renewable Energy in Germany e.V., aireg</a:t>
            </a:r>
          </a:p>
        </p:txBody>
      </p:sp>
    </p:spTree>
    <p:extLst>
      <p:ext uri="{BB962C8B-B14F-4D97-AF65-F5344CB8AC3E}">
        <p14:creationId xmlns:p14="http://schemas.microsoft.com/office/powerpoint/2010/main" val="39483693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el 1"/>
          <p:cNvSpPr>
            <a:spLocks noGrp="1"/>
          </p:cNvSpPr>
          <p:nvPr>
            <p:ph type="ctrTitle"/>
          </p:nvPr>
        </p:nvSpPr>
        <p:spPr>
          <a:xfrm>
            <a:off x="683568" y="321500"/>
            <a:ext cx="7772400" cy="3186354"/>
          </a:xfrm>
          <a:ln>
            <a:solidFill>
              <a:schemeClr val="bg1"/>
            </a:solidFill>
          </a:ln>
        </p:spPr>
        <p:txBody>
          <a:bodyPr/>
          <a:lstStyle/>
          <a:p>
            <a:pPr algn="l" eaLnBrk="1" hangingPunct="1"/>
            <a:r>
              <a:rPr lang="en-US" sz="5400" b="1" dirty="0" smtClean="0">
                <a:latin typeface="+mn-lt"/>
                <a:cs typeface="Arial" charset="0"/>
              </a:rPr>
              <a:t>aireg</a:t>
            </a:r>
            <a:r>
              <a:rPr lang="en-US" sz="6600" b="1" dirty="0" smtClean="0">
                <a:latin typeface="+mn-lt"/>
                <a:cs typeface="Arial" charset="0"/>
              </a:rPr>
              <a:t/>
            </a:r>
            <a:br>
              <a:rPr lang="en-US" sz="6600" b="1" dirty="0" smtClean="0">
                <a:latin typeface="+mn-lt"/>
                <a:cs typeface="Arial" charset="0"/>
              </a:rPr>
            </a:br>
            <a:r>
              <a:rPr lang="en-US" sz="2700" b="1" dirty="0" smtClean="0">
                <a:latin typeface="+mn-lt"/>
                <a:cs typeface="Arial" charset="0"/>
              </a:rPr>
              <a:t>Aviation Initiative for Renewable Energy in Germany</a:t>
            </a:r>
            <a:r>
              <a:rPr lang="en-US" sz="6600" b="1" dirty="0" smtClean="0">
                <a:solidFill>
                  <a:srgbClr val="3E4042"/>
                </a:solidFill>
                <a:latin typeface="+mn-lt"/>
                <a:cs typeface="Arial" charset="0"/>
              </a:rPr>
              <a:t/>
            </a:r>
            <a:br>
              <a:rPr lang="en-US" sz="6600" b="1" dirty="0" smtClean="0">
                <a:solidFill>
                  <a:srgbClr val="3E4042"/>
                </a:solidFill>
                <a:latin typeface="+mn-lt"/>
                <a:cs typeface="Arial" charset="0"/>
              </a:rPr>
            </a:br>
            <a:r>
              <a:rPr lang="en-US" sz="2400" b="1" dirty="0" smtClean="0">
                <a:solidFill>
                  <a:schemeClr val="bg1"/>
                </a:solidFill>
                <a:latin typeface="+mn-lt"/>
                <a:cs typeface="Arial" charset="0"/>
              </a:rPr>
              <a:t>j</a:t>
            </a:r>
            <a:r>
              <a:rPr lang="en-US" sz="2800" b="1" dirty="0" smtClean="0">
                <a:solidFill>
                  <a:srgbClr val="3E4042"/>
                </a:solidFill>
                <a:latin typeface="+mn-lt"/>
                <a:cs typeface="Arial" charset="0"/>
              </a:rPr>
              <a:t/>
            </a:r>
            <a:br>
              <a:rPr lang="en-US" sz="2800" b="1" dirty="0" smtClean="0">
                <a:solidFill>
                  <a:srgbClr val="3E4042"/>
                </a:solidFill>
                <a:latin typeface="+mn-lt"/>
                <a:cs typeface="Arial" charset="0"/>
              </a:rPr>
            </a:br>
            <a:r>
              <a:rPr lang="en-US" sz="2700" b="1" i="1" dirty="0" smtClean="0">
                <a:solidFill>
                  <a:srgbClr val="0064AE"/>
                </a:solidFill>
                <a:latin typeface="+mn-lt"/>
                <a:cs typeface="Arial" charset="0"/>
              </a:rPr>
              <a:t>The future of climate-friendly aviation:</a:t>
            </a:r>
            <a:br>
              <a:rPr lang="en-US" sz="2700" b="1" i="1" dirty="0" smtClean="0">
                <a:solidFill>
                  <a:srgbClr val="0064AE"/>
                </a:solidFill>
                <a:latin typeface="+mn-lt"/>
                <a:cs typeface="Arial" charset="0"/>
              </a:rPr>
            </a:br>
            <a:r>
              <a:rPr lang="en-US" sz="2700" b="1" i="1" dirty="0" smtClean="0">
                <a:solidFill>
                  <a:srgbClr val="0064AE"/>
                </a:solidFill>
                <a:latin typeface="+mn-lt"/>
                <a:cs typeface="Arial" charset="0"/>
              </a:rPr>
              <a:t>Ten percent alternative aviation fuels by 2025</a:t>
            </a:r>
            <a:br>
              <a:rPr lang="en-US" sz="2700" b="1" i="1" dirty="0" smtClean="0">
                <a:solidFill>
                  <a:srgbClr val="0064AE"/>
                </a:solidFill>
                <a:latin typeface="+mn-lt"/>
                <a:cs typeface="Arial" charset="0"/>
              </a:rPr>
            </a:br>
            <a:r>
              <a:rPr lang="en-US" sz="2700" b="1" i="1" dirty="0" smtClean="0">
                <a:solidFill>
                  <a:srgbClr val="0064AE"/>
                </a:solidFill>
                <a:latin typeface="+mn-lt"/>
                <a:cs typeface="Arial" charset="0"/>
              </a:rPr>
              <a:t/>
            </a:r>
            <a:br>
              <a:rPr lang="en-US" sz="2700" b="1" i="1" dirty="0" smtClean="0">
                <a:solidFill>
                  <a:srgbClr val="0064AE"/>
                </a:solidFill>
                <a:latin typeface="+mn-lt"/>
                <a:cs typeface="Arial" charset="0"/>
              </a:rPr>
            </a:br>
            <a:r>
              <a:rPr lang="en-US" sz="1400" b="1" dirty="0" smtClean="0">
                <a:latin typeface="+mn-lt"/>
                <a:cs typeface="Arial" charset="0"/>
              </a:rPr>
              <a:t>Joachim Buse</a:t>
            </a:r>
            <a:br>
              <a:rPr lang="en-US" sz="1400" b="1" dirty="0" smtClean="0">
                <a:latin typeface="+mn-lt"/>
                <a:cs typeface="Arial" charset="0"/>
              </a:rPr>
            </a:br>
            <a:r>
              <a:rPr lang="en-US" sz="1400" b="1" dirty="0" smtClean="0">
                <a:latin typeface="+mn-lt"/>
                <a:cs typeface="Arial" charset="0"/>
              </a:rPr>
              <a:t>Deputy Chairman</a:t>
            </a:r>
            <a:br>
              <a:rPr lang="en-US" sz="1400" b="1" dirty="0" smtClean="0">
                <a:latin typeface="+mn-lt"/>
                <a:cs typeface="Arial" charset="0"/>
              </a:rPr>
            </a:br>
            <a:r>
              <a:rPr lang="en-US" sz="1400" b="1" dirty="0" smtClean="0">
                <a:latin typeface="+mn-lt"/>
                <a:cs typeface="Arial" charset="0"/>
              </a:rPr>
              <a:t>Washington D.C.</a:t>
            </a:r>
            <a:br>
              <a:rPr lang="en-US" sz="1400" b="1" dirty="0" smtClean="0">
                <a:latin typeface="+mn-lt"/>
                <a:cs typeface="Arial" charset="0"/>
              </a:rPr>
            </a:br>
            <a:r>
              <a:rPr lang="en-US" sz="1400" b="1" dirty="0" smtClean="0">
                <a:latin typeface="+mn-lt"/>
                <a:cs typeface="Arial" charset="0"/>
              </a:rPr>
              <a:t>Jan. 29</a:t>
            </a:r>
            <a:r>
              <a:rPr lang="en-US" sz="1400" b="1" baseline="30000" dirty="0" smtClean="0">
                <a:latin typeface="+mn-lt"/>
                <a:cs typeface="Arial" charset="0"/>
              </a:rPr>
              <a:t>th</a:t>
            </a:r>
            <a:r>
              <a:rPr lang="en-US" sz="1400" b="1" dirty="0" smtClean="0">
                <a:latin typeface="+mn-lt"/>
                <a:cs typeface="Arial" charset="0"/>
              </a:rPr>
              <a:t>, 2014</a:t>
            </a:r>
          </a:p>
        </p:txBody>
      </p:sp>
      <p:sp>
        <p:nvSpPr>
          <p:cNvPr id="8" name="Rechteck 7"/>
          <p:cNvSpPr/>
          <p:nvPr/>
        </p:nvSpPr>
        <p:spPr>
          <a:xfrm>
            <a:off x="0" y="3813888"/>
            <a:ext cx="9144000" cy="54006"/>
          </a:xfrm>
          <a:prstGeom prst="rect">
            <a:avLst/>
          </a:prstGeom>
          <a:solidFill>
            <a:srgbClr val="007EC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e-DE">
              <a:solidFill>
                <a:prstClr val="white"/>
              </a:solidFill>
            </a:endParaRPr>
          </a:p>
        </p:txBody>
      </p:sp>
      <p:sp>
        <p:nvSpPr>
          <p:cNvPr id="9" name="Rechteck 8"/>
          <p:cNvSpPr/>
          <p:nvPr/>
        </p:nvSpPr>
        <p:spPr>
          <a:xfrm>
            <a:off x="0" y="3942504"/>
            <a:ext cx="9144000" cy="58772"/>
          </a:xfrm>
          <a:prstGeom prst="rect">
            <a:avLst/>
          </a:prstGeom>
          <a:solidFill>
            <a:srgbClr val="002A6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e-DE">
              <a:solidFill>
                <a:prstClr val="white"/>
              </a:solidFill>
            </a:endParaRPr>
          </a:p>
        </p:txBody>
      </p:sp>
      <p:pic>
        <p:nvPicPr>
          <p:cNvPr id="2053" name="Grafik 5"/>
          <p:cNvPicPr>
            <a:picLocks noChangeAspect="1"/>
          </p:cNvPicPr>
          <p:nvPr/>
        </p:nvPicPr>
        <p:blipFill>
          <a:blip r:embed="rId3" cstate="print"/>
          <a:srcRect/>
          <a:stretch>
            <a:fillRect/>
          </a:stretch>
        </p:blipFill>
        <p:spPr bwMode="auto">
          <a:xfrm>
            <a:off x="6507164" y="4137423"/>
            <a:ext cx="2359025" cy="864394"/>
          </a:xfrm>
          <a:prstGeom prst="rect">
            <a:avLst/>
          </a:prstGeom>
          <a:noFill/>
          <a:ln w="9525">
            <a:noFill/>
            <a:miter lim="800000"/>
            <a:headEnd/>
            <a:tailEnd/>
          </a:ln>
        </p:spPr>
      </p:pic>
    </p:spTree>
    <p:extLst>
      <p:ext uri="{BB962C8B-B14F-4D97-AF65-F5344CB8AC3E}">
        <p14:creationId xmlns:p14="http://schemas.microsoft.com/office/powerpoint/2010/main" val="3299809665"/>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Text Box 1029"/>
          <p:cNvSpPr txBox="1">
            <a:spLocks noChangeArrowheads="1"/>
          </p:cNvSpPr>
          <p:nvPr/>
        </p:nvSpPr>
        <p:spPr bwMode="auto">
          <a:xfrm>
            <a:off x="0" y="2"/>
            <a:ext cx="9144000" cy="461653"/>
          </a:xfrm>
          <a:prstGeom prst="rect">
            <a:avLst/>
          </a:prstGeom>
          <a:noFill/>
          <a:ln w="9525">
            <a:noFill/>
            <a:miter lim="800000"/>
            <a:headEnd/>
            <a:tailEnd/>
          </a:ln>
        </p:spPr>
        <p:txBody>
          <a:bodyPr lIns="91428" tIns="45714" rIns="91428" bIns="45714">
            <a:spAutoFit/>
          </a:bodyPr>
          <a:lstStyle/>
          <a:p>
            <a:pPr fontAlgn="base">
              <a:spcBef>
                <a:spcPct val="0"/>
              </a:spcBef>
              <a:spcAft>
                <a:spcPct val="0"/>
              </a:spcAft>
            </a:pPr>
            <a:endParaRPr lang="en-US" sz="2400">
              <a:solidFill>
                <a:prstClr val="black"/>
              </a:solidFill>
              <a:latin typeface="Times New Roman" pitchFamily="18" charset="0"/>
            </a:endParaRPr>
          </a:p>
        </p:txBody>
      </p:sp>
      <p:sp>
        <p:nvSpPr>
          <p:cNvPr id="16389" name="Text Box 1031"/>
          <p:cNvSpPr txBox="1">
            <a:spLocks noChangeArrowheads="1"/>
          </p:cNvSpPr>
          <p:nvPr/>
        </p:nvSpPr>
        <p:spPr bwMode="auto">
          <a:xfrm>
            <a:off x="283005" y="171454"/>
            <a:ext cx="9144000" cy="584763"/>
          </a:xfrm>
          <a:prstGeom prst="rect">
            <a:avLst/>
          </a:prstGeom>
          <a:noFill/>
          <a:ln w="9525">
            <a:noFill/>
            <a:miter lim="800000"/>
            <a:headEnd/>
            <a:tailEnd/>
          </a:ln>
        </p:spPr>
        <p:txBody>
          <a:bodyPr wrap="square" lIns="91428" tIns="45714" rIns="91428" bIns="45714">
            <a:spAutoFit/>
          </a:bodyPr>
          <a:lstStyle/>
          <a:p>
            <a:pPr fontAlgn="base">
              <a:spcBef>
                <a:spcPct val="0"/>
              </a:spcBef>
              <a:spcAft>
                <a:spcPct val="0"/>
              </a:spcAft>
            </a:pPr>
            <a:r>
              <a:rPr lang="en-US" sz="3200" b="1" dirty="0">
                <a:solidFill>
                  <a:srgbClr val="002060"/>
                </a:solidFill>
                <a:latin typeface="Calibri"/>
              </a:rPr>
              <a:t>Coordinating with Global Efforts</a:t>
            </a:r>
          </a:p>
        </p:txBody>
      </p:sp>
      <p:pic>
        <p:nvPicPr>
          <p:cNvPr id="16391" name="Picture 2" descr="Image of National Flag &quot;Stars and Stripes&quot;"/>
          <p:cNvPicPr>
            <a:picLocks noChangeAspect="1" noChangeArrowheads="1"/>
          </p:cNvPicPr>
          <p:nvPr/>
        </p:nvPicPr>
        <p:blipFill>
          <a:blip r:embed="rId3" cstate="print"/>
          <a:srcRect/>
          <a:stretch>
            <a:fillRect/>
          </a:stretch>
        </p:blipFill>
        <p:spPr bwMode="auto">
          <a:xfrm>
            <a:off x="1219201" y="893991"/>
            <a:ext cx="1066800" cy="471964"/>
          </a:xfrm>
          <a:prstGeom prst="rect">
            <a:avLst/>
          </a:prstGeom>
          <a:noFill/>
          <a:ln w="9525">
            <a:noFill/>
            <a:miter lim="800000"/>
            <a:headEnd/>
            <a:tailEnd/>
          </a:ln>
        </p:spPr>
      </p:pic>
      <p:pic>
        <p:nvPicPr>
          <p:cNvPr id="16393" name="Picture 4" descr="Image of European Union"/>
          <p:cNvPicPr>
            <a:picLocks noChangeAspect="1" noChangeArrowheads="1"/>
          </p:cNvPicPr>
          <p:nvPr/>
        </p:nvPicPr>
        <p:blipFill>
          <a:blip r:embed="rId4" cstate="print"/>
          <a:srcRect/>
          <a:stretch>
            <a:fillRect/>
          </a:stretch>
        </p:blipFill>
        <p:spPr bwMode="auto">
          <a:xfrm>
            <a:off x="4375795" y="864880"/>
            <a:ext cx="990600" cy="497948"/>
          </a:xfrm>
          <a:prstGeom prst="rect">
            <a:avLst/>
          </a:prstGeom>
          <a:noFill/>
          <a:ln w="9525">
            <a:noFill/>
            <a:miter lim="800000"/>
            <a:headEnd/>
            <a:tailEnd/>
          </a:ln>
        </p:spPr>
      </p:pic>
      <p:pic>
        <p:nvPicPr>
          <p:cNvPr id="16394" name="Picture 6" descr="Image of National Flag"/>
          <p:cNvPicPr>
            <a:picLocks noChangeAspect="1" noChangeArrowheads="1"/>
          </p:cNvPicPr>
          <p:nvPr/>
        </p:nvPicPr>
        <p:blipFill>
          <a:blip r:embed="rId5" cstate="print"/>
          <a:srcRect/>
          <a:stretch>
            <a:fillRect/>
          </a:stretch>
        </p:blipFill>
        <p:spPr bwMode="auto">
          <a:xfrm>
            <a:off x="2827345" y="842008"/>
            <a:ext cx="990600" cy="521978"/>
          </a:xfrm>
          <a:prstGeom prst="rect">
            <a:avLst/>
          </a:prstGeom>
          <a:noFill/>
          <a:ln w="9525">
            <a:noFill/>
            <a:miter lim="800000"/>
            <a:headEnd/>
            <a:tailEnd/>
          </a:ln>
        </p:spPr>
      </p:pic>
      <p:pic>
        <p:nvPicPr>
          <p:cNvPr id="55300" name="Picture 4" descr="australia flag">
            <a:hlinkClick r:id="rId6"/>
          </p:cNvPr>
          <p:cNvPicPr>
            <a:picLocks noChangeAspect="1" noChangeArrowheads="1"/>
          </p:cNvPicPr>
          <p:nvPr/>
        </p:nvPicPr>
        <p:blipFill>
          <a:blip r:embed="rId7" cstate="print"/>
          <a:srcRect/>
          <a:stretch>
            <a:fillRect/>
          </a:stretch>
        </p:blipFill>
        <p:spPr bwMode="auto">
          <a:xfrm>
            <a:off x="5867364" y="857250"/>
            <a:ext cx="990600" cy="491490"/>
          </a:xfrm>
          <a:prstGeom prst="rect">
            <a:avLst/>
          </a:prstGeom>
          <a:noFill/>
        </p:spPr>
      </p:pic>
      <p:sp>
        <p:nvSpPr>
          <p:cNvPr id="25" name="TextBox 24"/>
          <p:cNvSpPr txBox="1"/>
          <p:nvPr/>
        </p:nvSpPr>
        <p:spPr>
          <a:xfrm>
            <a:off x="4110590" y="1387482"/>
            <a:ext cx="1488830" cy="276987"/>
          </a:xfrm>
          <a:prstGeom prst="rect">
            <a:avLst/>
          </a:prstGeom>
          <a:noFill/>
        </p:spPr>
        <p:txBody>
          <a:bodyPr wrap="square" lIns="91428" tIns="45714" rIns="91428" bIns="45714" rtlCol="0">
            <a:spAutoFit/>
          </a:bodyPr>
          <a:lstStyle/>
          <a:p>
            <a:pPr fontAlgn="base">
              <a:spcBef>
                <a:spcPct val="0"/>
              </a:spcBef>
              <a:spcAft>
                <a:spcPct val="0"/>
              </a:spcAft>
            </a:pPr>
            <a:r>
              <a:rPr lang="en-US" sz="1200" b="1" dirty="0">
                <a:solidFill>
                  <a:prstClr val="black"/>
                </a:solidFill>
                <a:latin typeface="Calibri"/>
              </a:rPr>
              <a:t>SWAFEA/</a:t>
            </a:r>
            <a:r>
              <a:rPr lang="en-US" sz="1200" b="1" dirty="0" err="1">
                <a:solidFill>
                  <a:prstClr val="black"/>
                </a:solidFill>
                <a:latin typeface="Calibri"/>
              </a:rPr>
              <a:t>Alfabird</a:t>
            </a:r>
            <a:endParaRPr lang="en-US" sz="1200" b="1" dirty="0">
              <a:solidFill>
                <a:prstClr val="black"/>
              </a:solidFill>
              <a:latin typeface="Calibri"/>
            </a:endParaRPr>
          </a:p>
        </p:txBody>
      </p:sp>
      <p:sp>
        <p:nvSpPr>
          <p:cNvPr id="28" name="TextBox 27"/>
          <p:cNvSpPr txBox="1"/>
          <p:nvPr/>
        </p:nvSpPr>
        <p:spPr>
          <a:xfrm>
            <a:off x="2510391" y="1410266"/>
            <a:ext cx="1600200" cy="276987"/>
          </a:xfrm>
          <a:prstGeom prst="rect">
            <a:avLst/>
          </a:prstGeom>
          <a:noFill/>
        </p:spPr>
        <p:txBody>
          <a:bodyPr wrap="square" lIns="91428" tIns="45714" rIns="91428" bIns="45714" rtlCol="0">
            <a:spAutoFit/>
          </a:bodyPr>
          <a:lstStyle/>
          <a:p>
            <a:pPr algn="ctr" fontAlgn="base">
              <a:spcBef>
                <a:spcPct val="0"/>
              </a:spcBef>
              <a:spcAft>
                <a:spcPct val="0"/>
              </a:spcAft>
            </a:pPr>
            <a:r>
              <a:rPr lang="en-US" sz="1200" b="1" dirty="0">
                <a:solidFill>
                  <a:prstClr val="black"/>
                </a:solidFill>
                <a:latin typeface="Calibri"/>
              </a:rPr>
              <a:t>ABRABA/SABB</a:t>
            </a:r>
          </a:p>
        </p:txBody>
      </p:sp>
      <p:pic>
        <p:nvPicPr>
          <p:cNvPr id="12290" name="Picture 2" descr="Image of National Flag"/>
          <p:cNvPicPr>
            <a:picLocks noChangeAspect="1" noChangeArrowheads="1"/>
          </p:cNvPicPr>
          <p:nvPr/>
        </p:nvPicPr>
        <p:blipFill>
          <a:blip r:embed="rId8" cstate="print"/>
          <a:srcRect/>
          <a:stretch>
            <a:fillRect/>
          </a:stretch>
        </p:blipFill>
        <p:spPr bwMode="auto">
          <a:xfrm>
            <a:off x="2737291" y="1884607"/>
            <a:ext cx="1180514" cy="593300"/>
          </a:xfrm>
          <a:prstGeom prst="rect">
            <a:avLst/>
          </a:prstGeom>
          <a:noFill/>
        </p:spPr>
      </p:pic>
      <p:pic>
        <p:nvPicPr>
          <p:cNvPr id="12294" name="Picture 6" descr="Image of National Flag"/>
          <p:cNvPicPr>
            <a:picLocks noChangeAspect="1" noChangeArrowheads="1"/>
          </p:cNvPicPr>
          <p:nvPr/>
        </p:nvPicPr>
        <p:blipFill>
          <a:blip r:embed="rId9" cstate="print"/>
          <a:srcRect/>
          <a:stretch>
            <a:fillRect/>
          </a:stretch>
        </p:blipFill>
        <p:spPr bwMode="auto">
          <a:xfrm>
            <a:off x="4283505" y="1918610"/>
            <a:ext cx="1143000" cy="574445"/>
          </a:xfrm>
          <a:prstGeom prst="rect">
            <a:avLst/>
          </a:prstGeom>
          <a:noFill/>
        </p:spPr>
      </p:pic>
      <p:sp>
        <p:nvSpPr>
          <p:cNvPr id="31" name="TextBox 30"/>
          <p:cNvSpPr txBox="1"/>
          <p:nvPr/>
        </p:nvSpPr>
        <p:spPr>
          <a:xfrm>
            <a:off x="4453225" y="2547260"/>
            <a:ext cx="1219200" cy="276987"/>
          </a:xfrm>
          <a:prstGeom prst="rect">
            <a:avLst/>
          </a:prstGeom>
          <a:noFill/>
        </p:spPr>
        <p:txBody>
          <a:bodyPr wrap="square" lIns="91428" tIns="45714" rIns="91428" bIns="45714" rtlCol="0">
            <a:spAutoFit/>
          </a:bodyPr>
          <a:lstStyle/>
          <a:p>
            <a:pPr fontAlgn="base">
              <a:spcBef>
                <a:spcPct val="0"/>
              </a:spcBef>
              <a:spcAft>
                <a:spcPct val="0"/>
              </a:spcAft>
            </a:pPr>
            <a:r>
              <a:rPr lang="en-US" sz="1200" b="1" dirty="0">
                <a:solidFill>
                  <a:prstClr val="black"/>
                </a:solidFill>
                <a:latin typeface="Calibri"/>
              </a:rPr>
              <a:t>Sky NRG</a:t>
            </a:r>
          </a:p>
        </p:txBody>
      </p:sp>
      <p:pic>
        <p:nvPicPr>
          <p:cNvPr id="12296" name="Picture 8" descr="Image of National Flag"/>
          <p:cNvPicPr>
            <a:picLocks noChangeAspect="1" noChangeArrowheads="1"/>
          </p:cNvPicPr>
          <p:nvPr/>
        </p:nvPicPr>
        <p:blipFill>
          <a:blip r:embed="rId10" cstate="print"/>
          <a:srcRect/>
          <a:stretch>
            <a:fillRect/>
          </a:stretch>
        </p:blipFill>
        <p:spPr bwMode="auto">
          <a:xfrm>
            <a:off x="1122489" y="1859635"/>
            <a:ext cx="1260231" cy="571500"/>
          </a:xfrm>
          <a:prstGeom prst="rect">
            <a:avLst/>
          </a:prstGeom>
          <a:noFill/>
        </p:spPr>
      </p:pic>
      <p:sp>
        <p:nvSpPr>
          <p:cNvPr id="36" name="TextBox 35"/>
          <p:cNvSpPr txBox="1"/>
          <p:nvPr/>
        </p:nvSpPr>
        <p:spPr>
          <a:xfrm>
            <a:off x="1122486" y="2467879"/>
            <a:ext cx="1143000" cy="276987"/>
          </a:xfrm>
          <a:prstGeom prst="rect">
            <a:avLst/>
          </a:prstGeom>
          <a:noFill/>
        </p:spPr>
        <p:txBody>
          <a:bodyPr wrap="square" lIns="91428" tIns="45714" rIns="91428" bIns="45714" rtlCol="0">
            <a:spAutoFit/>
          </a:bodyPr>
          <a:lstStyle/>
          <a:p>
            <a:pPr algn="ctr" fontAlgn="base">
              <a:spcBef>
                <a:spcPct val="0"/>
              </a:spcBef>
              <a:spcAft>
                <a:spcPct val="0"/>
              </a:spcAft>
            </a:pPr>
            <a:r>
              <a:rPr lang="en-US" sz="1200" b="1" dirty="0">
                <a:solidFill>
                  <a:prstClr val="black"/>
                </a:solidFill>
                <a:latin typeface="Calibri"/>
              </a:rPr>
              <a:t>Aireg</a:t>
            </a:r>
          </a:p>
        </p:txBody>
      </p:sp>
      <p:sp>
        <p:nvSpPr>
          <p:cNvPr id="37" name="TextBox 36"/>
          <p:cNvSpPr txBox="1"/>
          <p:nvPr/>
        </p:nvSpPr>
        <p:spPr>
          <a:xfrm>
            <a:off x="5333965" y="1428754"/>
            <a:ext cx="2057400" cy="276987"/>
          </a:xfrm>
          <a:prstGeom prst="rect">
            <a:avLst/>
          </a:prstGeom>
          <a:noFill/>
        </p:spPr>
        <p:txBody>
          <a:bodyPr wrap="square" lIns="91428" tIns="45714" rIns="91428" bIns="45714" rtlCol="0">
            <a:spAutoFit/>
          </a:bodyPr>
          <a:lstStyle/>
          <a:p>
            <a:pPr algn="ctr" fontAlgn="base">
              <a:spcBef>
                <a:spcPct val="0"/>
              </a:spcBef>
              <a:spcAft>
                <a:spcPct val="0"/>
              </a:spcAft>
            </a:pPr>
            <a:r>
              <a:rPr lang="en-US" sz="1200" b="1" dirty="0">
                <a:solidFill>
                  <a:prstClr val="black"/>
                </a:solidFill>
                <a:latin typeface="Calibri"/>
              </a:rPr>
              <a:t>Australia / AISAF</a:t>
            </a:r>
          </a:p>
        </p:txBody>
      </p:sp>
      <p:pic>
        <p:nvPicPr>
          <p:cNvPr id="12298" name="Picture 10" descr="Image of National Flag"/>
          <p:cNvPicPr>
            <a:picLocks noChangeAspect="1" noChangeArrowheads="1"/>
          </p:cNvPicPr>
          <p:nvPr/>
        </p:nvPicPr>
        <p:blipFill>
          <a:blip r:embed="rId11" cstate="print"/>
          <a:srcRect/>
          <a:stretch>
            <a:fillRect/>
          </a:stretch>
        </p:blipFill>
        <p:spPr bwMode="auto">
          <a:xfrm>
            <a:off x="5829264" y="1918609"/>
            <a:ext cx="1264496" cy="560084"/>
          </a:xfrm>
          <a:prstGeom prst="rect">
            <a:avLst/>
          </a:prstGeom>
          <a:noFill/>
        </p:spPr>
      </p:pic>
      <p:sp>
        <p:nvSpPr>
          <p:cNvPr id="39" name="TextBox 38"/>
          <p:cNvSpPr txBox="1"/>
          <p:nvPr/>
        </p:nvSpPr>
        <p:spPr>
          <a:xfrm>
            <a:off x="5295865" y="2556970"/>
            <a:ext cx="2133600" cy="276987"/>
          </a:xfrm>
          <a:prstGeom prst="rect">
            <a:avLst/>
          </a:prstGeom>
          <a:noFill/>
        </p:spPr>
        <p:txBody>
          <a:bodyPr wrap="square" lIns="91428" tIns="45714" rIns="91428" bIns="45714" rtlCol="0">
            <a:spAutoFit/>
          </a:bodyPr>
          <a:lstStyle/>
          <a:p>
            <a:pPr algn="ctr" fontAlgn="base">
              <a:spcBef>
                <a:spcPct val="0"/>
              </a:spcBef>
              <a:spcAft>
                <a:spcPct val="0"/>
              </a:spcAft>
            </a:pPr>
            <a:r>
              <a:rPr lang="en-US" sz="1200" b="1" dirty="0">
                <a:solidFill>
                  <a:prstClr val="black"/>
                </a:solidFill>
                <a:latin typeface="Calibri"/>
              </a:rPr>
              <a:t>IFP Energy Nouvelle</a:t>
            </a:r>
          </a:p>
        </p:txBody>
      </p:sp>
      <p:sp>
        <p:nvSpPr>
          <p:cNvPr id="22" name="TextBox 21"/>
          <p:cNvSpPr txBox="1"/>
          <p:nvPr/>
        </p:nvSpPr>
        <p:spPr>
          <a:xfrm>
            <a:off x="1219201" y="1428754"/>
            <a:ext cx="1066800" cy="276987"/>
          </a:xfrm>
          <a:prstGeom prst="rect">
            <a:avLst/>
          </a:prstGeom>
          <a:noFill/>
        </p:spPr>
        <p:txBody>
          <a:bodyPr wrap="square" lIns="91428" tIns="45714" rIns="91428" bIns="45714" rtlCol="0">
            <a:spAutoFit/>
          </a:bodyPr>
          <a:lstStyle/>
          <a:p>
            <a:pPr algn="ctr" fontAlgn="base">
              <a:spcBef>
                <a:spcPct val="0"/>
              </a:spcBef>
              <a:spcAft>
                <a:spcPct val="0"/>
              </a:spcAft>
            </a:pPr>
            <a:r>
              <a:rPr lang="en-US" sz="1200" b="1" dirty="0">
                <a:solidFill>
                  <a:prstClr val="black"/>
                </a:solidFill>
                <a:latin typeface="Calibri"/>
              </a:rPr>
              <a:t>CAAFI</a:t>
            </a:r>
          </a:p>
        </p:txBody>
      </p:sp>
      <p:sp>
        <p:nvSpPr>
          <p:cNvPr id="23" name="TextBox 22"/>
          <p:cNvSpPr txBox="1"/>
          <p:nvPr/>
        </p:nvSpPr>
        <p:spPr>
          <a:xfrm>
            <a:off x="298105" y="2710617"/>
            <a:ext cx="8763000" cy="2431423"/>
          </a:xfrm>
          <a:prstGeom prst="rect">
            <a:avLst/>
          </a:prstGeom>
          <a:noFill/>
        </p:spPr>
        <p:txBody>
          <a:bodyPr wrap="square" lIns="91428" tIns="45714" rIns="91428" bIns="45714" rtlCol="0">
            <a:spAutoFit/>
          </a:bodyPr>
          <a:lstStyle/>
          <a:p>
            <a:pPr marL="457141" indent="-457141" fontAlgn="base">
              <a:spcBef>
                <a:spcPct val="0"/>
              </a:spcBef>
              <a:spcAft>
                <a:spcPct val="0"/>
              </a:spcAft>
              <a:buFont typeface="Arial" pitchFamily="34" charset="0"/>
              <a:buChar char="•"/>
            </a:pPr>
            <a:r>
              <a:rPr lang="en-US" sz="2400" b="1" dirty="0">
                <a:solidFill>
                  <a:prstClr val="black"/>
                </a:solidFill>
                <a:latin typeface="Calibri"/>
              </a:rPr>
              <a:t>Formal and informal coordination</a:t>
            </a:r>
          </a:p>
          <a:p>
            <a:pPr marL="914281" lvl="1" indent="-457141" fontAlgn="base">
              <a:spcBef>
                <a:spcPct val="0"/>
              </a:spcBef>
              <a:spcAft>
                <a:spcPct val="0"/>
              </a:spcAft>
              <a:buFont typeface="Arial" pitchFamily="34" charset="0"/>
              <a:buChar char="•"/>
            </a:pPr>
            <a:r>
              <a:rPr lang="en-US" sz="2400" b="1" dirty="0">
                <a:solidFill>
                  <a:prstClr val="black"/>
                </a:solidFill>
                <a:latin typeface="Calibri"/>
              </a:rPr>
              <a:t>Coordination with R&amp;D organizations</a:t>
            </a:r>
          </a:p>
          <a:p>
            <a:pPr marL="914281" lvl="1" indent="-457141" fontAlgn="base">
              <a:spcBef>
                <a:spcPct val="0"/>
              </a:spcBef>
              <a:spcAft>
                <a:spcPct val="0"/>
              </a:spcAft>
              <a:buFont typeface="Arial" pitchFamily="34" charset="0"/>
              <a:buChar char="•"/>
            </a:pPr>
            <a:r>
              <a:rPr lang="en-US" sz="2400" b="1" dirty="0">
                <a:solidFill>
                  <a:prstClr val="black"/>
                </a:solidFill>
                <a:latin typeface="Calibri"/>
              </a:rPr>
              <a:t>International Airshows</a:t>
            </a:r>
          </a:p>
          <a:p>
            <a:pPr marL="914281" lvl="1" indent="-457141" fontAlgn="base">
              <a:spcBef>
                <a:spcPct val="0"/>
              </a:spcBef>
              <a:spcAft>
                <a:spcPct val="0"/>
              </a:spcAft>
              <a:buFont typeface="Arial" pitchFamily="34" charset="0"/>
              <a:buChar char="•"/>
            </a:pPr>
            <a:r>
              <a:rPr lang="en-US" sz="2400" b="1" dirty="0">
                <a:solidFill>
                  <a:prstClr val="black"/>
                </a:solidFill>
                <a:latin typeface="Calibri"/>
              </a:rPr>
              <a:t>Bilateral Cooperation Agreements</a:t>
            </a:r>
          </a:p>
          <a:p>
            <a:pPr marL="457141" indent="-457141" fontAlgn="base">
              <a:spcBef>
                <a:spcPct val="0"/>
              </a:spcBef>
              <a:spcAft>
                <a:spcPct val="0"/>
              </a:spcAft>
              <a:buFont typeface="Arial" pitchFamily="34" charset="0"/>
              <a:buChar char="•"/>
            </a:pPr>
            <a:r>
              <a:rPr lang="en-US" sz="2400" b="1" dirty="0">
                <a:solidFill>
                  <a:prstClr val="black"/>
                </a:solidFill>
                <a:latin typeface="Calibri"/>
              </a:rPr>
              <a:t>ICAO as forum for exchange</a:t>
            </a:r>
          </a:p>
          <a:p>
            <a:pPr marL="457141" indent="-457141" fontAlgn="base">
              <a:spcBef>
                <a:spcPct val="0"/>
              </a:spcBef>
              <a:spcAft>
                <a:spcPct val="0"/>
              </a:spcAft>
              <a:buFont typeface="Arial" pitchFamily="34" charset="0"/>
              <a:buChar char="•"/>
            </a:pPr>
            <a:endParaRPr lang="en-US" sz="3200" b="1" dirty="0">
              <a:solidFill>
                <a:prstClr val="black"/>
              </a:solidFill>
              <a:latin typeface="Calibri"/>
            </a:endParaRPr>
          </a:p>
        </p:txBody>
      </p:sp>
      <p:sp>
        <p:nvSpPr>
          <p:cNvPr id="26" name="TextBox 25"/>
          <p:cNvSpPr txBox="1"/>
          <p:nvPr/>
        </p:nvSpPr>
        <p:spPr>
          <a:xfrm>
            <a:off x="2674945" y="2513258"/>
            <a:ext cx="1295400" cy="276987"/>
          </a:xfrm>
          <a:prstGeom prst="rect">
            <a:avLst/>
          </a:prstGeom>
          <a:noFill/>
        </p:spPr>
        <p:txBody>
          <a:bodyPr wrap="square" lIns="91428" tIns="45714" rIns="91428" bIns="45714" rtlCol="0">
            <a:spAutoFit/>
          </a:bodyPr>
          <a:lstStyle/>
          <a:p>
            <a:pPr fontAlgn="base">
              <a:spcBef>
                <a:spcPct val="0"/>
              </a:spcBef>
              <a:spcAft>
                <a:spcPct val="0"/>
              </a:spcAft>
            </a:pPr>
            <a:r>
              <a:rPr lang="en-US" sz="1200" b="1" dirty="0">
                <a:solidFill>
                  <a:prstClr val="black"/>
                </a:solidFill>
                <a:latin typeface="Calibri"/>
              </a:rPr>
              <a:t>Bioqueroseno.es</a:t>
            </a:r>
          </a:p>
        </p:txBody>
      </p:sp>
      <p:pic>
        <p:nvPicPr>
          <p:cNvPr id="2" name="Picture 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45621" y="1200185"/>
            <a:ext cx="1317380" cy="988035"/>
          </a:xfrm>
          <a:prstGeom prst="rect">
            <a:avLst/>
          </a:prstGeom>
        </p:spPr>
      </p:pic>
      <p:sp>
        <p:nvSpPr>
          <p:cNvPr id="24" name="TextBox 23"/>
          <p:cNvSpPr txBox="1"/>
          <p:nvPr/>
        </p:nvSpPr>
        <p:spPr>
          <a:xfrm>
            <a:off x="7445827" y="2084348"/>
            <a:ext cx="1295400" cy="276987"/>
          </a:xfrm>
          <a:prstGeom prst="rect">
            <a:avLst/>
          </a:prstGeom>
          <a:noFill/>
        </p:spPr>
        <p:txBody>
          <a:bodyPr wrap="square" lIns="91428" tIns="45714" rIns="91428" bIns="45714" rtlCol="0">
            <a:spAutoFit/>
          </a:bodyPr>
          <a:lstStyle/>
          <a:p>
            <a:pPr algn="ctr" fontAlgn="base">
              <a:spcBef>
                <a:spcPct val="0"/>
              </a:spcBef>
              <a:spcAft>
                <a:spcPct val="0"/>
              </a:spcAft>
            </a:pPr>
            <a:r>
              <a:rPr lang="en-US" sz="1200" b="1" dirty="0">
                <a:solidFill>
                  <a:prstClr val="black"/>
                </a:solidFill>
                <a:latin typeface="Calibri"/>
              </a:rPr>
              <a:t>ICAO</a:t>
            </a:r>
          </a:p>
        </p:txBody>
      </p:sp>
    </p:spTree>
    <p:extLst>
      <p:ext uri="{BB962C8B-B14F-4D97-AF65-F5344CB8AC3E}">
        <p14:creationId xmlns:p14="http://schemas.microsoft.com/office/powerpoint/2010/main" val="29499838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Gerade Verbindung 6"/>
          <p:cNvCxnSpPr/>
          <p:nvPr/>
        </p:nvCxnSpPr>
        <p:spPr>
          <a:xfrm>
            <a:off x="0" y="681540"/>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pic>
        <p:nvPicPr>
          <p:cNvPr id="3075" name="Grafik 1"/>
          <p:cNvPicPr>
            <a:picLocks noChangeAspect="1"/>
          </p:cNvPicPr>
          <p:nvPr/>
        </p:nvPicPr>
        <p:blipFill>
          <a:blip r:embed="rId3" cstate="print"/>
          <a:srcRect/>
          <a:stretch>
            <a:fillRect/>
          </a:stretch>
        </p:blipFill>
        <p:spPr bwMode="auto">
          <a:xfrm>
            <a:off x="7829551" y="141685"/>
            <a:ext cx="1114425" cy="408384"/>
          </a:xfrm>
          <a:prstGeom prst="rect">
            <a:avLst/>
          </a:prstGeom>
          <a:noFill/>
          <a:ln w="9525">
            <a:noFill/>
            <a:miter lim="800000"/>
            <a:headEnd/>
            <a:tailEnd/>
          </a:ln>
        </p:spPr>
      </p:pic>
      <p:sp>
        <p:nvSpPr>
          <p:cNvPr id="9" name="Rectangle 5"/>
          <p:cNvSpPr txBox="1">
            <a:spLocks noChangeArrowheads="1"/>
          </p:cNvSpPr>
          <p:nvPr/>
        </p:nvSpPr>
        <p:spPr bwMode="auto">
          <a:xfrm>
            <a:off x="540000" y="107659"/>
            <a:ext cx="6120680" cy="573881"/>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defTabSz="914400" fontAlgn="base">
              <a:spcBef>
                <a:spcPct val="0"/>
              </a:spcBef>
              <a:spcAft>
                <a:spcPct val="0"/>
              </a:spcAft>
              <a:defRPr/>
            </a:pPr>
            <a:r>
              <a:rPr lang="en-GB" sz="2400" b="1" dirty="0" smtClean="0">
                <a:solidFill>
                  <a:srgbClr val="0064AE"/>
                </a:solidFill>
                <a:cs typeface="Arial" pitchFamily="34" charset="0"/>
              </a:rPr>
              <a:t>Global Aviation Market Forecast 2013</a:t>
            </a:r>
          </a:p>
        </p:txBody>
      </p:sp>
      <p:sp>
        <p:nvSpPr>
          <p:cNvPr id="14" name="Text Box 3"/>
          <p:cNvSpPr txBox="1">
            <a:spLocks noChangeArrowheads="1"/>
          </p:cNvSpPr>
          <p:nvPr/>
        </p:nvSpPr>
        <p:spPr bwMode="auto">
          <a:xfrm>
            <a:off x="8101360" y="4882902"/>
            <a:ext cx="1007145" cy="230832"/>
          </a:xfrm>
          <a:prstGeom prst="rect">
            <a:avLst/>
          </a:prstGeom>
          <a:noFill/>
          <a:ln>
            <a:noFill/>
          </a:ln>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defTabSz="914400" eaLnBrk="1" hangingPunct="1">
              <a:defRPr/>
            </a:pPr>
            <a:r>
              <a:rPr lang="de-DE" sz="900" kern="0" dirty="0" smtClean="0">
                <a:solidFill>
                  <a:srgbClr val="333333"/>
                </a:solidFill>
                <a:latin typeface="Calibri"/>
              </a:rPr>
              <a:t>Source: Airbus</a:t>
            </a:r>
          </a:p>
        </p:txBody>
      </p:sp>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560" y="951570"/>
            <a:ext cx="7631186" cy="3834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8611723"/>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Grafik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29551" y="141685"/>
            <a:ext cx="1114425" cy="40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p:nvSpPr>
        <p:spPr bwMode="auto">
          <a:xfrm>
            <a:off x="539750" y="-20538"/>
            <a:ext cx="6121400" cy="573881"/>
          </a:xfrm>
          <a:prstGeom prst="rect">
            <a:avLst/>
          </a:prstGeom>
          <a:noFill/>
          <a:ln w="9525">
            <a:noFill/>
            <a:miter lim="800000"/>
            <a:headEnd/>
            <a:tailEnd/>
          </a:ln>
        </p:spPr>
        <p:txBody>
          <a:bodyPr anchor="ctr"/>
          <a:lstStyle/>
          <a:p>
            <a:pPr defTabSz="914400" fontAlgn="base">
              <a:spcBef>
                <a:spcPct val="0"/>
              </a:spcBef>
              <a:spcAft>
                <a:spcPct val="0"/>
              </a:spcAft>
              <a:defRPr/>
            </a:pPr>
            <a:r>
              <a:rPr lang="de-DE" sz="2400" b="1" dirty="0" smtClean="0">
                <a:solidFill>
                  <a:srgbClr val="0064AE"/>
                </a:solidFill>
                <a:cs typeface="Arial" pitchFamily="34" charset="0"/>
              </a:rPr>
              <a:t>Goals </a:t>
            </a:r>
            <a:r>
              <a:rPr lang="de-DE" sz="2400" b="1" dirty="0" err="1" smtClean="0">
                <a:solidFill>
                  <a:srgbClr val="0064AE"/>
                </a:solidFill>
                <a:cs typeface="Arial" pitchFamily="34" charset="0"/>
              </a:rPr>
              <a:t>have</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been</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defined</a:t>
            </a:r>
            <a:r>
              <a:rPr lang="de-DE" sz="2400" b="1" dirty="0" smtClean="0">
                <a:solidFill>
                  <a:srgbClr val="0064AE"/>
                </a:solidFill>
                <a:cs typeface="Arial" pitchFamily="34" charset="0"/>
              </a:rPr>
              <a:t>  </a:t>
            </a:r>
            <a:endParaRPr lang="de-DE" sz="2400" b="1" dirty="0">
              <a:solidFill>
                <a:srgbClr val="0064AE"/>
              </a:solidFill>
              <a:cs typeface="Arial" pitchFamily="34" charset="0"/>
            </a:endParaRPr>
          </a:p>
        </p:txBody>
      </p:sp>
      <p:cxnSp>
        <p:nvCxnSpPr>
          <p:cNvPr id="30" name="Gerade Verbindung 29"/>
          <p:cNvCxnSpPr/>
          <p:nvPr/>
        </p:nvCxnSpPr>
        <p:spPr>
          <a:xfrm>
            <a:off x="0" y="483518"/>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sp>
        <p:nvSpPr>
          <p:cNvPr id="7173" name="Rechteck 30"/>
          <p:cNvSpPr>
            <a:spLocks noChangeArrowheads="1"/>
          </p:cNvSpPr>
          <p:nvPr/>
        </p:nvSpPr>
        <p:spPr bwMode="auto">
          <a:xfrm>
            <a:off x="539751" y="483518"/>
            <a:ext cx="5040313" cy="5004447"/>
          </a:xfrm>
          <a:prstGeom prst="rect">
            <a:avLst/>
          </a:prstGeom>
          <a:noFill/>
          <a:ln>
            <a:noFill/>
          </a:ln>
          <a:extLst/>
        </p:spPr>
        <p:txBody>
          <a:bodyPr>
            <a:spAutoFit/>
          </a:bodyPr>
          <a:lstStyle/>
          <a:p>
            <a:pPr marL="325438" lvl="1" indent="-323850" defTabSz="330200" eaLnBrk="0" fontAlgn="base" hangingPunct="0">
              <a:spcBef>
                <a:spcPct val="0"/>
              </a:spcBef>
              <a:spcAft>
                <a:spcPct val="20000"/>
              </a:spcAft>
              <a:defRPr/>
            </a:pPr>
            <a:r>
              <a:rPr lang="de-DE" altLang="zh-HK" b="1" dirty="0" smtClean="0">
                <a:solidFill>
                  <a:srgbClr val="0064AE"/>
                </a:solidFill>
              </a:rPr>
              <a:t>„The </a:t>
            </a:r>
            <a:r>
              <a:rPr lang="de-DE" altLang="zh-HK" b="1" dirty="0" err="1" smtClean="0">
                <a:solidFill>
                  <a:srgbClr val="0064AE"/>
                </a:solidFill>
              </a:rPr>
              <a:t>future</a:t>
            </a:r>
            <a:r>
              <a:rPr lang="de-DE" altLang="zh-HK" b="1" dirty="0" smtClean="0">
                <a:solidFill>
                  <a:srgbClr val="0064AE"/>
                </a:solidFill>
              </a:rPr>
              <a:t> </a:t>
            </a:r>
            <a:r>
              <a:rPr lang="de-DE" altLang="zh-HK" b="1" dirty="0" err="1" smtClean="0">
                <a:solidFill>
                  <a:srgbClr val="0064AE"/>
                </a:solidFill>
              </a:rPr>
              <a:t>of</a:t>
            </a:r>
            <a:r>
              <a:rPr lang="de-DE" altLang="zh-HK" b="1" dirty="0" smtClean="0">
                <a:solidFill>
                  <a:srgbClr val="0064AE"/>
                </a:solidFill>
              </a:rPr>
              <a:t> </a:t>
            </a:r>
            <a:r>
              <a:rPr lang="de-DE" altLang="zh-HK" b="1" dirty="0" err="1" smtClean="0">
                <a:solidFill>
                  <a:srgbClr val="0064AE"/>
                </a:solidFill>
              </a:rPr>
              <a:t>climate-friendly</a:t>
            </a:r>
            <a:r>
              <a:rPr lang="de-DE" altLang="zh-HK" b="1" dirty="0" smtClean="0">
                <a:solidFill>
                  <a:srgbClr val="0064AE"/>
                </a:solidFill>
              </a:rPr>
              <a:t> </a:t>
            </a:r>
            <a:r>
              <a:rPr lang="de-DE" altLang="zh-HK" b="1" dirty="0" err="1" smtClean="0">
                <a:solidFill>
                  <a:srgbClr val="0064AE"/>
                </a:solidFill>
              </a:rPr>
              <a:t>aviation</a:t>
            </a:r>
            <a:r>
              <a:rPr lang="de-DE" altLang="zh-HK" b="1" dirty="0" smtClean="0">
                <a:solidFill>
                  <a:srgbClr val="0064AE"/>
                </a:solidFill>
              </a:rPr>
              <a:t>:</a:t>
            </a:r>
            <a:endParaRPr lang="de-DE" altLang="zh-HK" b="1" dirty="0">
              <a:solidFill>
                <a:srgbClr val="0064AE"/>
              </a:solidFill>
            </a:endParaRPr>
          </a:p>
          <a:p>
            <a:pPr marL="325438" lvl="1" indent="-323850" defTabSz="330200" eaLnBrk="0" fontAlgn="base" hangingPunct="0">
              <a:spcBef>
                <a:spcPct val="0"/>
              </a:spcBef>
              <a:spcAft>
                <a:spcPct val="20000"/>
              </a:spcAft>
              <a:defRPr/>
            </a:pPr>
            <a:r>
              <a:rPr lang="de-DE" altLang="zh-HK" b="1" dirty="0" err="1" smtClean="0">
                <a:solidFill>
                  <a:srgbClr val="0064AE"/>
                </a:solidFill>
              </a:rPr>
              <a:t>Ten</a:t>
            </a:r>
            <a:r>
              <a:rPr lang="de-DE" altLang="zh-HK" b="1" dirty="0" smtClean="0">
                <a:solidFill>
                  <a:srgbClr val="0064AE"/>
                </a:solidFill>
              </a:rPr>
              <a:t> </a:t>
            </a:r>
            <a:r>
              <a:rPr lang="de-DE" altLang="zh-HK" b="1" dirty="0" err="1" smtClean="0">
                <a:solidFill>
                  <a:srgbClr val="0064AE"/>
                </a:solidFill>
              </a:rPr>
              <a:t>percent</a:t>
            </a:r>
            <a:r>
              <a:rPr lang="de-DE" altLang="zh-HK" b="1" dirty="0" smtClean="0">
                <a:solidFill>
                  <a:srgbClr val="0064AE"/>
                </a:solidFill>
              </a:rPr>
              <a:t> alternative </a:t>
            </a:r>
            <a:r>
              <a:rPr lang="de-DE" altLang="zh-HK" b="1" dirty="0" err="1" smtClean="0">
                <a:solidFill>
                  <a:srgbClr val="0064AE"/>
                </a:solidFill>
              </a:rPr>
              <a:t>aviation</a:t>
            </a:r>
            <a:r>
              <a:rPr lang="de-DE" altLang="zh-HK" b="1" dirty="0" smtClean="0">
                <a:solidFill>
                  <a:srgbClr val="0064AE"/>
                </a:solidFill>
              </a:rPr>
              <a:t> </a:t>
            </a:r>
            <a:r>
              <a:rPr lang="de-DE" altLang="zh-HK" b="1" dirty="0" err="1" smtClean="0">
                <a:solidFill>
                  <a:srgbClr val="0064AE"/>
                </a:solidFill>
              </a:rPr>
              <a:t>fuels</a:t>
            </a:r>
            <a:r>
              <a:rPr lang="de-DE" altLang="zh-HK" b="1" dirty="0" smtClean="0">
                <a:solidFill>
                  <a:srgbClr val="0064AE"/>
                </a:solidFill>
              </a:rPr>
              <a:t> </a:t>
            </a:r>
            <a:r>
              <a:rPr lang="de-DE" altLang="zh-HK" b="1" dirty="0" err="1" smtClean="0">
                <a:solidFill>
                  <a:srgbClr val="0064AE"/>
                </a:solidFill>
              </a:rPr>
              <a:t>by</a:t>
            </a:r>
            <a:r>
              <a:rPr lang="de-DE" altLang="zh-HK" b="1" dirty="0" smtClean="0">
                <a:solidFill>
                  <a:srgbClr val="0064AE"/>
                </a:solidFill>
              </a:rPr>
              <a:t> </a:t>
            </a:r>
            <a:r>
              <a:rPr lang="de-DE" altLang="zh-HK" b="1" dirty="0">
                <a:solidFill>
                  <a:srgbClr val="0064AE"/>
                </a:solidFill>
              </a:rPr>
              <a:t>2025“</a:t>
            </a:r>
          </a:p>
          <a:p>
            <a:pPr marL="325438" lvl="1" indent="-323850" defTabSz="330200" eaLnBrk="0" fontAlgn="base" hangingPunct="0">
              <a:spcBef>
                <a:spcPct val="0"/>
              </a:spcBef>
              <a:spcAft>
                <a:spcPct val="20000"/>
              </a:spcAft>
              <a:defRPr/>
            </a:pPr>
            <a:endParaRPr lang="de-DE" altLang="zh-HK" b="1" dirty="0">
              <a:solidFill>
                <a:prstClr val="black"/>
              </a:solidFill>
            </a:endParaRPr>
          </a:p>
          <a:p>
            <a:pPr marL="0" lvl="1" defTabSz="330200" eaLnBrk="0" fontAlgn="base" hangingPunct="0">
              <a:spcBef>
                <a:spcPct val="0"/>
              </a:spcBef>
              <a:spcAft>
                <a:spcPct val="20000"/>
              </a:spcAft>
              <a:defRPr/>
            </a:pPr>
            <a:r>
              <a:rPr lang="de-DE" altLang="zh-HK" b="1" u="sng" dirty="0" smtClean="0">
                <a:solidFill>
                  <a:srgbClr val="0064AE"/>
                </a:solidFill>
              </a:rPr>
              <a:t>Top-3-goals </a:t>
            </a:r>
            <a:r>
              <a:rPr lang="de-DE" altLang="zh-HK" b="1" u="sng" dirty="0" err="1" smtClean="0">
                <a:solidFill>
                  <a:srgbClr val="0064AE"/>
                </a:solidFill>
              </a:rPr>
              <a:t>for</a:t>
            </a:r>
            <a:r>
              <a:rPr lang="de-DE" altLang="zh-HK" b="1" u="sng" dirty="0" smtClean="0">
                <a:solidFill>
                  <a:srgbClr val="0064AE"/>
                </a:solidFill>
              </a:rPr>
              <a:t> </a:t>
            </a:r>
            <a:r>
              <a:rPr lang="de-DE" altLang="zh-HK" b="1" u="sng" dirty="0">
                <a:solidFill>
                  <a:srgbClr val="0064AE"/>
                </a:solidFill>
              </a:rPr>
              <a:t>2025</a:t>
            </a:r>
            <a:r>
              <a:rPr lang="de-DE" altLang="zh-HK" dirty="0">
                <a:solidFill>
                  <a:prstClr val="black"/>
                </a:solidFill>
              </a:rPr>
              <a:t>, </a:t>
            </a:r>
            <a:r>
              <a:rPr lang="de-DE" altLang="zh-HK" dirty="0" err="1" smtClean="0">
                <a:solidFill>
                  <a:prstClr val="black"/>
                </a:solidFill>
              </a:rPr>
              <a:t>to</a:t>
            </a:r>
            <a:r>
              <a:rPr lang="de-DE" altLang="zh-HK" dirty="0" smtClean="0">
                <a:solidFill>
                  <a:prstClr val="black"/>
                </a:solidFill>
              </a:rPr>
              <a:t> </a:t>
            </a:r>
            <a:r>
              <a:rPr lang="de-DE" altLang="zh-HK" dirty="0" err="1" smtClean="0">
                <a:solidFill>
                  <a:prstClr val="black"/>
                </a:solidFill>
              </a:rPr>
              <a:t>achieve</a:t>
            </a:r>
            <a:r>
              <a:rPr lang="de-DE" altLang="zh-HK" dirty="0">
                <a:solidFill>
                  <a:prstClr val="black"/>
                </a:solidFill>
              </a:rPr>
              <a:t> </a:t>
            </a:r>
            <a:r>
              <a:rPr lang="de-DE" altLang="zh-HK" dirty="0" smtClean="0">
                <a:solidFill>
                  <a:prstClr val="black"/>
                </a:solidFill>
              </a:rPr>
              <a:t>CO</a:t>
            </a:r>
            <a:r>
              <a:rPr lang="de-DE" altLang="zh-HK" baseline="-25000" dirty="0" smtClean="0">
                <a:solidFill>
                  <a:prstClr val="black"/>
                </a:solidFill>
              </a:rPr>
              <a:t>2</a:t>
            </a:r>
            <a:r>
              <a:rPr lang="de-DE" altLang="zh-HK" dirty="0" smtClean="0">
                <a:solidFill>
                  <a:prstClr val="black"/>
                </a:solidFill>
              </a:rPr>
              <a:t>-reduction </a:t>
            </a:r>
            <a:r>
              <a:rPr lang="de-DE" altLang="zh-HK" dirty="0" err="1" smtClean="0">
                <a:solidFill>
                  <a:prstClr val="black"/>
                </a:solidFill>
              </a:rPr>
              <a:t>targets</a:t>
            </a:r>
            <a:r>
              <a:rPr lang="de-DE" altLang="zh-HK" dirty="0" smtClean="0">
                <a:solidFill>
                  <a:prstClr val="black"/>
                </a:solidFill>
              </a:rPr>
              <a:t> </a:t>
            </a:r>
            <a:r>
              <a:rPr lang="de-DE" altLang="zh-HK" dirty="0" err="1" smtClean="0">
                <a:solidFill>
                  <a:prstClr val="black"/>
                </a:solidFill>
              </a:rPr>
              <a:t>set</a:t>
            </a:r>
            <a:r>
              <a:rPr lang="de-DE" altLang="zh-HK" dirty="0" smtClean="0">
                <a:solidFill>
                  <a:prstClr val="black"/>
                </a:solidFill>
              </a:rPr>
              <a:t> </a:t>
            </a:r>
            <a:r>
              <a:rPr lang="de-DE" altLang="zh-HK" dirty="0" err="1" smtClean="0">
                <a:solidFill>
                  <a:prstClr val="black"/>
                </a:solidFill>
              </a:rPr>
              <a:t>by</a:t>
            </a:r>
            <a:r>
              <a:rPr lang="de-DE" altLang="zh-HK" dirty="0" smtClean="0">
                <a:solidFill>
                  <a:prstClr val="black"/>
                </a:solidFill>
              </a:rPr>
              <a:t> </a:t>
            </a:r>
            <a:r>
              <a:rPr lang="de-DE" altLang="zh-HK" dirty="0" err="1" smtClean="0">
                <a:solidFill>
                  <a:prstClr val="black"/>
                </a:solidFill>
              </a:rPr>
              <a:t>policymakers</a:t>
            </a:r>
            <a:r>
              <a:rPr lang="de-DE" altLang="zh-HK" dirty="0" smtClean="0">
                <a:solidFill>
                  <a:prstClr val="black"/>
                </a:solidFill>
              </a:rPr>
              <a:t> </a:t>
            </a:r>
            <a:r>
              <a:rPr lang="de-DE" altLang="zh-HK" dirty="0" err="1" smtClean="0">
                <a:solidFill>
                  <a:prstClr val="black"/>
                </a:solidFill>
              </a:rPr>
              <a:t>and</a:t>
            </a:r>
            <a:r>
              <a:rPr lang="de-DE" altLang="zh-HK" dirty="0" smtClean="0">
                <a:solidFill>
                  <a:prstClr val="black"/>
                </a:solidFill>
              </a:rPr>
              <a:t> </a:t>
            </a:r>
            <a:r>
              <a:rPr lang="de-DE" altLang="zh-HK" dirty="0" err="1" smtClean="0">
                <a:solidFill>
                  <a:prstClr val="black"/>
                </a:solidFill>
              </a:rPr>
              <a:t>the</a:t>
            </a:r>
            <a:r>
              <a:rPr lang="de-DE" altLang="zh-HK" dirty="0" smtClean="0">
                <a:solidFill>
                  <a:prstClr val="black"/>
                </a:solidFill>
              </a:rPr>
              <a:t> </a:t>
            </a:r>
            <a:r>
              <a:rPr lang="de-DE" altLang="zh-HK" dirty="0" err="1" smtClean="0">
                <a:solidFill>
                  <a:prstClr val="black"/>
                </a:solidFill>
              </a:rPr>
              <a:t>aviation</a:t>
            </a:r>
            <a:r>
              <a:rPr lang="de-DE" altLang="zh-HK" dirty="0" smtClean="0">
                <a:solidFill>
                  <a:prstClr val="black"/>
                </a:solidFill>
              </a:rPr>
              <a:t> </a:t>
            </a:r>
            <a:r>
              <a:rPr lang="de-DE" altLang="zh-HK" dirty="0" err="1" smtClean="0">
                <a:solidFill>
                  <a:prstClr val="black"/>
                </a:solidFill>
              </a:rPr>
              <a:t>industry</a:t>
            </a:r>
            <a:r>
              <a:rPr lang="de-DE" altLang="zh-HK" dirty="0" smtClean="0">
                <a:solidFill>
                  <a:prstClr val="black"/>
                </a:solidFill>
              </a:rPr>
              <a:t>:</a:t>
            </a:r>
            <a:endParaRPr lang="de-DE" altLang="zh-HK" sz="1100" b="1" dirty="0">
              <a:solidFill>
                <a:prstClr val="black"/>
              </a:solidFill>
            </a:endParaRPr>
          </a:p>
          <a:p>
            <a:pPr marL="325438" lvl="1" indent="-323850" defTabSz="330200" eaLnBrk="0" fontAlgn="base" hangingPunct="0">
              <a:spcBef>
                <a:spcPct val="0"/>
              </a:spcBef>
              <a:spcAft>
                <a:spcPct val="20000"/>
              </a:spcAft>
              <a:defRPr/>
            </a:pPr>
            <a:endParaRPr lang="de-DE" altLang="zh-HK" sz="1100" b="1" dirty="0">
              <a:solidFill>
                <a:prstClr val="black"/>
              </a:solidFill>
            </a:endParaRPr>
          </a:p>
          <a:p>
            <a:pPr marL="325438" lvl="1" indent="-323850" defTabSz="330200" eaLnBrk="0" fontAlgn="base" hangingPunct="0">
              <a:spcBef>
                <a:spcPct val="0"/>
              </a:spcBef>
              <a:buFont typeface="Arial" pitchFamily="34" charset="0"/>
              <a:buChar char="•"/>
              <a:defRPr/>
            </a:pPr>
            <a:endParaRPr lang="de-DE" altLang="zh-HK" dirty="0">
              <a:solidFill>
                <a:prstClr val="black"/>
              </a:solidFill>
            </a:endParaRPr>
          </a:p>
          <a:p>
            <a:pPr marL="325438" lvl="1" indent="-323850" defTabSz="330200" eaLnBrk="0" fontAlgn="base" hangingPunct="0">
              <a:spcBef>
                <a:spcPct val="0"/>
              </a:spcBef>
              <a:buFont typeface="Arial" pitchFamily="34" charset="0"/>
              <a:buChar char="•"/>
              <a:defRPr/>
            </a:pPr>
            <a:r>
              <a:rPr lang="de-DE" altLang="zh-HK" dirty="0" err="1" smtClean="0">
                <a:solidFill>
                  <a:prstClr val="black"/>
                </a:solidFill>
              </a:rPr>
              <a:t>Domestic</a:t>
            </a:r>
            <a:r>
              <a:rPr lang="de-DE" altLang="zh-HK" dirty="0" smtClean="0">
                <a:solidFill>
                  <a:prstClr val="black"/>
                </a:solidFill>
              </a:rPr>
              <a:t> </a:t>
            </a:r>
            <a:r>
              <a:rPr lang="de-DE" altLang="zh-HK" dirty="0" err="1" smtClean="0">
                <a:solidFill>
                  <a:prstClr val="black"/>
                </a:solidFill>
              </a:rPr>
              <a:t>biorefining</a:t>
            </a:r>
            <a:r>
              <a:rPr lang="de-DE" altLang="zh-HK" dirty="0" smtClean="0">
                <a:solidFill>
                  <a:prstClr val="black"/>
                </a:solidFill>
              </a:rPr>
              <a:t> </a:t>
            </a:r>
            <a:r>
              <a:rPr lang="de-DE" altLang="zh-HK" dirty="0" err="1" smtClean="0">
                <a:solidFill>
                  <a:prstClr val="black"/>
                </a:solidFill>
              </a:rPr>
              <a:t>capacity</a:t>
            </a:r>
            <a:r>
              <a:rPr lang="de-DE" altLang="zh-HK" dirty="0" smtClean="0">
                <a:solidFill>
                  <a:prstClr val="black"/>
                </a:solidFill>
              </a:rPr>
              <a:t> </a:t>
            </a:r>
            <a:r>
              <a:rPr lang="de-DE" altLang="zh-HK" dirty="0" err="1" smtClean="0">
                <a:solidFill>
                  <a:prstClr val="black"/>
                </a:solidFill>
              </a:rPr>
              <a:t>with</a:t>
            </a:r>
            <a:r>
              <a:rPr lang="de-DE" altLang="zh-HK" dirty="0" smtClean="0">
                <a:solidFill>
                  <a:prstClr val="black"/>
                </a:solidFill>
              </a:rPr>
              <a:t> </a:t>
            </a:r>
            <a:r>
              <a:rPr lang="de-DE" altLang="zh-HK" dirty="0" err="1" smtClean="0">
                <a:solidFill>
                  <a:prstClr val="black"/>
                </a:solidFill>
              </a:rPr>
              <a:t>at</a:t>
            </a:r>
            <a:r>
              <a:rPr lang="de-DE" altLang="zh-HK" dirty="0" smtClean="0">
                <a:solidFill>
                  <a:prstClr val="black"/>
                </a:solidFill>
              </a:rPr>
              <a:t> least </a:t>
            </a:r>
            <a:r>
              <a:rPr lang="de-DE" altLang="zh-HK" b="1" dirty="0" err="1" smtClean="0">
                <a:solidFill>
                  <a:prstClr val="black"/>
                </a:solidFill>
              </a:rPr>
              <a:t>one</a:t>
            </a:r>
            <a:r>
              <a:rPr lang="de-DE" altLang="zh-HK" b="1" dirty="0" smtClean="0">
                <a:solidFill>
                  <a:prstClr val="black"/>
                </a:solidFill>
              </a:rPr>
              <a:t> </a:t>
            </a:r>
            <a:r>
              <a:rPr lang="de-DE" altLang="zh-HK" b="1" dirty="0" err="1" smtClean="0">
                <a:solidFill>
                  <a:prstClr val="black"/>
                </a:solidFill>
              </a:rPr>
              <a:t>industrial-scale</a:t>
            </a:r>
            <a:r>
              <a:rPr lang="de-DE" altLang="zh-HK" b="1" dirty="0" smtClean="0">
                <a:solidFill>
                  <a:prstClr val="black"/>
                </a:solidFill>
              </a:rPr>
              <a:t> </a:t>
            </a:r>
            <a:r>
              <a:rPr lang="de-DE" altLang="zh-HK" b="1" dirty="0" err="1" smtClean="0">
                <a:solidFill>
                  <a:prstClr val="black"/>
                </a:solidFill>
              </a:rPr>
              <a:t>facility</a:t>
            </a:r>
            <a:endParaRPr lang="de-DE" altLang="zh-HK" b="1" dirty="0">
              <a:solidFill>
                <a:prstClr val="black"/>
              </a:solidFill>
            </a:endParaRPr>
          </a:p>
          <a:p>
            <a:pPr marL="325438" lvl="1" indent="-323850" defTabSz="330200" eaLnBrk="0" fontAlgn="base" hangingPunct="0">
              <a:spcBef>
                <a:spcPct val="0"/>
              </a:spcBef>
              <a:buFont typeface="Arial" pitchFamily="34" charset="0"/>
              <a:buChar char="•"/>
              <a:defRPr/>
            </a:pPr>
            <a:endParaRPr lang="de-DE" altLang="zh-HK" dirty="0">
              <a:solidFill>
                <a:prstClr val="black"/>
              </a:solidFill>
            </a:endParaRPr>
          </a:p>
          <a:p>
            <a:pPr marL="325438" lvl="1" indent="-323850" defTabSz="330200" eaLnBrk="0" fontAlgn="base" hangingPunct="0">
              <a:spcBef>
                <a:spcPct val="0"/>
              </a:spcBef>
              <a:buFont typeface="Arial" pitchFamily="34" charset="0"/>
              <a:buChar char="•"/>
              <a:defRPr/>
            </a:pPr>
            <a:r>
              <a:rPr lang="de-DE" altLang="zh-HK" b="1" dirty="0" smtClean="0">
                <a:solidFill>
                  <a:prstClr val="black"/>
                </a:solidFill>
              </a:rPr>
              <a:t>Bilateral </a:t>
            </a:r>
            <a:r>
              <a:rPr lang="de-DE" altLang="zh-HK" b="1" dirty="0" err="1" smtClean="0">
                <a:solidFill>
                  <a:prstClr val="black"/>
                </a:solidFill>
              </a:rPr>
              <a:t>government</a:t>
            </a:r>
            <a:r>
              <a:rPr lang="de-DE" altLang="zh-HK" b="1" dirty="0" smtClean="0">
                <a:solidFill>
                  <a:prstClr val="black"/>
                </a:solidFill>
              </a:rPr>
              <a:t> </a:t>
            </a:r>
            <a:r>
              <a:rPr lang="de-DE" altLang="zh-HK" b="1" dirty="0" err="1" smtClean="0">
                <a:solidFill>
                  <a:prstClr val="black"/>
                </a:solidFill>
              </a:rPr>
              <a:t>agreements</a:t>
            </a:r>
            <a:r>
              <a:rPr lang="de-DE" altLang="zh-HK" b="1" dirty="0" smtClean="0">
                <a:solidFill>
                  <a:prstClr val="black"/>
                </a:solidFill>
              </a:rPr>
              <a:t> </a:t>
            </a:r>
            <a:r>
              <a:rPr lang="de-DE" altLang="zh-HK" dirty="0" err="1" smtClean="0">
                <a:solidFill>
                  <a:prstClr val="black"/>
                </a:solidFill>
              </a:rPr>
              <a:t>to</a:t>
            </a:r>
            <a:r>
              <a:rPr lang="de-DE" altLang="zh-HK" dirty="0" smtClean="0">
                <a:solidFill>
                  <a:prstClr val="black"/>
                </a:solidFill>
              </a:rPr>
              <a:t> </a:t>
            </a:r>
            <a:r>
              <a:rPr lang="de-DE" altLang="zh-HK" dirty="0" err="1" smtClean="0">
                <a:solidFill>
                  <a:prstClr val="black"/>
                </a:solidFill>
              </a:rPr>
              <a:t>safeguard</a:t>
            </a:r>
            <a:r>
              <a:rPr lang="de-DE" altLang="zh-HK" dirty="0" smtClean="0">
                <a:solidFill>
                  <a:prstClr val="black"/>
                </a:solidFill>
              </a:rPr>
              <a:t> </a:t>
            </a:r>
            <a:r>
              <a:rPr lang="de-DE" altLang="zh-HK" dirty="0" err="1" smtClean="0">
                <a:solidFill>
                  <a:prstClr val="black"/>
                </a:solidFill>
              </a:rPr>
              <a:t>provision</a:t>
            </a:r>
            <a:r>
              <a:rPr lang="de-DE" altLang="zh-HK" dirty="0" smtClean="0">
                <a:solidFill>
                  <a:prstClr val="black"/>
                </a:solidFill>
              </a:rPr>
              <a:t> </a:t>
            </a:r>
            <a:r>
              <a:rPr lang="de-DE" altLang="zh-HK" dirty="0" err="1" smtClean="0">
                <a:solidFill>
                  <a:prstClr val="black"/>
                </a:solidFill>
              </a:rPr>
              <a:t>of</a:t>
            </a:r>
            <a:r>
              <a:rPr lang="de-DE" altLang="zh-HK" dirty="0" smtClean="0">
                <a:solidFill>
                  <a:prstClr val="black"/>
                </a:solidFill>
              </a:rPr>
              <a:t> </a:t>
            </a:r>
            <a:r>
              <a:rPr lang="de-DE" altLang="zh-HK" dirty="0" err="1" smtClean="0">
                <a:solidFill>
                  <a:prstClr val="black"/>
                </a:solidFill>
              </a:rPr>
              <a:t>foreign</a:t>
            </a:r>
            <a:r>
              <a:rPr lang="de-DE" altLang="zh-HK" dirty="0" smtClean="0">
                <a:solidFill>
                  <a:prstClr val="black"/>
                </a:solidFill>
              </a:rPr>
              <a:t> </a:t>
            </a:r>
            <a:r>
              <a:rPr lang="de-DE" altLang="zh-HK" dirty="0" err="1" smtClean="0">
                <a:solidFill>
                  <a:prstClr val="black"/>
                </a:solidFill>
              </a:rPr>
              <a:t>feedstock</a:t>
            </a:r>
            <a:endParaRPr lang="de-DE" altLang="zh-HK" dirty="0" smtClean="0">
              <a:solidFill>
                <a:prstClr val="black"/>
              </a:solidFill>
            </a:endParaRPr>
          </a:p>
          <a:p>
            <a:pPr marL="325438" lvl="1" indent="-323850" defTabSz="330200" eaLnBrk="0" fontAlgn="base" hangingPunct="0">
              <a:spcBef>
                <a:spcPct val="0"/>
              </a:spcBef>
              <a:buFont typeface="Arial" pitchFamily="34" charset="0"/>
              <a:buChar char="•"/>
              <a:defRPr/>
            </a:pPr>
            <a:endParaRPr lang="de-DE" altLang="zh-HK" dirty="0">
              <a:solidFill>
                <a:prstClr val="black"/>
              </a:solidFill>
            </a:endParaRPr>
          </a:p>
          <a:p>
            <a:pPr marL="325438" lvl="1" indent="-323850" defTabSz="330200" eaLnBrk="0" fontAlgn="base" hangingPunct="0">
              <a:spcBef>
                <a:spcPct val="0"/>
              </a:spcBef>
              <a:spcAft>
                <a:spcPct val="20000"/>
              </a:spcAft>
              <a:buFont typeface="Arial" pitchFamily="34" charset="0"/>
              <a:buChar char="•"/>
              <a:defRPr/>
            </a:pPr>
            <a:r>
              <a:rPr lang="de-DE" altLang="zh-HK" dirty="0">
                <a:solidFill>
                  <a:prstClr val="black"/>
                </a:solidFill>
              </a:rPr>
              <a:t>Blending </a:t>
            </a:r>
            <a:r>
              <a:rPr lang="de-DE" altLang="zh-HK" dirty="0" err="1">
                <a:solidFill>
                  <a:prstClr val="black"/>
                </a:solidFill>
              </a:rPr>
              <a:t>of</a:t>
            </a:r>
            <a:r>
              <a:rPr lang="de-DE" altLang="zh-HK" dirty="0">
                <a:solidFill>
                  <a:prstClr val="black"/>
                </a:solidFill>
              </a:rPr>
              <a:t> </a:t>
            </a:r>
            <a:r>
              <a:rPr lang="de-DE" altLang="zh-HK" b="1" dirty="0">
                <a:solidFill>
                  <a:prstClr val="black"/>
                </a:solidFill>
              </a:rPr>
              <a:t>10% alternative </a:t>
            </a:r>
            <a:r>
              <a:rPr lang="de-DE" altLang="zh-HK" b="1" dirty="0" err="1">
                <a:solidFill>
                  <a:prstClr val="black"/>
                </a:solidFill>
              </a:rPr>
              <a:t>aviation</a:t>
            </a:r>
            <a:r>
              <a:rPr lang="de-DE" altLang="zh-HK" b="1" dirty="0">
                <a:solidFill>
                  <a:prstClr val="black"/>
                </a:solidFill>
              </a:rPr>
              <a:t> </a:t>
            </a:r>
            <a:r>
              <a:rPr lang="de-DE" altLang="zh-HK" b="1" dirty="0" err="1">
                <a:solidFill>
                  <a:prstClr val="black"/>
                </a:solidFill>
              </a:rPr>
              <a:t>fuel</a:t>
            </a:r>
            <a:r>
              <a:rPr lang="de-DE" altLang="zh-HK" b="1" dirty="0">
                <a:solidFill>
                  <a:prstClr val="black"/>
                </a:solidFill>
              </a:rPr>
              <a:t> </a:t>
            </a:r>
            <a:r>
              <a:rPr lang="de-DE" altLang="zh-HK" dirty="0">
                <a:solidFill>
                  <a:prstClr val="black"/>
                </a:solidFill>
              </a:rPr>
              <a:t>in </a:t>
            </a:r>
            <a:r>
              <a:rPr lang="de-DE" altLang="zh-HK" dirty="0" smtClean="0">
                <a:solidFill>
                  <a:prstClr val="black"/>
                </a:solidFill>
              </a:rPr>
              <a:t>Germany</a:t>
            </a:r>
            <a:endParaRPr lang="de-DE" altLang="zh-HK" dirty="0">
              <a:solidFill>
                <a:prstClr val="black"/>
              </a:solidFill>
            </a:endParaRPr>
          </a:p>
          <a:p>
            <a:pPr marL="325438" lvl="1" indent="-323850" defTabSz="330200" eaLnBrk="0" fontAlgn="base" hangingPunct="0">
              <a:spcBef>
                <a:spcPct val="0"/>
              </a:spcBef>
              <a:spcAft>
                <a:spcPct val="20000"/>
              </a:spcAft>
              <a:defRPr/>
            </a:pPr>
            <a:endParaRPr lang="de-DE" altLang="zh-HK" dirty="0">
              <a:solidFill>
                <a:prstClr val="black"/>
              </a:solidFill>
            </a:endParaRPr>
          </a:p>
        </p:txBody>
      </p:sp>
      <p:pic>
        <p:nvPicPr>
          <p:cNvPr id="1536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11864" y="925116"/>
            <a:ext cx="2160587" cy="1113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11864" y="3380185"/>
            <a:ext cx="2160587" cy="129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8" name="Picture 8" descr="4A197179-BF61-46C5-BF06-C23D0479E4D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11864" y="2121694"/>
            <a:ext cx="2160587" cy="114419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9465768"/>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Grafik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29551" y="141685"/>
            <a:ext cx="1114425" cy="40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p:nvSpPr>
        <p:spPr bwMode="auto">
          <a:xfrm>
            <a:off x="539750" y="107157"/>
            <a:ext cx="6121400" cy="573881"/>
          </a:xfrm>
          <a:prstGeom prst="rect">
            <a:avLst/>
          </a:prstGeom>
          <a:noFill/>
          <a:ln w="9525">
            <a:noFill/>
            <a:miter lim="800000"/>
            <a:headEnd/>
            <a:tailEnd/>
          </a:ln>
        </p:spPr>
        <p:txBody>
          <a:bodyPr anchor="ctr"/>
          <a:lstStyle/>
          <a:p>
            <a:pPr defTabSz="914400" fontAlgn="base">
              <a:spcBef>
                <a:spcPct val="0"/>
              </a:spcBef>
              <a:spcAft>
                <a:spcPct val="0"/>
              </a:spcAft>
              <a:defRPr/>
            </a:pPr>
            <a:r>
              <a:rPr lang="de-DE" sz="2400" b="1" dirty="0" smtClean="0">
                <a:solidFill>
                  <a:srgbClr val="0064AE"/>
                </a:solidFill>
                <a:cs typeface="Arial" pitchFamily="34" charset="0"/>
              </a:rPr>
              <a:t>33 </a:t>
            </a:r>
            <a:r>
              <a:rPr lang="de-DE" sz="2400" b="1" dirty="0" err="1" smtClean="0">
                <a:solidFill>
                  <a:srgbClr val="0064AE"/>
                </a:solidFill>
                <a:cs typeface="Arial" pitchFamily="34" charset="0"/>
              </a:rPr>
              <a:t>members</a:t>
            </a:r>
            <a:endParaRPr lang="de-DE" sz="2400" b="1" dirty="0">
              <a:solidFill>
                <a:srgbClr val="0064AE"/>
              </a:solidFill>
              <a:cs typeface="Arial" pitchFamily="34" charset="0"/>
            </a:endParaRPr>
          </a:p>
        </p:txBody>
      </p:sp>
      <p:cxnSp>
        <p:nvCxnSpPr>
          <p:cNvPr id="30" name="Gerade Verbindung 29"/>
          <p:cNvCxnSpPr/>
          <p:nvPr/>
        </p:nvCxnSpPr>
        <p:spPr>
          <a:xfrm>
            <a:off x="0" y="681038"/>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pic>
        <p:nvPicPr>
          <p:cNvPr id="17413" name="Picture 2" descr="\\192.168.40.18\Fileserver BDF\12 - aireg\12.2 - Recht, Finanzen, IT\12.2.8 - Mitgliedsunternehmen\Air Berlin\Neues Bild.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164" y="769144"/>
            <a:ext cx="2174875" cy="610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descr="\\192.168.40.18\Fileserver BDF\12 - aireg\12.2 - Recht, Finanzen, IT\12.2.8 - Mitgliedsunternehmen\Boeing International Corp\boeing-log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84714" y="959644"/>
            <a:ext cx="1392237" cy="229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5" name="Picture 5" descr="\\192.168.40.18\Fileserver BDF\12 - aireg\12.2 - Recht, Finanzen, IT\12.2.8 - Mitgliedsunternehmen\Booz &amp; Company\logo.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80139" y="919162"/>
            <a:ext cx="1290637" cy="310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7" name="Picture 9" descr="\\192.168.40.18\Fileserver BDF\12 - aireg\12.2 - Recht, Finanzen, IT\12.2.8 - Mitgliedsunternehmen\dena\images.jpe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47665" y="1519238"/>
            <a:ext cx="1463675" cy="48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8" name="Picture 10" descr="\\192.168.40.18\Fileserver BDF\12 - aireg\12.2 - Recht, Finanzen, IT\12.2.8 - Mitgliedsunternehmen\Deutsche Lufthansa AG\images.jpe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31840" y="3003947"/>
            <a:ext cx="1398588" cy="213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9" name="Picture 12" descr="\\192.168.40.18\Fileserver BDF\12 - aireg\12.2 - Recht, Finanzen, IT\12.2.8 - Mitgliedsunternehmen\DLR\images.jpe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17903" y="1398985"/>
            <a:ext cx="1157287" cy="72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0" name="Picture 13" descr="\\192.168.40.18\Fileserver BDF\12 - aireg\12.2 - Recht, Finanzen, IT\12.2.8 - Mitgliedsunternehmen\EADS\EADS-Logo_2010.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59353" y="1500188"/>
            <a:ext cx="1347787" cy="57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1" name="Picture 14" descr="\\192.168.40.18\Fileserver BDF\12 - aireg\12.2 - Recht, Finanzen, IT\12.2.8 - Mitgliedsunternehmen\Flughafen München GmbH\744px-flughafen_muenchen_logosvg.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55719" y="1578173"/>
            <a:ext cx="1371600" cy="36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2" name="Picture 2" descr="C:\Dokumente und Einstellungen\Lukas Rohleder\Desktop\12 - aireg\12.2 - Recht, Finanzen, IT\12.2.8 - Mitgliedsunternehmen\Forschungszentrum Jülich GmbH\logoForschungszentrum_Jülich_GmbH_6446DE.gi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79512" y="2171700"/>
            <a:ext cx="1335088" cy="501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3" name="Picture 3" descr="C:\Dokumente und Einstellungen\Lukas Rohleder\Desktop\12 - aireg\12.2 - Recht, Finanzen, IT\12.2.8 - Mitgliedsunternehmen\Fraunhofer-Institut für Bauphysik\fraunhofer-ibp-logo.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652713" y="2284810"/>
            <a:ext cx="1323975" cy="27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4" name="Picture 4" descr="C:\Dokumente und Einstellungen\Lukas Rohleder\Desktop\12 - aireg\12.2 - Recht, Finanzen, IT\12.2.8 - Mitgliedsunternehmen\ISCC System GmbH\346365127791523679.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34038" y="2108597"/>
            <a:ext cx="1393825" cy="62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5" name="Picture 5" descr="C:\Dokumente und Einstellungen\Lukas Rohleder\Desktop\12 - aireg\12.2 - Recht, Finanzen, IT\12.2.8 - Mitgliedsunternehmen\JatroSolutions GmbH\logo_js.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59625" y="2276476"/>
            <a:ext cx="1376362" cy="270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6" name="Picture 6" descr="C:\Dokumente und Einstellungen\Lukas Rohleder\Desktop\12 - aireg\12.2 - Recht, Finanzen, IT\12.2.8 - Mitgliedsunternehmen\Leuphana Universität Lüneburg\LeuphanaLogo.jp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37976" y="2883694"/>
            <a:ext cx="1309688" cy="325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7" name="Picture 7" descr="C:\Dokumente und Einstellungen\Lukas Rohleder\Desktop\12 - aireg\12.2 - Recht, Finanzen, IT\12.2.8 - Mitgliedsunternehmen\MTU Aero Engines Holding GmbH\800px-MTU_Aero_Engines_Logo.svg.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716016" y="2815829"/>
            <a:ext cx="1354138"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8" name="Picture 8" descr="C:\Dokumente und Einstellungen\Lukas Rohleder\Desktop\12 - aireg\12.2 - Recht, Finanzen, IT\12.2.8 - Mitgliedsunternehmen\Phytolutions GmbH\Logo neu.preview.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79512" y="3565793"/>
            <a:ext cx="1374775" cy="363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9" name="Picture 9" descr="C:\Dokumente und Einstellungen\Lukas Rohleder\Desktop\12 - aireg\12.2 - Recht, Finanzen, IT\12.2.8 - Mitgliedsunternehmen\Rolls-Royce Deutschland\rolls_royce_logo.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654300" y="3628895"/>
            <a:ext cx="1362075"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0" name="Picture 10" descr="C:\Dokumente und Einstellungen\Lukas Rohleder\Desktop\12 - aireg\12.2 - Recht, Finanzen, IT\12.2.8 - Mitgliedsunternehmen\TU HH - Institut für Energiewirtschaft und Umwelttechnik\IUE-logo.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262812" y="3381840"/>
            <a:ext cx="1074737" cy="731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1" name="Picture 2" descr="\\192.168.40.18\fileserver bdf\12 - aireg\12.2 - Recht, Finanzen, IT\12.2.8 - Mitgliedsunternehmen\Deutsche Post AG\dp-dhl_logo01.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166915" y="1659731"/>
            <a:ext cx="1368425" cy="20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3" name="Picture 3"/>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613650" y="3386603"/>
            <a:ext cx="1295400" cy="726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4" name="Picture 2"/>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067201" y="4331494"/>
            <a:ext cx="1241425" cy="520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5" name="Picture 3"/>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700962" y="2213967"/>
            <a:ext cx="1198563"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6" name="Picture 2"/>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018362" y="2934891"/>
            <a:ext cx="15779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7" name="Picture 3"/>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771800" y="4192191"/>
            <a:ext cx="958850" cy="83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8" name="Grafik 49" descr="Linde.jpg"/>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619672" y="2725341"/>
            <a:ext cx="1371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9" name="Grafik 56" descr="bhl_neue wege_logo.jpg"/>
          <p:cNvPicPr>
            <a:picLocks noChangeAspect="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106738" y="938212"/>
            <a:ext cx="1403350" cy="272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0" name="Picture 2" descr="http://newsfuzion.com/wp-content/uploads/2010/12/Shell-logo-300x180.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542755" y="3424108"/>
            <a:ext cx="143986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1" name="Picture 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546600" y="2057400"/>
            <a:ext cx="679450" cy="729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3" name="Picture 38"/>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1584325" y="939403"/>
            <a:ext cx="1512888" cy="270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4" name="Picture 1" descr="image002"/>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57189" y="1383506"/>
            <a:ext cx="935037"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5" name="Picture 40"/>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5580088" y="4462463"/>
            <a:ext cx="1382712" cy="2976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46" name="Picture 2" descr="http://www.a3ps.at/site/sites/default/files/logos/omv_logo_orig.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860516" y="2808487"/>
            <a:ext cx="879452" cy="469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7" name="Grafik 1"/>
          <p:cNvPicPr>
            <a:picLocks noChangeAspect="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7773988" y="913210"/>
            <a:ext cx="1135062" cy="322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8" name="Picture 40"/>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3256755" y="3628896"/>
            <a:ext cx="1280445" cy="260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43738488"/>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Grafik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29551" y="141685"/>
            <a:ext cx="1114425" cy="40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5"/>
          <p:cNvSpPr txBox="1">
            <a:spLocks noChangeArrowheads="1"/>
          </p:cNvSpPr>
          <p:nvPr/>
        </p:nvSpPr>
        <p:spPr bwMode="auto">
          <a:xfrm>
            <a:off x="539751" y="107157"/>
            <a:ext cx="7345363" cy="573881"/>
          </a:xfrm>
          <a:prstGeom prst="rect">
            <a:avLst/>
          </a:prstGeom>
          <a:noFill/>
          <a:ln w="9525">
            <a:noFill/>
            <a:miter lim="800000"/>
            <a:headEnd/>
            <a:tailEnd/>
          </a:ln>
        </p:spPr>
        <p:txBody>
          <a:bodyPr anchor="ctr"/>
          <a:lstStyle/>
          <a:p>
            <a:pPr defTabSz="914400" fontAlgn="base">
              <a:spcBef>
                <a:spcPct val="0"/>
              </a:spcBef>
              <a:spcAft>
                <a:spcPct val="0"/>
              </a:spcAft>
              <a:defRPr/>
            </a:pPr>
            <a:r>
              <a:rPr lang="de-DE" sz="2400" b="1" dirty="0" smtClean="0">
                <a:solidFill>
                  <a:srgbClr val="0064AE"/>
                </a:solidFill>
                <a:cs typeface="Arial" pitchFamily="34" charset="0"/>
              </a:rPr>
              <a:t>Working </a:t>
            </a:r>
            <a:r>
              <a:rPr lang="de-DE" sz="2400" b="1" dirty="0" err="1" smtClean="0">
                <a:solidFill>
                  <a:srgbClr val="0064AE"/>
                </a:solidFill>
                <a:cs typeface="Arial" pitchFamily="34" charset="0"/>
              </a:rPr>
              <a:t>groups</a:t>
            </a:r>
            <a:endParaRPr lang="de-DE" sz="2400" b="1" dirty="0">
              <a:solidFill>
                <a:srgbClr val="0064AE"/>
              </a:solidFill>
              <a:cs typeface="Arial" pitchFamily="34" charset="0"/>
            </a:endParaRPr>
          </a:p>
        </p:txBody>
      </p:sp>
      <p:sp>
        <p:nvSpPr>
          <p:cNvPr id="22" name="Freihandform 21"/>
          <p:cNvSpPr/>
          <p:nvPr/>
        </p:nvSpPr>
        <p:spPr>
          <a:xfrm>
            <a:off x="539751" y="1168003"/>
            <a:ext cx="1577975" cy="3394472"/>
          </a:xfrm>
          <a:custGeom>
            <a:avLst/>
            <a:gdLst>
              <a:gd name="connsiteX0" fmla="*/ 0 w 1578289"/>
              <a:gd name="connsiteY0" fmla="*/ 157829 h 4526320"/>
              <a:gd name="connsiteX1" fmla="*/ 46227 w 1578289"/>
              <a:gd name="connsiteY1" fmla="*/ 46227 h 4526320"/>
              <a:gd name="connsiteX2" fmla="*/ 157829 w 1578289"/>
              <a:gd name="connsiteY2" fmla="*/ 0 h 4526320"/>
              <a:gd name="connsiteX3" fmla="*/ 1420460 w 1578289"/>
              <a:gd name="connsiteY3" fmla="*/ 0 h 4526320"/>
              <a:gd name="connsiteX4" fmla="*/ 1532062 w 1578289"/>
              <a:gd name="connsiteY4" fmla="*/ 46227 h 4526320"/>
              <a:gd name="connsiteX5" fmla="*/ 1578289 w 1578289"/>
              <a:gd name="connsiteY5" fmla="*/ 157829 h 4526320"/>
              <a:gd name="connsiteX6" fmla="*/ 1578289 w 1578289"/>
              <a:gd name="connsiteY6" fmla="*/ 4368491 h 4526320"/>
              <a:gd name="connsiteX7" fmla="*/ 1532062 w 1578289"/>
              <a:gd name="connsiteY7" fmla="*/ 4480093 h 4526320"/>
              <a:gd name="connsiteX8" fmla="*/ 1420460 w 1578289"/>
              <a:gd name="connsiteY8" fmla="*/ 4526320 h 4526320"/>
              <a:gd name="connsiteX9" fmla="*/ 157829 w 1578289"/>
              <a:gd name="connsiteY9" fmla="*/ 4526320 h 4526320"/>
              <a:gd name="connsiteX10" fmla="*/ 46227 w 1578289"/>
              <a:gd name="connsiteY10" fmla="*/ 4480093 h 4526320"/>
              <a:gd name="connsiteX11" fmla="*/ 0 w 1578289"/>
              <a:gd name="connsiteY11" fmla="*/ 4368491 h 4526320"/>
              <a:gd name="connsiteX12" fmla="*/ 0 w 1578289"/>
              <a:gd name="connsiteY12" fmla="*/ 157829 h 452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289" h="4526320">
                <a:moveTo>
                  <a:pt x="0" y="157829"/>
                </a:moveTo>
                <a:cubicBezTo>
                  <a:pt x="0" y="115970"/>
                  <a:pt x="16628" y="75826"/>
                  <a:pt x="46227" y="46227"/>
                </a:cubicBezTo>
                <a:cubicBezTo>
                  <a:pt x="75826" y="16628"/>
                  <a:pt x="115970" y="0"/>
                  <a:pt x="157829" y="0"/>
                </a:cubicBezTo>
                <a:lnTo>
                  <a:pt x="1420460" y="0"/>
                </a:lnTo>
                <a:cubicBezTo>
                  <a:pt x="1462319" y="0"/>
                  <a:pt x="1502463" y="16628"/>
                  <a:pt x="1532062" y="46227"/>
                </a:cubicBezTo>
                <a:cubicBezTo>
                  <a:pt x="1561661" y="75826"/>
                  <a:pt x="1578289" y="115970"/>
                  <a:pt x="1578289" y="157829"/>
                </a:cubicBezTo>
                <a:lnTo>
                  <a:pt x="1578289" y="4368491"/>
                </a:lnTo>
                <a:cubicBezTo>
                  <a:pt x="1578289" y="4410350"/>
                  <a:pt x="1561661" y="4450494"/>
                  <a:pt x="1532062" y="4480093"/>
                </a:cubicBezTo>
                <a:cubicBezTo>
                  <a:pt x="1502463" y="4509692"/>
                  <a:pt x="1462319" y="4526320"/>
                  <a:pt x="1420460" y="4526320"/>
                </a:cubicBezTo>
                <a:lnTo>
                  <a:pt x="157829" y="4526320"/>
                </a:lnTo>
                <a:cubicBezTo>
                  <a:pt x="115970" y="4526320"/>
                  <a:pt x="75826" y="4509692"/>
                  <a:pt x="46227" y="4480093"/>
                </a:cubicBezTo>
                <a:cubicBezTo>
                  <a:pt x="16628" y="4450494"/>
                  <a:pt x="0" y="4410350"/>
                  <a:pt x="0" y="4368491"/>
                </a:cubicBezTo>
                <a:lnTo>
                  <a:pt x="0" y="157829"/>
                </a:lnTo>
                <a:close/>
              </a:path>
            </a:pathLst>
          </a:custGeom>
        </p:spPr>
        <p:style>
          <a:lnRef idx="1">
            <a:schemeClr val="accent1"/>
          </a:lnRef>
          <a:fillRef idx="3">
            <a:schemeClr val="accent1"/>
          </a:fillRef>
          <a:effectRef idx="2">
            <a:schemeClr val="accent1"/>
          </a:effectRef>
          <a:fontRef idx="minor">
            <a:schemeClr val="lt1"/>
          </a:fontRef>
        </p:style>
        <p:txBody>
          <a:bodyPr lIns="120904" tIns="1931432" rIns="120904" bIns="1026168" spcCol="1270" anchor="ctr"/>
          <a:lstStyle/>
          <a:p>
            <a:pPr algn="ctr" defTabSz="755650" fontAlgn="base">
              <a:lnSpc>
                <a:spcPct val="90000"/>
              </a:lnSpc>
              <a:spcBef>
                <a:spcPct val="0"/>
              </a:spcBef>
              <a:spcAft>
                <a:spcPct val="35000"/>
              </a:spcAft>
              <a:defRPr/>
            </a:pPr>
            <a:r>
              <a:rPr lang="de-DE" sz="1700" dirty="0" smtClean="0">
                <a:solidFill>
                  <a:prstClr val="white"/>
                </a:solidFill>
              </a:rPr>
              <a:t>Provision </a:t>
            </a:r>
            <a:r>
              <a:rPr lang="de-DE" sz="1700" dirty="0" err="1" smtClean="0">
                <a:solidFill>
                  <a:prstClr val="white"/>
                </a:solidFill>
              </a:rPr>
              <a:t>of</a:t>
            </a:r>
            <a:r>
              <a:rPr lang="de-DE" sz="1700" dirty="0" smtClean="0">
                <a:solidFill>
                  <a:prstClr val="white"/>
                </a:solidFill>
              </a:rPr>
              <a:t> </a:t>
            </a:r>
            <a:r>
              <a:rPr lang="de-DE" sz="1700" dirty="0" err="1" smtClean="0">
                <a:solidFill>
                  <a:prstClr val="white"/>
                </a:solidFill>
              </a:rPr>
              <a:t>Feedstock</a:t>
            </a:r>
            <a:endParaRPr lang="de-DE" sz="1700" dirty="0">
              <a:solidFill>
                <a:prstClr val="white"/>
              </a:solidFill>
            </a:endParaRPr>
          </a:p>
        </p:txBody>
      </p:sp>
      <p:sp>
        <p:nvSpPr>
          <p:cNvPr id="23" name="Ellipse 22"/>
          <p:cNvSpPr/>
          <p:nvPr/>
        </p:nvSpPr>
        <p:spPr>
          <a:xfrm>
            <a:off x="586900" y="1371278"/>
            <a:ext cx="1483592" cy="1130448"/>
          </a:xfrm>
          <a:prstGeom prst="ellipse">
            <a:avLst/>
          </a:prstGeom>
          <a:blipFill>
            <a:blip r:embed="rId4" cstate="print">
              <a:extLst/>
            </a:blip>
            <a:srcRect/>
            <a:stretch>
              <a:fillRect l="-18000" r="-18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 name="Freihandform 23"/>
          <p:cNvSpPr/>
          <p:nvPr/>
        </p:nvSpPr>
        <p:spPr>
          <a:xfrm>
            <a:off x="2165351" y="1168003"/>
            <a:ext cx="1577975" cy="3394472"/>
          </a:xfrm>
          <a:custGeom>
            <a:avLst/>
            <a:gdLst>
              <a:gd name="connsiteX0" fmla="*/ 0 w 1578289"/>
              <a:gd name="connsiteY0" fmla="*/ 157829 h 4526320"/>
              <a:gd name="connsiteX1" fmla="*/ 46227 w 1578289"/>
              <a:gd name="connsiteY1" fmla="*/ 46227 h 4526320"/>
              <a:gd name="connsiteX2" fmla="*/ 157829 w 1578289"/>
              <a:gd name="connsiteY2" fmla="*/ 0 h 4526320"/>
              <a:gd name="connsiteX3" fmla="*/ 1420460 w 1578289"/>
              <a:gd name="connsiteY3" fmla="*/ 0 h 4526320"/>
              <a:gd name="connsiteX4" fmla="*/ 1532062 w 1578289"/>
              <a:gd name="connsiteY4" fmla="*/ 46227 h 4526320"/>
              <a:gd name="connsiteX5" fmla="*/ 1578289 w 1578289"/>
              <a:gd name="connsiteY5" fmla="*/ 157829 h 4526320"/>
              <a:gd name="connsiteX6" fmla="*/ 1578289 w 1578289"/>
              <a:gd name="connsiteY6" fmla="*/ 4368491 h 4526320"/>
              <a:gd name="connsiteX7" fmla="*/ 1532062 w 1578289"/>
              <a:gd name="connsiteY7" fmla="*/ 4480093 h 4526320"/>
              <a:gd name="connsiteX8" fmla="*/ 1420460 w 1578289"/>
              <a:gd name="connsiteY8" fmla="*/ 4526320 h 4526320"/>
              <a:gd name="connsiteX9" fmla="*/ 157829 w 1578289"/>
              <a:gd name="connsiteY9" fmla="*/ 4526320 h 4526320"/>
              <a:gd name="connsiteX10" fmla="*/ 46227 w 1578289"/>
              <a:gd name="connsiteY10" fmla="*/ 4480093 h 4526320"/>
              <a:gd name="connsiteX11" fmla="*/ 0 w 1578289"/>
              <a:gd name="connsiteY11" fmla="*/ 4368491 h 4526320"/>
              <a:gd name="connsiteX12" fmla="*/ 0 w 1578289"/>
              <a:gd name="connsiteY12" fmla="*/ 157829 h 452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289" h="4526320">
                <a:moveTo>
                  <a:pt x="0" y="157829"/>
                </a:moveTo>
                <a:cubicBezTo>
                  <a:pt x="0" y="115970"/>
                  <a:pt x="16628" y="75826"/>
                  <a:pt x="46227" y="46227"/>
                </a:cubicBezTo>
                <a:cubicBezTo>
                  <a:pt x="75826" y="16628"/>
                  <a:pt x="115970" y="0"/>
                  <a:pt x="157829" y="0"/>
                </a:cubicBezTo>
                <a:lnTo>
                  <a:pt x="1420460" y="0"/>
                </a:lnTo>
                <a:cubicBezTo>
                  <a:pt x="1462319" y="0"/>
                  <a:pt x="1502463" y="16628"/>
                  <a:pt x="1532062" y="46227"/>
                </a:cubicBezTo>
                <a:cubicBezTo>
                  <a:pt x="1561661" y="75826"/>
                  <a:pt x="1578289" y="115970"/>
                  <a:pt x="1578289" y="157829"/>
                </a:cubicBezTo>
                <a:lnTo>
                  <a:pt x="1578289" y="4368491"/>
                </a:lnTo>
                <a:cubicBezTo>
                  <a:pt x="1578289" y="4410350"/>
                  <a:pt x="1561661" y="4450494"/>
                  <a:pt x="1532062" y="4480093"/>
                </a:cubicBezTo>
                <a:cubicBezTo>
                  <a:pt x="1502463" y="4509692"/>
                  <a:pt x="1462319" y="4526320"/>
                  <a:pt x="1420460" y="4526320"/>
                </a:cubicBezTo>
                <a:lnTo>
                  <a:pt x="157829" y="4526320"/>
                </a:lnTo>
                <a:cubicBezTo>
                  <a:pt x="115970" y="4526320"/>
                  <a:pt x="75826" y="4509692"/>
                  <a:pt x="46227" y="4480093"/>
                </a:cubicBezTo>
                <a:cubicBezTo>
                  <a:pt x="16628" y="4450494"/>
                  <a:pt x="0" y="4410350"/>
                  <a:pt x="0" y="4368491"/>
                </a:cubicBezTo>
                <a:lnTo>
                  <a:pt x="0" y="157829"/>
                </a:lnTo>
                <a:close/>
              </a:path>
            </a:pathLst>
          </a:custGeom>
        </p:spPr>
        <p:style>
          <a:lnRef idx="1">
            <a:schemeClr val="accent1"/>
          </a:lnRef>
          <a:fillRef idx="3">
            <a:schemeClr val="accent1"/>
          </a:fillRef>
          <a:effectRef idx="2">
            <a:schemeClr val="accent1"/>
          </a:effectRef>
          <a:fontRef idx="minor">
            <a:schemeClr val="lt1"/>
          </a:fontRef>
        </p:style>
        <p:txBody>
          <a:bodyPr lIns="120904" tIns="1931432" rIns="120904" bIns="1026168" spcCol="1270" anchor="ctr"/>
          <a:lstStyle/>
          <a:p>
            <a:pPr algn="ctr" defTabSz="755650" fontAlgn="base">
              <a:lnSpc>
                <a:spcPct val="90000"/>
              </a:lnSpc>
              <a:spcBef>
                <a:spcPct val="0"/>
              </a:spcBef>
              <a:spcAft>
                <a:spcPct val="35000"/>
              </a:spcAft>
              <a:defRPr/>
            </a:pPr>
            <a:r>
              <a:rPr lang="de-DE" sz="1700" dirty="0" smtClean="0">
                <a:solidFill>
                  <a:prstClr val="white"/>
                </a:solidFill>
              </a:rPr>
              <a:t>Technologies </a:t>
            </a:r>
            <a:r>
              <a:rPr lang="de-DE" sz="1700" dirty="0" err="1" smtClean="0">
                <a:solidFill>
                  <a:prstClr val="white"/>
                </a:solidFill>
              </a:rPr>
              <a:t>of</a:t>
            </a:r>
            <a:r>
              <a:rPr lang="de-DE" sz="1700" dirty="0" smtClean="0">
                <a:solidFill>
                  <a:prstClr val="white"/>
                </a:solidFill>
              </a:rPr>
              <a:t> Fuel </a:t>
            </a:r>
            <a:r>
              <a:rPr lang="de-DE" sz="1700" dirty="0" err="1" smtClean="0">
                <a:solidFill>
                  <a:prstClr val="white"/>
                </a:solidFill>
              </a:rPr>
              <a:t>Production</a:t>
            </a:r>
            <a:endParaRPr lang="de-DE" sz="1700" dirty="0">
              <a:solidFill>
                <a:prstClr val="white"/>
              </a:solidFill>
            </a:endParaRPr>
          </a:p>
        </p:txBody>
      </p:sp>
      <p:sp>
        <p:nvSpPr>
          <p:cNvPr id="25" name="Ellipse 24"/>
          <p:cNvSpPr/>
          <p:nvPr/>
        </p:nvSpPr>
        <p:spPr>
          <a:xfrm>
            <a:off x="2212976" y="1371600"/>
            <a:ext cx="1482725" cy="1129904"/>
          </a:xfrm>
          <a:prstGeom prst="ellipse">
            <a:avLst/>
          </a:prstGeom>
          <a:blipFill rotWithShape="0">
            <a:blip r:embed="rId5"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6" name="Freihandform 25"/>
          <p:cNvSpPr/>
          <p:nvPr/>
        </p:nvSpPr>
        <p:spPr>
          <a:xfrm>
            <a:off x="3790951" y="1168003"/>
            <a:ext cx="1577975" cy="3394472"/>
          </a:xfrm>
          <a:custGeom>
            <a:avLst/>
            <a:gdLst>
              <a:gd name="connsiteX0" fmla="*/ 0 w 1578289"/>
              <a:gd name="connsiteY0" fmla="*/ 157829 h 4526320"/>
              <a:gd name="connsiteX1" fmla="*/ 46227 w 1578289"/>
              <a:gd name="connsiteY1" fmla="*/ 46227 h 4526320"/>
              <a:gd name="connsiteX2" fmla="*/ 157829 w 1578289"/>
              <a:gd name="connsiteY2" fmla="*/ 0 h 4526320"/>
              <a:gd name="connsiteX3" fmla="*/ 1420460 w 1578289"/>
              <a:gd name="connsiteY3" fmla="*/ 0 h 4526320"/>
              <a:gd name="connsiteX4" fmla="*/ 1532062 w 1578289"/>
              <a:gd name="connsiteY4" fmla="*/ 46227 h 4526320"/>
              <a:gd name="connsiteX5" fmla="*/ 1578289 w 1578289"/>
              <a:gd name="connsiteY5" fmla="*/ 157829 h 4526320"/>
              <a:gd name="connsiteX6" fmla="*/ 1578289 w 1578289"/>
              <a:gd name="connsiteY6" fmla="*/ 4368491 h 4526320"/>
              <a:gd name="connsiteX7" fmla="*/ 1532062 w 1578289"/>
              <a:gd name="connsiteY7" fmla="*/ 4480093 h 4526320"/>
              <a:gd name="connsiteX8" fmla="*/ 1420460 w 1578289"/>
              <a:gd name="connsiteY8" fmla="*/ 4526320 h 4526320"/>
              <a:gd name="connsiteX9" fmla="*/ 157829 w 1578289"/>
              <a:gd name="connsiteY9" fmla="*/ 4526320 h 4526320"/>
              <a:gd name="connsiteX10" fmla="*/ 46227 w 1578289"/>
              <a:gd name="connsiteY10" fmla="*/ 4480093 h 4526320"/>
              <a:gd name="connsiteX11" fmla="*/ 0 w 1578289"/>
              <a:gd name="connsiteY11" fmla="*/ 4368491 h 4526320"/>
              <a:gd name="connsiteX12" fmla="*/ 0 w 1578289"/>
              <a:gd name="connsiteY12" fmla="*/ 157829 h 452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289" h="4526320">
                <a:moveTo>
                  <a:pt x="0" y="157829"/>
                </a:moveTo>
                <a:cubicBezTo>
                  <a:pt x="0" y="115970"/>
                  <a:pt x="16628" y="75826"/>
                  <a:pt x="46227" y="46227"/>
                </a:cubicBezTo>
                <a:cubicBezTo>
                  <a:pt x="75826" y="16628"/>
                  <a:pt x="115970" y="0"/>
                  <a:pt x="157829" y="0"/>
                </a:cubicBezTo>
                <a:lnTo>
                  <a:pt x="1420460" y="0"/>
                </a:lnTo>
                <a:cubicBezTo>
                  <a:pt x="1462319" y="0"/>
                  <a:pt x="1502463" y="16628"/>
                  <a:pt x="1532062" y="46227"/>
                </a:cubicBezTo>
                <a:cubicBezTo>
                  <a:pt x="1561661" y="75826"/>
                  <a:pt x="1578289" y="115970"/>
                  <a:pt x="1578289" y="157829"/>
                </a:cubicBezTo>
                <a:lnTo>
                  <a:pt x="1578289" y="4368491"/>
                </a:lnTo>
                <a:cubicBezTo>
                  <a:pt x="1578289" y="4410350"/>
                  <a:pt x="1561661" y="4450494"/>
                  <a:pt x="1532062" y="4480093"/>
                </a:cubicBezTo>
                <a:cubicBezTo>
                  <a:pt x="1502463" y="4509692"/>
                  <a:pt x="1462319" y="4526320"/>
                  <a:pt x="1420460" y="4526320"/>
                </a:cubicBezTo>
                <a:lnTo>
                  <a:pt x="157829" y="4526320"/>
                </a:lnTo>
                <a:cubicBezTo>
                  <a:pt x="115970" y="4526320"/>
                  <a:pt x="75826" y="4509692"/>
                  <a:pt x="46227" y="4480093"/>
                </a:cubicBezTo>
                <a:cubicBezTo>
                  <a:pt x="16628" y="4450494"/>
                  <a:pt x="0" y="4410350"/>
                  <a:pt x="0" y="4368491"/>
                </a:cubicBezTo>
                <a:lnTo>
                  <a:pt x="0" y="157829"/>
                </a:lnTo>
                <a:close/>
              </a:path>
            </a:pathLst>
          </a:custGeom>
        </p:spPr>
        <p:style>
          <a:lnRef idx="1">
            <a:schemeClr val="accent1"/>
          </a:lnRef>
          <a:fillRef idx="3">
            <a:schemeClr val="accent1"/>
          </a:fillRef>
          <a:effectRef idx="2">
            <a:schemeClr val="accent1"/>
          </a:effectRef>
          <a:fontRef idx="minor">
            <a:schemeClr val="lt1"/>
          </a:fontRef>
        </p:style>
        <p:txBody>
          <a:bodyPr lIns="120904" tIns="1931432" rIns="120904" bIns="1026168" spcCol="1270" anchor="ctr"/>
          <a:lstStyle/>
          <a:p>
            <a:pPr algn="ctr" defTabSz="755650" fontAlgn="base">
              <a:lnSpc>
                <a:spcPct val="90000"/>
              </a:lnSpc>
              <a:spcBef>
                <a:spcPct val="0"/>
              </a:spcBef>
              <a:spcAft>
                <a:spcPct val="35000"/>
              </a:spcAft>
              <a:defRPr/>
            </a:pPr>
            <a:r>
              <a:rPr lang="de-DE" sz="1700" dirty="0" smtClean="0">
                <a:solidFill>
                  <a:prstClr val="white"/>
                </a:solidFill>
              </a:rPr>
              <a:t>Fuel </a:t>
            </a:r>
            <a:r>
              <a:rPr lang="de-DE" sz="1700" dirty="0" err="1" smtClean="0">
                <a:solidFill>
                  <a:prstClr val="white"/>
                </a:solidFill>
              </a:rPr>
              <a:t>Utilisation</a:t>
            </a:r>
            <a:endParaRPr lang="de-DE" sz="1700" dirty="0">
              <a:solidFill>
                <a:prstClr val="white"/>
              </a:solidFill>
            </a:endParaRPr>
          </a:p>
        </p:txBody>
      </p:sp>
      <p:sp>
        <p:nvSpPr>
          <p:cNvPr id="27" name="Ellipse 26"/>
          <p:cNvSpPr/>
          <p:nvPr/>
        </p:nvSpPr>
        <p:spPr>
          <a:xfrm>
            <a:off x="3838177" y="1371278"/>
            <a:ext cx="1483592" cy="1130448"/>
          </a:xfrm>
          <a:prstGeom prst="ellipse">
            <a:avLst/>
          </a:prstGeom>
          <a:blipFill>
            <a:blip r:embed="rId6" cstate="print">
              <a:extLst/>
            </a:blip>
            <a:srcRect/>
            <a:stretch>
              <a:fillRect l="-26000" r="-26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8" name="Freihandform 27"/>
          <p:cNvSpPr/>
          <p:nvPr/>
        </p:nvSpPr>
        <p:spPr>
          <a:xfrm>
            <a:off x="5416551" y="1168003"/>
            <a:ext cx="1577975" cy="3394472"/>
          </a:xfrm>
          <a:custGeom>
            <a:avLst/>
            <a:gdLst>
              <a:gd name="connsiteX0" fmla="*/ 0 w 1578289"/>
              <a:gd name="connsiteY0" fmla="*/ 157829 h 4526320"/>
              <a:gd name="connsiteX1" fmla="*/ 46227 w 1578289"/>
              <a:gd name="connsiteY1" fmla="*/ 46227 h 4526320"/>
              <a:gd name="connsiteX2" fmla="*/ 157829 w 1578289"/>
              <a:gd name="connsiteY2" fmla="*/ 0 h 4526320"/>
              <a:gd name="connsiteX3" fmla="*/ 1420460 w 1578289"/>
              <a:gd name="connsiteY3" fmla="*/ 0 h 4526320"/>
              <a:gd name="connsiteX4" fmla="*/ 1532062 w 1578289"/>
              <a:gd name="connsiteY4" fmla="*/ 46227 h 4526320"/>
              <a:gd name="connsiteX5" fmla="*/ 1578289 w 1578289"/>
              <a:gd name="connsiteY5" fmla="*/ 157829 h 4526320"/>
              <a:gd name="connsiteX6" fmla="*/ 1578289 w 1578289"/>
              <a:gd name="connsiteY6" fmla="*/ 4368491 h 4526320"/>
              <a:gd name="connsiteX7" fmla="*/ 1532062 w 1578289"/>
              <a:gd name="connsiteY7" fmla="*/ 4480093 h 4526320"/>
              <a:gd name="connsiteX8" fmla="*/ 1420460 w 1578289"/>
              <a:gd name="connsiteY8" fmla="*/ 4526320 h 4526320"/>
              <a:gd name="connsiteX9" fmla="*/ 157829 w 1578289"/>
              <a:gd name="connsiteY9" fmla="*/ 4526320 h 4526320"/>
              <a:gd name="connsiteX10" fmla="*/ 46227 w 1578289"/>
              <a:gd name="connsiteY10" fmla="*/ 4480093 h 4526320"/>
              <a:gd name="connsiteX11" fmla="*/ 0 w 1578289"/>
              <a:gd name="connsiteY11" fmla="*/ 4368491 h 4526320"/>
              <a:gd name="connsiteX12" fmla="*/ 0 w 1578289"/>
              <a:gd name="connsiteY12" fmla="*/ 157829 h 452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289" h="4526320">
                <a:moveTo>
                  <a:pt x="0" y="157829"/>
                </a:moveTo>
                <a:cubicBezTo>
                  <a:pt x="0" y="115970"/>
                  <a:pt x="16628" y="75826"/>
                  <a:pt x="46227" y="46227"/>
                </a:cubicBezTo>
                <a:cubicBezTo>
                  <a:pt x="75826" y="16628"/>
                  <a:pt x="115970" y="0"/>
                  <a:pt x="157829" y="0"/>
                </a:cubicBezTo>
                <a:lnTo>
                  <a:pt x="1420460" y="0"/>
                </a:lnTo>
                <a:cubicBezTo>
                  <a:pt x="1462319" y="0"/>
                  <a:pt x="1502463" y="16628"/>
                  <a:pt x="1532062" y="46227"/>
                </a:cubicBezTo>
                <a:cubicBezTo>
                  <a:pt x="1561661" y="75826"/>
                  <a:pt x="1578289" y="115970"/>
                  <a:pt x="1578289" y="157829"/>
                </a:cubicBezTo>
                <a:lnTo>
                  <a:pt x="1578289" y="4368491"/>
                </a:lnTo>
                <a:cubicBezTo>
                  <a:pt x="1578289" y="4410350"/>
                  <a:pt x="1561661" y="4450494"/>
                  <a:pt x="1532062" y="4480093"/>
                </a:cubicBezTo>
                <a:cubicBezTo>
                  <a:pt x="1502463" y="4509692"/>
                  <a:pt x="1462319" y="4526320"/>
                  <a:pt x="1420460" y="4526320"/>
                </a:cubicBezTo>
                <a:lnTo>
                  <a:pt x="157829" y="4526320"/>
                </a:lnTo>
                <a:cubicBezTo>
                  <a:pt x="115970" y="4526320"/>
                  <a:pt x="75826" y="4509692"/>
                  <a:pt x="46227" y="4480093"/>
                </a:cubicBezTo>
                <a:cubicBezTo>
                  <a:pt x="16628" y="4450494"/>
                  <a:pt x="0" y="4410350"/>
                  <a:pt x="0" y="4368491"/>
                </a:cubicBezTo>
                <a:lnTo>
                  <a:pt x="0" y="157829"/>
                </a:lnTo>
                <a:close/>
              </a:path>
            </a:pathLst>
          </a:custGeom>
        </p:spPr>
        <p:style>
          <a:lnRef idx="1">
            <a:schemeClr val="accent1"/>
          </a:lnRef>
          <a:fillRef idx="3">
            <a:schemeClr val="accent1"/>
          </a:fillRef>
          <a:effectRef idx="2">
            <a:schemeClr val="accent1"/>
          </a:effectRef>
          <a:fontRef idx="minor">
            <a:schemeClr val="lt1"/>
          </a:fontRef>
        </p:style>
        <p:txBody>
          <a:bodyPr lIns="120904" tIns="1931432" rIns="120904" bIns="1026168" spcCol="1270" anchor="ctr"/>
          <a:lstStyle/>
          <a:p>
            <a:pPr algn="ctr" defTabSz="755650" fontAlgn="base">
              <a:lnSpc>
                <a:spcPct val="90000"/>
              </a:lnSpc>
              <a:spcBef>
                <a:spcPct val="0"/>
              </a:spcBef>
              <a:spcAft>
                <a:spcPct val="35000"/>
              </a:spcAft>
              <a:defRPr/>
            </a:pPr>
            <a:r>
              <a:rPr lang="de-DE" sz="1700" dirty="0" smtClean="0">
                <a:solidFill>
                  <a:prstClr val="white"/>
                </a:solidFill>
              </a:rPr>
              <a:t>Quality </a:t>
            </a:r>
            <a:r>
              <a:rPr lang="de-DE" sz="1700" dirty="0" err="1" smtClean="0">
                <a:solidFill>
                  <a:prstClr val="white"/>
                </a:solidFill>
              </a:rPr>
              <a:t>and</a:t>
            </a:r>
            <a:r>
              <a:rPr lang="de-DE" sz="1700" dirty="0" smtClean="0">
                <a:solidFill>
                  <a:prstClr val="white"/>
                </a:solidFill>
              </a:rPr>
              <a:t> </a:t>
            </a:r>
            <a:r>
              <a:rPr lang="de-DE" sz="1700" dirty="0" err="1" smtClean="0">
                <a:solidFill>
                  <a:prstClr val="white"/>
                </a:solidFill>
              </a:rPr>
              <a:t>Certification</a:t>
            </a:r>
            <a:endParaRPr lang="de-DE" sz="1700" dirty="0">
              <a:solidFill>
                <a:prstClr val="white"/>
              </a:solidFill>
            </a:endParaRPr>
          </a:p>
        </p:txBody>
      </p:sp>
      <p:sp>
        <p:nvSpPr>
          <p:cNvPr id="30" name="Freihandform 29"/>
          <p:cNvSpPr/>
          <p:nvPr/>
        </p:nvSpPr>
        <p:spPr>
          <a:xfrm>
            <a:off x="7042151" y="1168003"/>
            <a:ext cx="1577975" cy="3394472"/>
          </a:xfrm>
          <a:custGeom>
            <a:avLst/>
            <a:gdLst>
              <a:gd name="connsiteX0" fmla="*/ 0 w 1578289"/>
              <a:gd name="connsiteY0" fmla="*/ 157829 h 4526320"/>
              <a:gd name="connsiteX1" fmla="*/ 46227 w 1578289"/>
              <a:gd name="connsiteY1" fmla="*/ 46227 h 4526320"/>
              <a:gd name="connsiteX2" fmla="*/ 157829 w 1578289"/>
              <a:gd name="connsiteY2" fmla="*/ 0 h 4526320"/>
              <a:gd name="connsiteX3" fmla="*/ 1420460 w 1578289"/>
              <a:gd name="connsiteY3" fmla="*/ 0 h 4526320"/>
              <a:gd name="connsiteX4" fmla="*/ 1532062 w 1578289"/>
              <a:gd name="connsiteY4" fmla="*/ 46227 h 4526320"/>
              <a:gd name="connsiteX5" fmla="*/ 1578289 w 1578289"/>
              <a:gd name="connsiteY5" fmla="*/ 157829 h 4526320"/>
              <a:gd name="connsiteX6" fmla="*/ 1578289 w 1578289"/>
              <a:gd name="connsiteY6" fmla="*/ 4368491 h 4526320"/>
              <a:gd name="connsiteX7" fmla="*/ 1532062 w 1578289"/>
              <a:gd name="connsiteY7" fmla="*/ 4480093 h 4526320"/>
              <a:gd name="connsiteX8" fmla="*/ 1420460 w 1578289"/>
              <a:gd name="connsiteY8" fmla="*/ 4526320 h 4526320"/>
              <a:gd name="connsiteX9" fmla="*/ 157829 w 1578289"/>
              <a:gd name="connsiteY9" fmla="*/ 4526320 h 4526320"/>
              <a:gd name="connsiteX10" fmla="*/ 46227 w 1578289"/>
              <a:gd name="connsiteY10" fmla="*/ 4480093 h 4526320"/>
              <a:gd name="connsiteX11" fmla="*/ 0 w 1578289"/>
              <a:gd name="connsiteY11" fmla="*/ 4368491 h 4526320"/>
              <a:gd name="connsiteX12" fmla="*/ 0 w 1578289"/>
              <a:gd name="connsiteY12" fmla="*/ 157829 h 452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289" h="4526320">
                <a:moveTo>
                  <a:pt x="0" y="157829"/>
                </a:moveTo>
                <a:cubicBezTo>
                  <a:pt x="0" y="115970"/>
                  <a:pt x="16628" y="75826"/>
                  <a:pt x="46227" y="46227"/>
                </a:cubicBezTo>
                <a:cubicBezTo>
                  <a:pt x="75826" y="16628"/>
                  <a:pt x="115970" y="0"/>
                  <a:pt x="157829" y="0"/>
                </a:cubicBezTo>
                <a:lnTo>
                  <a:pt x="1420460" y="0"/>
                </a:lnTo>
                <a:cubicBezTo>
                  <a:pt x="1462319" y="0"/>
                  <a:pt x="1502463" y="16628"/>
                  <a:pt x="1532062" y="46227"/>
                </a:cubicBezTo>
                <a:cubicBezTo>
                  <a:pt x="1561661" y="75826"/>
                  <a:pt x="1578289" y="115970"/>
                  <a:pt x="1578289" y="157829"/>
                </a:cubicBezTo>
                <a:lnTo>
                  <a:pt x="1578289" y="4368491"/>
                </a:lnTo>
                <a:cubicBezTo>
                  <a:pt x="1578289" y="4410350"/>
                  <a:pt x="1561661" y="4450494"/>
                  <a:pt x="1532062" y="4480093"/>
                </a:cubicBezTo>
                <a:cubicBezTo>
                  <a:pt x="1502463" y="4509692"/>
                  <a:pt x="1462319" y="4526320"/>
                  <a:pt x="1420460" y="4526320"/>
                </a:cubicBezTo>
                <a:lnTo>
                  <a:pt x="157829" y="4526320"/>
                </a:lnTo>
                <a:cubicBezTo>
                  <a:pt x="115970" y="4526320"/>
                  <a:pt x="75826" y="4509692"/>
                  <a:pt x="46227" y="4480093"/>
                </a:cubicBezTo>
                <a:cubicBezTo>
                  <a:pt x="16628" y="4450494"/>
                  <a:pt x="0" y="4410350"/>
                  <a:pt x="0" y="4368491"/>
                </a:cubicBezTo>
                <a:lnTo>
                  <a:pt x="0" y="157829"/>
                </a:lnTo>
                <a:close/>
              </a:path>
            </a:pathLst>
          </a:custGeom>
        </p:spPr>
        <p:style>
          <a:lnRef idx="1">
            <a:schemeClr val="accent1"/>
          </a:lnRef>
          <a:fillRef idx="3">
            <a:schemeClr val="accent1"/>
          </a:fillRef>
          <a:effectRef idx="2">
            <a:schemeClr val="accent1"/>
          </a:effectRef>
          <a:fontRef idx="minor">
            <a:schemeClr val="lt1"/>
          </a:fontRef>
        </p:style>
        <p:txBody>
          <a:bodyPr lIns="120904" tIns="1931432" rIns="120904" bIns="1026168" spcCol="1270" anchor="ctr"/>
          <a:lstStyle/>
          <a:p>
            <a:pPr algn="ctr" defTabSz="755650" fontAlgn="base">
              <a:lnSpc>
                <a:spcPct val="90000"/>
              </a:lnSpc>
              <a:spcBef>
                <a:spcPct val="0"/>
              </a:spcBef>
              <a:spcAft>
                <a:spcPct val="35000"/>
              </a:spcAft>
              <a:defRPr/>
            </a:pPr>
            <a:r>
              <a:rPr lang="de-DE" sz="1700" dirty="0" err="1" smtClean="0">
                <a:solidFill>
                  <a:prstClr val="white"/>
                </a:solidFill>
              </a:rPr>
              <a:t>Sustainability</a:t>
            </a:r>
            <a:endParaRPr lang="de-DE" sz="1700" dirty="0">
              <a:solidFill>
                <a:prstClr val="white"/>
              </a:solidFill>
            </a:endParaRPr>
          </a:p>
        </p:txBody>
      </p:sp>
      <p:sp>
        <p:nvSpPr>
          <p:cNvPr id="31" name="Ellipse 30"/>
          <p:cNvSpPr/>
          <p:nvPr/>
        </p:nvSpPr>
        <p:spPr>
          <a:xfrm>
            <a:off x="7089454" y="1371278"/>
            <a:ext cx="1483592" cy="1130448"/>
          </a:xfrm>
          <a:prstGeom prst="ellipse">
            <a:avLst/>
          </a:prstGeom>
          <a:blipFill>
            <a:blip r:embed="rId7" cstate="print">
              <a:extLst/>
            </a:blip>
            <a:srcRect/>
            <a:stretch>
              <a:fillRect l="-1000" r="-1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2" name="Pfeil nach links und rechts 31"/>
          <p:cNvSpPr/>
          <p:nvPr/>
        </p:nvSpPr>
        <p:spPr>
          <a:xfrm>
            <a:off x="862013" y="3883819"/>
            <a:ext cx="7435850" cy="508397"/>
          </a:xfrm>
          <a:prstGeom prst="leftRight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
        <p:nvSpPr>
          <p:cNvPr id="8212" name="Text Box 4"/>
          <p:cNvSpPr txBox="1">
            <a:spLocks noChangeArrowheads="1"/>
          </p:cNvSpPr>
          <p:nvPr/>
        </p:nvSpPr>
        <p:spPr bwMode="auto">
          <a:xfrm>
            <a:off x="1116014" y="4037410"/>
            <a:ext cx="6911975" cy="216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177800" indent="-17780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defTabSz="914400" eaLnBrk="1" fontAlgn="base" hangingPunct="1">
              <a:spcBef>
                <a:spcPct val="0"/>
              </a:spcBef>
              <a:spcAft>
                <a:spcPct val="0"/>
              </a:spcAft>
              <a:buClr>
                <a:srgbClr val="1F497D"/>
              </a:buClr>
              <a:buFont typeface="Wingdings" pitchFamily="2" charset="2"/>
              <a:buNone/>
            </a:pPr>
            <a:r>
              <a:rPr lang="en-US" sz="1600" b="1" dirty="0">
                <a:solidFill>
                  <a:srgbClr val="3E4042"/>
                </a:solidFill>
              </a:rPr>
              <a:t>5 </a:t>
            </a:r>
            <a:r>
              <a:rPr lang="en-US" sz="1600" b="1" dirty="0" smtClean="0">
                <a:solidFill>
                  <a:srgbClr val="3E4042"/>
                </a:solidFill>
              </a:rPr>
              <a:t>Working Groups cover the core areas from crop to tank</a:t>
            </a:r>
            <a:endParaRPr lang="en-US" sz="1600" baseline="-25000" dirty="0">
              <a:solidFill>
                <a:srgbClr val="3E4042"/>
              </a:solidFill>
            </a:endParaRPr>
          </a:p>
        </p:txBody>
      </p:sp>
      <p:cxnSp>
        <p:nvCxnSpPr>
          <p:cNvPr id="9" name="Gerade Verbindung 8"/>
          <p:cNvCxnSpPr/>
          <p:nvPr/>
        </p:nvCxnSpPr>
        <p:spPr>
          <a:xfrm>
            <a:off x="0" y="681038"/>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sp>
        <p:nvSpPr>
          <p:cNvPr id="34" name="Ellipse 33"/>
          <p:cNvSpPr/>
          <p:nvPr/>
        </p:nvSpPr>
        <p:spPr>
          <a:xfrm>
            <a:off x="5508626" y="1383506"/>
            <a:ext cx="1439863" cy="1134666"/>
          </a:xfrm>
          <a:prstGeom prst="ellipse">
            <a:avLst/>
          </a:prstGeom>
          <a:blipFill rotWithShape="0">
            <a:blip r:embed="rId8" cstate="print"/>
            <a:stretch>
              <a:fillRect/>
            </a:stretch>
          </a:blipFill>
        </p:spPr>
        <p:style>
          <a:lnRef idx="2">
            <a:schemeClr val="lt1">
              <a:hueOff val="0"/>
              <a:satOff val="0"/>
              <a:lumOff val="0"/>
              <a:alphaOff val="0"/>
            </a:schemeClr>
          </a:lnRef>
          <a:fillRef idx="1">
            <a:scrgbClr r="0" g="0" b="0"/>
          </a:fillRef>
          <a:effectRef idx="0">
            <a:schemeClr val="accent2">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2426830081"/>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Grafik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29551" y="75134"/>
            <a:ext cx="1114425" cy="40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Gerade Verbindung 8"/>
          <p:cNvCxnSpPr/>
          <p:nvPr/>
        </p:nvCxnSpPr>
        <p:spPr>
          <a:xfrm>
            <a:off x="0" y="555526"/>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sp>
        <p:nvSpPr>
          <p:cNvPr id="10" name="Rectangle 5"/>
          <p:cNvSpPr txBox="1">
            <a:spLocks noChangeArrowheads="1"/>
          </p:cNvSpPr>
          <p:nvPr/>
        </p:nvSpPr>
        <p:spPr bwMode="auto">
          <a:xfrm>
            <a:off x="539750" y="-18355"/>
            <a:ext cx="6985000" cy="573881"/>
          </a:xfrm>
          <a:prstGeom prst="rect">
            <a:avLst/>
          </a:prstGeom>
          <a:noFill/>
          <a:ln w="9525">
            <a:noFill/>
            <a:miter lim="800000"/>
            <a:headEnd/>
            <a:tailEnd/>
          </a:ln>
        </p:spPr>
        <p:txBody>
          <a:bodyPr anchor="ctr"/>
          <a:lstStyle/>
          <a:p>
            <a:pPr defTabSz="914400" fontAlgn="base">
              <a:spcBef>
                <a:spcPct val="0"/>
              </a:spcBef>
              <a:spcAft>
                <a:spcPct val="0"/>
              </a:spcAft>
              <a:defRPr/>
            </a:pPr>
            <a:r>
              <a:rPr lang="de-DE" sz="2400" b="1" dirty="0" smtClean="0">
                <a:solidFill>
                  <a:srgbClr val="0064AE"/>
                </a:solidFill>
                <a:cs typeface="Arial" pitchFamily="34" charset="0"/>
              </a:rPr>
              <a:t>First </a:t>
            </a:r>
            <a:r>
              <a:rPr lang="de-DE" sz="2400" b="1" dirty="0" err="1" smtClean="0">
                <a:solidFill>
                  <a:srgbClr val="0064AE"/>
                </a:solidFill>
                <a:cs typeface="Arial" pitchFamily="34" charset="0"/>
              </a:rPr>
              <a:t>agreements</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have</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been</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signed</a:t>
            </a:r>
            <a:endParaRPr lang="de-DE" sz="2400" b="1" dirty="0">
              <a:solidFill>
                <a:srgbClr val="0064AE"/>
              </a:solidFill>
              <a:cs typeface="Arial" pitchFamily="34" charset="0"/>
            </a:endParaRPr>
          </a:p>
        </p:txBody>
      </p:sp>
      <p:pic>
        <p:nvPicPr>
          <p:cNvPr id="18437" name="Picture 2" descr="C:\Dokumente und Einstellungen\Lukas Rohleder\Desktop\12 - aireg\12.6 - Veranstaltungen\120911 ILA 2012 BER\FOTOS\120911 Regierungsabkommen\vorAUSWAHL\IMG_331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27763" y="2085975"/>
            <a:ext cx="2544762"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8" name="Picture 3" descr="C:\Dokumente und Einstellungen\Lukas Rohleder\Desktop\12 - aireg\12.6 - Veranstaltungen\120911 ILA 2012 BER\FOTOS\120911 Regierungsabkommen\vorAUSWAHL\IMG_3338.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1162" y="2085751"/>
            <a:ext cx="5726113"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9" name="Rechteck 30"/>
          <p:cNvSpPr>
            <a:spLocks noChangeArrowheads="1"/>
          </p:cNvSpPr>
          <p:nvPr/>
        </p:nvSpPr>
        <p:spPr bwMode="auto">
          <a:xfrm>
            <a:off x="539750" y="555526"/>
            <a:ext cx="8135938" cy="186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325438" lvl="1" indent="-323850" defTabSz="914400" eaLnBrk="0" fontAlgn="base" hangingPunct="0">
              <a:spcBef>
                <a:spcPct val="0"/>
              </a:spcBef>
              <a:spcAft>
                <a:spcPct val="20000"/>
              </a:spcAft>
              <a:buFont typeface="Arial" charset="0"/>
              <a:buChar char="•"/>
            </a:pPr>
            <a:r>
              <a:rPr lang="de-DE" altLang="zh-HK" b="1" dirty="0">
                <a:solidFill>
                  <a:srgbClr val="0064AE"/>
                </a:solidFill>
              </a:rPr>
              <a:t>USA </a:t>
            </a:r>
            <a:r>
              <a:rPr lang="de-DE" altLang="zh-HK" b="1" dirty="0" err="1" smtClean="0">
                <a:solidFill>
                  <a:srgbClr val="0064AE"/>
                </a:solidFill>
              </a:rPr>
              <a:t>and</a:t>
            </a:r>
            <a:r>
              <a:rPr lang="de-DE" altLang="zh-HK" b="1" dirty="0" smtClean="0">
                <a:solidFill>
                  <a:srgbClr val="0064AE"/>
                </a:solidFill>
              </a:rPr>
              <a:t> Germany </a:t>
            </a:r>
            <a:r>
              <a:rPr lang="de-DE" altLang="zh-HK" dirty="0" err="1" smtClean="0">
                <a:solidFill>
                  <a:prstClr val="black"/>
                </a:solidFill>
              </a:rPr>
              <a:t>signed</a:t>
            </a:r>
            <a:r>
              <a:rPr lang="de-DE" altLang="zh-HK" dirty="0" smtClean="0">
                <a:solidFill>
                  <a:prstClr val="black"/>
                </a:solidFill>
              </a:rPr>
              <a:t> a </a:t>
            </a:r>
            <a:r>
              <a:rPr lang="de-DE" altLang="zh-HK" dirty="0" err="1" smtClean="0">
                <a:solidFill>
                  <a:prstClr val="black"/>
                </a:solidFill>
              </a:rPr>
              <a:t>government</a:t>
            </a:r>
            <a:r>
              <a:rPr lang="de-DE" altLang="zh-HK" dirty="0" smtClean="0">
                <a:solidFill>
                  <a:prstClr val="black"/>
                </a:solidFill>
              </a:rPr>
              <a:t> </a:t>
            </a:r>
            <a:r>
              <a:rPr lang="de-DE" altLang="zh-HK" dirty="0" err="1" smtClean="0">
                <a:solidFill>
                  <a:prstClr val="black"/>
                </a:solidFill>
              </a:rPr>
              <a:t>agreement</a:t>
            </a:r>
            <a:r>
              <a:rPr lang="de-DE" altLang="zh-HK" dirty="0" smtClean="0">
                <a:solidFill>
                  <a:prstClr val="black"/>
                </a:solidFill>
              </a:rPr>
              <a:t> </a:t>
            </a:r>
            <a:r>
              <a:rPr lang="de-DE" altLang="zh-HK" dirty="0" err="1" smtClean="0">
                <a:solidFill>
                  <a:prstClr val="black"/>
                </a:solidFill>
              </a:rPr>
              <a:t>to</a:t>
            </a:r>
            <a:r>
              <a:rPr lang="de-DE" altLang="zh-HK" dirty="0" smtClean="0">
                <a:solidFill>
                  <a:prstClr val="black"/>
                </a:solidFill>
              </a:rPr>
              <a:t> </a:t>
            </a:r>
            <a:r>
              <a:rPr lang="de-DE" altLang="zh-HK" dirty="0" err="1" smtClean="0">
                <a:solidFill>
                  <a:prstClr val="black"/>
                </a:solidFill>
              </a:rPr>
              <a:t>support</a:t>
            </a:r>
            <a:r>
              <a:rPr lang="de-DE" altLang="zh-HK" dirty="0" smtClean="0">
                <a:solidFill>
                  <a:prstClr val="black"/>
                </a:solidFill>
              </a:rPr>
              <a:t> </a:t>
            </a:r>
            <a:r>
              <a:rPr lang="de-DE" altLang="zh-HK" dirty="0" err="1" smtClean="0">
                <a:solidFill>
                  <a:prstClr val="black"/>
                </a:solidFill>
              </a:rPr>
              <a:t>and</a:t>
            </a:r>
            <a:r>
              <a:rPr lang="de-DE" altLang="zh-HK" dirty="0" smtClean="0">
                <a:solidFill>
                  <a:prstClr val="black"/>
                </a:solidFill>
              </a:rPr>
              <a:t> </a:t>
            </a:r>
            <a:r>
              <a:rPr lang="de-DE" altLang="zh-HK" dirty="0" err="1" smtClean="0">
                <a:solidFill>
                  <a:prstClr val="black"/>
                </a:solidFill>
              </a:rPr>
              <a:t>use</a:t>
            </a:r>
            <a:r>
              <a:rPr lang="de-DE" altLang="zh-HK" dirty="0" smtClean="0">
                <a:solidFill>
                  <a:prstClr val="black"/>
                </a:solidFill>
              </a:rPr>
              <a:t> alternative </a:t>
            </a:r>
            <a:r>
              <a:rPr lang="de-DE" altLang="zh-HK" dirty="0" err="1" smtClean="0">
                <a:solidFill>
                  <a:prstClr val="black"/>
                </a:solidFill>
              </a:rPr>
              <a:t>aviation</a:t>
            </a:r>
            <a:r>
              <a:rPr lang="de-DE" altLang="zh-HK" dirty="0" smtClean="0">
                <a:solidFill>
                  <a:prstClr val="black"/>
                </a:solidFill>
              </a:rPr>
              <a:t> </a:t>
            </a:r>
            <a:r>
              <a:rPr lang="de-DE" altLang="zh-HK" dirty="0" err="1" smtClean="0">
                <a:solidFill>
                  <a:prstClr val="black"/>
                </a:solidFill>
              </a:rPr>
              <a:t>fuel</a:t>
            </a:r>
            <a:r>
              <a:rPr lang="de-DE" altLang="zh-HK" dirty="0" smtClean="0">
                <a:solidFill>
                  <a:prstClr val="black"/>
                </a:solidFill>
              </a:rPr>
              <a:t> </a:t>
            </a:r>
            <a:r>
              <a:rPr lang="de-DE" altLang="zh-HK" dirty="0" err="1" smtClean="0">
                <a:solidFill>
                  <a:prstClr val="black"/>
                </a:solidFill>
              </a:rPr>
              <a:t>during</a:t>
            </a:r>
            <a:r>
              <a:rPr lang="de-DE" altLang="zh-HK" dirty="0" smtClean="0">
                <a:solidFill>
                  <a:prstClr val="black"/>
                </a:solidFill>
              </a:rPr>
              <a:t> ILA Berlin Air Show 2012 </a:t>
            </a:r>
          </a:p>
          <a:p>
            <a:pPr marL="325438" lvl="1" indent="-323850" defTabSz="914400" eaLnBrk="0" fontAlgn="base" hangingPunct="0">
              <a:spcBef>
                <a:spcPct val="0"/>
              </a:spcBef>
              <a:spcAft>
                <a:spcPct val="20000"/>
              </a:spcAft>
              <a:buFont typeface="Arial" charset="0"/>
              <a:buChar char="•"/>
            </a:pPr>
            <a:r>
              <a:rPr lang="de-DE" b="1" dirty="0" smtClean="0">
                <a:solidFill>
                  <a:srgbClr val="0064AE"/>
                </a:solidFill>
              </a:rPr>
              <a:t>Goals:</a:t>
            </a:r>
            <a:r>
              <a:rPr lang="de-DE" dirty="0" smtClean="0">
                <a:solidFill>
                  <a:prstClr val="black"/>
                </a:solidFill>
              </a:rPr>
              <a:t> </a:t>
            </a:r>
            <a:r>
              <a:rPr lang="de-DE" dirty="0" err="1" smtClean="0">
                <a:solidFill>
                  <a:prstClr val="black"/>
                </a:solidFill>
              </a:rPr>
              <a:t>Strengthening</a:t>
            </a:r>
            <a:r>
              <a:rPr lang="de-DE" dirty="0" smtClean="0">
                <a:solidFill>
                  <a:prstClr val="black"/>
                </a:solidFill>
              </a:rPr>
              <a:t> </a:t>
            </a:r>
            <a:r>
              <a:rPr lang="de-DE" dirty="0" err="1" smtClean="0">
                <a:solidFill>
                  <a:prstClr val="black"/>
                </a:solidFill>
              </a:rPr>
              <a:t>of</a:t>
            </a:r>
            <a:r>
              <a:rPr lang="de-DE" dirty="0" smtClean="0">
                <a:solidFill>
                  <a:prstClr val="black"/>
                </a:solidFill>
              </a:rPr>
              <a:t> </a:t>
            </a:r>
            <a:r>
              <a:rPr lang="de-DE" dirty="0" err="1" smtClean="0">
                <a:solidFill>
                  <a:prstClr val="black"/>
                </a:solidFill>
              </a:rPr>
              <a:t>cooperation</a:t>
            </a:r>
            <a:r>
              <a:rPr lang="de-DE" dirty="0" smtClean="0">
                <a:solidFill>
                  <a:prstClr val="black"/>
                </a:solidFill>
              </a:rPr>
              <a:t> </a:t>
            </a:r>
            <a:r>
              <a:rPr lang="de-DE" dirty="0" err="1" smtClean="0">
                <a:solidFill>
                  <a:prstClr val="black"/>
                </a:solidFill>
              </a:rPr>
              <a:t>for</a:t>
            </a:r>
            <a:r>
              <a:rPr lang="de-DE" dirty="0" smtClean="0">
                <a:solidFill>
                  <a:prstClr val="black"/>
                </a:solidFill>
              </a:rPr>
              <a:t> </a:t>
            </a:r>
            <a:r>
              <a:rPr lang="de-DE" dirty="0" err="1" smtClean="0">
                <a:solidFill>
                  <a:prstClr val="black"/>
                </a:solidFill>
              </a:rPr>
              <a:t>the</a:t>
            </a:r>
            <a:r>
              <a:rPr lang="de-DE" dirty="0" smtClean="0">
                <a:solidFill>
                  <a:prstClr val="black"/>
                </a:solidFill>
              </a:rPr>
              <a:t> </a:t>
            </a:r>
            <a:r>
              <a:rPr lang="de-DE" dirty="0" err="1" smtClean="0">
                <a:solidFill>
                  <a:prstClr val="black"/>
                </a:solidFill>
              </a:rPr>
              <a:t>development</a:t>
            </a:r>
            <a:r>
              <a:rPr lang="de-DE" dirty="0" smtClean="0">
                <a:solidFill>
                  <a:prstClr val="black"/>
                </a:solidFill>
              </a:rPr>
              <a:t> </a:t>
            </a:r>
            <a:r>
              <a:rPr lang="de-DE" dirty="0" err="1" smtClean="0">
                <a:solidFill>
                  <a:prstClr val="black"/>
                </a:solidFill>
              </a:rPr>
              <a:t>of</a:t>
            </a:r>
            <a:r>
              <a:rPr lang="de-DE" dirty="0" smtClean="0">
                <a:solidFill>
                  <a:prstClr val="black"/>
                </a:solidFill>
              </a:rPr>
              <a:t> </a:t>
            </a:r>
            <a:r>
              <a:rPr lang="de-DE" dirty="0" err="1" smtClean="0">
                <a:solidFill>
                  <a:prstClr val="black"/>
                </a:solidFill>
              </a:rPr>
              <a:t>sustainability</a:t>
            </a:r>
            <a:r>
              <a:rPr lang="de-DE" dirty="0" smtClean="0">
                <a:solidFill>
                  <a:prstClr val="black"/>
                </a:solidFill>
              </a:rPr>
              <a:t> </a:t>
            </a:r>
            <a:r>
              <a:rPr lang="de-DE" dirty="0" err="1" smtClean="0">
                <a:solidFill>
                  <a:prstClr val="black"/>
                </a:solidFill>
              </a:rPr>
              <a:t>standards</a:t>
            </a:r>
            <a:r>
              <a:rPr lang="de-DE" dirty="0" smtClean="0">
                <a:solidFill>
                  <a:prstClr val="black"/>
                </a:solidFill>
              </a:rPr>
              <a:t>, </a:t>
            </a:r>
            <a:r>
              <a:rPr lang="de-DE" dirty="0" err="1" smtClean="0">
                <a:solidFill>
                  <a:prstClr val="black"/>
                </a:solidFill>
              </a:rPr>
              <a:t>the</a:t>
            </a:r>
            <a:r>
              <a:rPr lang="de-DE" dirty="0" smtClean="0">
                <a:solidFill>
                  <a:prstClr val="black"/>
                </a:solidFill>
              </a:rPr>
              <a:t> </a:t>
            </a:r>
            <a:r>
              <a:rPr lang="de-DE" dirty="0" err="1" smtClean="0">
                <a:solidFill>
                  <a:prstClr val="black"/>
                </a:solidFill>
              </a:rPr>
              <a:t>qualification</a:t>
            </a:r>
            <a:r>
              <a:rPr lang="de-DE" dirty="0" smtClean="0">
                <a:solidFill>
                  <a:prstClr val="black"/>
                </a:solidFill>
              </a:rPr>
              <a:t> </a:t>
            </a:r>
            <a:r>
              <a:rPr lang="de-DE" dirty="0" err="1" smtClean="0">
                <a:solidFill>
                  <a:prstClr val="black"/>
                </a:solidFill>
              </a:rPr>
              <a:t>of</a:t>
            </a:r>
            <a:r>
              <a:rPr lang="de-DE" dirty="0" smtClean="0">
                <a:solidFill>
                  <a:prstClr val="black"/>
                </a:solidFill>
              </a:rPr>
              <a:t> </a:t>
            </a:r>
            <a:r>
              <a:rPr lang="de-DE" dirty="0" err="1" smtClean="0">
                <a:solidFill>
                  <a:prstClr val="black"/>
                </a:solidFill>
              </a:rPr>
              <a:t>new</a:t>
            </a:r>
            <a:r>
              <a:rPr lang="de-DE" dirty="0" smtClean="0">
                <a:solidFill>
                  <a:prstClr val="black"/>
                </a:solidFill>
              </a:rPr>
              <a:t> </a:t>
            </a:r>
            <a:r>
              <a:rPr lang="de-DE" dirty="0" err="1" smtClean="0">
                <a:solidFill>
                  <a:prstClr val="black"/>
                </a:solidFill>
              </a:rPr>
              <a:t>production</a:t>
            </a:r>
            <a:r>
              <a:rPr lang="de-DE" dirty="0" smtClean="0">
                <a:solidFill>
                  <a:prstClr val="black"/>
                </a:solidFill>
              </a:rPr>
              <a:t> </a:t>
            </a:r>
            <a:r>
              <a:rPr lang="de-DE" dirty="0" err="1" smtClean="0">
                <a:solidFill>
                  <a:prstClr val="black"/>
                </a:solidFill>
              </a:rPr>
              <a:t>pathways</a:t>
            </a:r>
            <a:r>
              <a:rPr lang="de-DE" dirty="0" smtClean="0">
                <a:solidFill>
                  <a:prstClr val="black"/>
                </a:solidFill>
              </a:rPr>
              <a:t>  </a:t>
            </a:r>
            <a:r>
              <a:rPr lang="de-DE" dirty="0" err="1" smtClean="0">
                <a:solidFill>
                  <a:prstClr val="black"/>
                </a:solidFill>
              </a:rPr>
              <a:t>and</a:t>
            </a:r>
            <a:r>
              <a:rPr lang="de-DE" dirty="0" smtClean="0">
                <a:solidFill>
                  <a:prstClr val="black"/>
                </a:solidFill>
              </a:rPr>
              <a:t> </a:t>
            </a:r>
            <a:r>
              <a:rPr lang="de-DE" dirty="0" err="1" smtClean="0">
                <a:solidFill>
                  <a:prstClr val="black"/>
                </a:solidFill>
              </a:rPr>
              <a:t>the</a:t>
            </a:r>
            <a:r>
              <a:rPr lang="de-DE" dirty="0" smtClean="0">
                <a:solidFill>
                  <a:prstClr val="black"/>
                </a:solidFill>
              </a:rPr>
              <a:t> </a:t>
            </a:r>
            <a:r>
              <a:rPr lang="de-DE" dirty="0" err="1" smtClean="0">
                <a:solidFill>
                  <a:prstClr val="black"/>
                </a:solidFill>
              </a:rPr>
              <a:t>expansion</a:t>
            </a:r>
            <a:r>
              <a:rPr lang="de-DE" dirty="0" smtClean="0">
                <a:solidFill>
                  <a:prstClr val="black"/>
                </a:solidFill>
              </a:rPr>
              <a:t> </a:t>
            </a:r>
            <a:r>
              <a:rPr lang="de-DE" dirty="0" err="1" smtClean="0">
                <a:solidFill>
                  <a:prstClr val="black"/>
                </a:solidFill>
              </a:rPr>
              <a:t>of</a:t>
            </a:r>
            <a:r>
              <a:rPr lang="de-DE" dirty="0" smtClean="0">
                <a:solidFill>
                  <a:prstClr val="black"/>
                </a:solidFill>
              </a:rPr>
              <a:t> </a:t>
            </a:r>
            <a:r>
              <a:rPr lang="de-DE" dirty="0" err="1" smtClean="0">
                <a:solidFill>
                  <a:prstClr val="black"/>
                </a:solidFill>
              </a:rPr>
              <a:t>the</a:t>
            </a:r>
            <a:r>
              <a:rPr lang="de-DE" dirty="0" smtClean="0">
                <a:solidFill>
                  <a:prstClr val="black"/>
                </a:solidFill>
              </a:rPr>
              <a:t> </a:t>
            </a:r>
            <a:r>
              <a:rPr lang="de-DE" dirty="0" err="1" smtClean="0">
                <a:solidFill>
                  <a:prstClr val="black"/>
                </a:solidFill>
              </a:rPr>
              <a:t>feedstock</a:t>
            </a:r>
            <a:r>
              <a:rPr lang="de-DE" dirty="0" smtClean="0">
                <a:solidFill>
                  <a:prstClr val="black"/>
                </a:solidFill>
              </a:rPr>
              <a:t> </a:t>
            </a:r>
            <a:r>
              <a:rPr lang="de-DE" dirty="0" err="1" smtClean="0">
                <a:solidFill>
                  <a:prstClr val="black"/>
                </a:solidFill>
              </a:rPr>
              <a:t>base</a:t>
            </a:r>
            <a:r>
              <a:rPr lang="de-DE" dirty="0" smtClean="0">
                <a:solidFill>
                  <a:prstClr val="black"/>
                </a:solidFill>
              </a:rPr>
              <a:t> </a:t>
            </a:r>
            <a:r>
              <a:rPr lang="de-DE" dirty="0" err="1" smtClean="0">
                <a:solidFill>
                  <a:prstClr val="black"/>
                </a:solidFill>
              </a:rPr>
              <a:t>for</a:t>
            </a:r>
            <a:r>
              <a:rPr lang="de-DE" dirty="0" smtClean="0">
                <a:solidFill>
                  <a:prstClr val="black"/>
                </a:solidFill>
              </a:rPr>
              <a:t> alternative </a:t>
            </a:r>
            <a:r>
              <a:rPr lang="de-DE" dirty="0" err="1" smtClean="0">
                <a:solidFill>
                  <a:prstClr val="black"/>
                </a:solidFill>
              </a:rPr>
              <a:t>aviation</a:t>
            </a:r>
            <a:r>
              <a:rPr lang="de-DE" dirty="0" smtClean="0">
                <a:solidFill>
                  <a:prstClr val="black"/>
                </a:solidFill>
              </a:rPr>
              <a:t> </a:t>
            </a:r>
            <a:r>
              <a:rPr lang="de-DE" dirty="0" err="1" smtClean="0">
                <a:solidFill>
                  <a:prstClr val="black"/>
                </a:solidFill>
              </a:rPr>
              <a:t>fuel</a:t>
            </a:r>
            <a:endParaRPr lang="de-DE" dirty="0">
              <a:solidFill>
                <a:prstClr val="black"/>
              </a:solidFill>
            </a:endParaRPr>
          </a:p>
          <a:p>
            <a:pPr defTabSz="914400" fontAlgn="base">
              <a:spcBef>
                <a:spcPct val="0"/>
              </a:spcBef>
              <a:spcAft>
                <a:spcPct val="0"/>
              </a:spcAft>
            </a:pPr>
            <a:r>
              <a:rPr lang="de-DE" dirty="0">
                <a:solidFill>
                  <a:prstClr val="black"/>
                </a:solidFill>
              </a:rPr>
              <a:t> </a:t>
            </a:r>
          </a:p>
        </p:txBody>
      </p:sp>
    </p:spTree>
    <p:extLst>
      <p:ext uri="{BB962C8B-B14F-4D97-AF65-F5344CB8AC3E}">
        <p14:creationId xmlns:p14="http://schemas.microsoft.com/office/powerpoint/2010/main" val="881083092"/>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Gerade Verbindung 6"/>
          <p:cNvCxnSpPr/>
          <p:nvPr/>
        </p:nvCxnSpPr>
        <p:spPr>
          <a:xfrm>
            <a:off x="0" y="681038"/>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pic>
        <p:nvPicPr>
          <p:cNvPr id="3075" name="Grafik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29551" y="141685"/>
            <a:ext cx="1114425" cy="40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p:nvSpPr>
        <p:spPr bwMode="auto">
          <a:xfrm>
            <a:off x="539750" y="107157"/>
            <a:ext cx="6121400" cy="573881"/>
          </a:xfrm>
          <a:prstGeom prst="rect">
            <a:avLst/>
          </a:prstGeom>
          <a:noFill/>
          <a:ln w="9525">
            <a:noFill/>
            <a:miter lim="800000"/>
            <a:headEnd/>
            <a:tailEnd/>
          </a:ln>
        </p:spPr>
        <p:txBody>
          <a:bodyPr anchor="ctr"/>
          <a:lstStyle/>
          <a:p>
            <a:pPr defTabSz="914400" fontAlgn="base">
              <a:spcBef>
                <a:spcPct val="0"/>
              </a:spcBef>
              <a:spcAft>
                <a:spcPct val="0"/>
              </a:spcAft>
              <a:defRPr/>
            </a:pPr>
            <a:endParaRPr lang="de-DE" sz="2400" b="1" dirty="0">
              <a:solidFill>
                <a:srgbClr val="0064AE"/>
              </a:solidFill>
              <a:cs typeface="Arial" pitchFamily="34" charset="0"/>
            </a:endParaRPr>
          </a:p>
        </p:txBody>
      </p:sp>
      <p:sp>
        <p:nvSpPr>
          <p:cNvPr id="4103" name="Rechteck 30"/>
          <p:cNvSpPr>
            <a:spLocks noChangeArrowheads="1"/>
          </p:cNvSpPr>
          <p:nvPr/>
        </p:nvSpPr>
        <p:spPr bwMode="auto">
          <a:xfrm>
            <a:off x="539751" y="771550"/>
            <a:ext cx="4968875" cy="4635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7338" lvl="1" indent="-285750" defTabSz="914400" eaLnBrk="0" fontAlgn="base" hangingPunct="0">
              <a:spcBef>
                <a:spcPct val="0"/>
              </a:spcBef>
              <a:spcAft>
                <a:spcPct val="20000"/>
              </a:spcAft>
              <a:buFont typeface="Arial" panose="020B0604020202020204" pitchFamily="34" charset="0"/>
              <a:buChar char="•"/>
              <a:defRPr/>
            </a:pPr>
            <a:r>
              <a:rPr lang="de-DE" altLang="zh-HK" dirty="0" smtClean="0">
                <a:solidFill>
                  <a:prstClr val="black"/>
                </a:solidFill>
              </a:rPr>
              <a:t>The Mobility </a:t>
            </a:r>
            <a:r>
              <a:rPr lang="de-DE" altLang="zh-HK" dirty="0" err="1" smtClean="0">
                <a:solidFill>
                  <a:prstClr val="black"/>
                </a:solidFill>
              </a:rPr>
              <a:t>and</a:t>
            </a:r>
            <a:r>
              <a:rPr lang="de-DE" altLang="zh-HK" dirty="0" smtClean="0">
                <a:solidFill>
                  <a:prstClr val="black"/>
                </a:solidFill>
              </a:rPr>
              <a:t> </a:t>
            </a:r>
            <a:r>
              <a:rPr lang="de-DE" altLang="zh-HK" dirty="0" err="1" smtClean="0">
                <a:solidFill>
                  <a:prstClr val="black"/>
                </a:solidFill>
              </a:rPr>
              <a:t>Fuels</a:t>
            </a:r>
            <a:r>
              <a:rPr lang="de-DE" altLang="zh-HK" dirty="0" smtClean="0">
                <a:solidFill>
                  <a:prstClr val="black"/>
                </a:solidFill>
              </a:rPr>
              <a:t> </a:t>
            </a:r>
            <a:r>
              <a:rPr lang="de-DE" altLang="zh-HK" dirty="0" err="1" smtClean="0">
                <a:solidFill>
                  <a:prstClr val="black"/>
                </a:solidFill>
              </a:rPr>
              <a:t>Strategy</a:t>
            </a:r>
            <a:r>
              <a:rPr lang="de-DE" altLang="zh-HK" dirty="0" smtClean="0">
                <a:solidFill>
                  <a:prstClr val="black"/>
                </a:solidFill>
              </a:rPr>
              <a:t> </a:t>
            </a:r>
            <a:r>
              <a:rPr lang="de-DE" altLang="zh-HK" dirty="0" err="1" smtClean="0">
                <a:solidFill>
                  <a:prstClr val="black"/>
                </a:solidFill>
              </a:rPr>
              <a:t>of</a:t>
            </a:r>
            <a:r>
              <a:rPr lang="de-DE" altLang="zh-HK" dirty="0" smtClean="0">
                <a:solidFill>
                  <a:prstClr val="black"/>
                </a:solidFill>
              </a:rPr>
              <a:t> </a:t>
            </a:r>
            <a:r>
              <a:rPr lang="de-DE" altLang="zh-HK" dirty="0" err="1" smtClean="0">
                <a:solidFill>
                  <a:prstClr val="black"/>
                </a:solidFill>
              </a:rPr>
              <a:t>the</a:t>
            </a:r>
            <a:r>
              <a:rPr lang="de-DE" altLang="zh-HK" dirty="0" smtClean="0">
                <a:solidFill>
                  <a:prstClr val="black"/>
                </a:solidFill>
              </a:rPr>
              <a:t> Federal German </a:t>
            </a:r>
            <a:r>
              <a:rPr lang="de-DE" altLang="zh-HK" dirty="0" err="1" smtClean="0">
                <a:solidFill>
                  <a:prstClr val="black"/>
                </a:solidFill>
              </a:rPr>
              <a:t>Government</a:t>
            </a:r>
            <a:r>
              <a:rPr lang="de-DE" altLang="zh-HK" dirty="0" smtClean="0">
                <a:solidFill>
                  <a:prstClr val="black"/>
                </a:solidFill>
              </a:rPr>
              <a:t> </a:t>
            </a:r>
            <a:r>
              <a:rPr lang="de-DE" altLang="zh-HK" dirty="0" err="1" smtClean="0">
                <a:solidFill>
                  <a:prstClr val="black"/>
                </a:solidFill>
              </a:rPr>
              <a:t>calls</a:t>
            </a:r>
            <a:r>
              <a:rPr lang="de-DE" altLang="zh-HK" dirty="0" smtClean="0">
                <a:solidFill>
                  <a:prstClr val="black"/>
                </a:solidFill>
              </a:rPr>
              <a:t> </a:t>
            </a:r>
            <a:r>
              <a:rPr lang="de-DE" altLang="zh-HK" dirty="0" err="1" smtClean="0">
                <a:solidFill>
                  <a:prstClr val="black"/>
                </a:solidFill>
              </a:rPr>
              <a:t>for</a:t>
            </a:r>
            <a:r>
              <a:rPr lang="de-DE" altLang="zh-HK" dirty="0" smtClean="0">
                <a:solidFill>
                  <a:prstClr val="black"/>
                </a:solidFill>
              </a:rPr>
              <a:t> a </a:t>
            </a:r>
            <a:r>
              <a:rPr lang="de-DE" altLang="zh-HK" b="1" dirty="0" smtClean="0">
                <a:solidFill>
                  <a:prstClr val="black"/>
                </a:solidFill>
              </a:rPr>
              <a:t>„National Development Plan Alternative Aviation </a:t>
            </a:r>
            <a:r>
              <a:rPr lang="de-DE" altLang="zh-HK" b="1" dirty="0" err="1" smtClean="0">
                <a:solidFill>
                  <a:prstClr val="black"/>
                </a:solidFill>
              </a:rPr>
              <a:t>Fuels</a:t>
            </a:r>
            <a:r>
              <a:rPr lang="de-DE" altLang="zh-HK" dirty="0" smtClean="0">
                <a:solidFill>
                  <a:prstClr val="black"/>
                </a:solidFill>
              </a:rPr>
              <a:t>“</a:t>
            </a:r>
          </a:p>
          <a:p>
            <a:pPr marL="1588" lvl="1" defTabSz="914400" eaLnBrk="0" fontAlgn="base" hangingPunct="0">
              <a:spcBef>
                <a:spcPct val="0"/>
              </a:spcBef>
              <a:spcAft>
                <a:spcPct val="20000"/>
              </a:spcAft>
              <a:defRPr/>
            </a:pPr>
            <a:endParaRPr lang="de-DE" altLang="zh-HK" sz="800" dirty="0" smtClean="0">
              <a:solidFill>
                <a:prstClr val="black"/>
              </a:solidFill>
            </a:endParaRPr>
          </a:p>
          <a:p>
            <a:pPr marL="287338" lvl="1" indent="-285750" defTabSz="914400" eaLnBrk="0" fontAlgn="base" hangingPunct="0">
              <a:spcBef>
                <a:spcPct val="0"/>
              </a:spcBef>
              <a:spcAft>
                <a:spcPct val="20000"/>
              </a:spcAft>
              <a:buFont typeface="Arial" panose="020B0604020202020204" pitchFamily="34" charset="0"/>
              <a:buChar char="•"/>
              <a:defRPr/>
            </a:pPr>
            <a:r>
              <a:rPr lang="de-DE" altLang="zh-HK" dirty="0" smtClean="0">
                <a:solidFill>
                  <a:prstClr val="black"/>
                </a:solidFill>
              </a:rPr>
              <a:t>aireg </a:t>
            </a:r>
            <a:r>
              <a:rPr lang="de-DE" altLang="zh-HK" dirty="0" err="1" smtClean="0">
                <a:solidFill>
                  <a:prstClr val="black"/>
                </a:solidFill>
              </a:rPr>
              <a:t>suggests</a:t>
            </a:r>
            <a:r>
              <a:rPr lang="de-DE" altLang="zh-HK" dirty="0" smtClean="0">
                <a:solidFill>
                  <a:prstClr val="black"/>
                </a:solidFill>
              </a:rPr>
              <a:t> </a:t>
            </a:r>
            <a:r>
              <a:rPr lang="de-DE" altLang="zh-HK" dirty="0" err="1" smtClean="0">
                <a:solidFill>
                  <a:prstClr val="black"/>
                </a:solidFill>
              </a:rPr>
              <a:t>following</a:t>
            </a:r>
            <a:r>
              <a:rPr lang="de-DE" altLang="zh-HK" dirty="0" smtClean="0">
                <a:solidFill>
                  <a:prstClr val="black"/>
                </a:solidFill>
              </a:rPr>
              <a:t> </a:t>
            </a:r>
            <a:r>
              <a:rPr lang="de-DE" altLang="zh-HK" dirty="0" err="1" smtClean="0">
                <a:solidFill>
                  <a:prstClr val="black"/>
                </a:solidFill>
              </a:rPr>
              <a:t>items</a:t>
            </a:r>
            <a:r>
              <a:rPr lang="de-DE" altLang="zh-HK" dirty="0" smtClean="0">
                <a:solidFill>
                  <a:prstClr val="black"/>
                </a:solidFill>
              </a:rPr>
              <a:t> </a:t>
            </a:r>
            <a:r>
              <a:rPr lang="de-DE" altLang="zh-HK" dirty="0" err="1" smtClean="0">
                <a:solidFill>
                  <a:prstClr val="black"/>
                </a:solidFill>
              </a:rPr>
              <a:t>for</a:t>
            </a:r>
            <a:r>
              <a:rPr lang="de-DE" altLang="zh-HK" dirty="0" smtClean="0">
                <a:solidFill>
                  <a:prstClr val="black"/>
                </a:solidFill>
              </a:rPr>
              <a:t> </a:t>
            </a:r>
            <a:r>
              <a:rPr lang="de-DE" altLang="zh-HK" dirty="0" err="1" smtClean="0">
                <a:solidFill>
                  <a:prstClr val="black"/>
                </a:solidFill>
              </a:rPr>
              <a:t>the</a:t>
            </a:r>
            <a:r>
              <a:rPr lang="de-DE" altLang="zh-HK" dirty="0" smtClean="0">
                <a:solidFill>
                  <a:prstClr val="black"/>
                </a:solidFill>
              </a:rPr>
              <a:t> Development Plan </a:t>
            </a:r>
            <a:r>
              <a:rPr lang="de-DE" altLang="zh-HK" dirty="0" err="1" smtClean="0">
                <a:solidFill>
                  <a:prstClr val="black"/>
                </a:solidFill>
              </a:rPr>
              <a:t>to</a:t>
            </a:r>
            <a:r>
              <a:rPr lang="de-DE" altLang="zh-HK" dirty="0" smtClean="0">
                <a:solidFill>
                  <a:prstClr val="black"/>
                </a:solidFill>
              </a:rPr>
              <a:t> follow:</a:t>
            </a:r>
          </a:p>
          <a:p>
            <a:pPr marL="1588" lvl="1" defTabSz="914400" eaLnBrk="0" fontAlgn="base" hangingPunct="0">
              <a:spcBef>
                <a:spcPct val="0"/>
              </a:spcBef>
              <a:spcAft>
                <a:spcPct val="20000"/>
              </a:spcAft>
              <a:defRPr/>
            </a:pPr>
            <a:endParaRPr lang="de-DE" altLang="zh-HK" b="1" u="sng" dirty="0" smtClean="0">
              <a:solidFill>
                <a:srgbClr val="0064AE"/>
              </a:solidFill>
            </a:endParaRPr>
          </a:p>
          <a:p>
            <a:pPr marL="442913" lvl="1" indent="-84138" defTabSz="914400" eaLnBrk="0" fontAlgn="base" hangingPunct="0">
              <a:spcBef>
                <a:spcPct val="0"/>
              </a:spcBef>
              <a:spcAft>
                <a:spcPct val="20000"/>
              </a:spcAft>
              <a:defRPr/>
            </a:pPr>
            <a:r>
              <a:rPr lang="de-DE" altLang="zh-HK" b="1" u="sng" dirty="0" smtClean="0">
                <a:solidFill>
                  <a:srgbClr val="0064AE"/>
                </a:solidFill>
              </a:rPr>
              <a:t>1. Provision </a:t>
            </a:r>
            <a:r>
              <a:rPr lang="de-DE" altLang="zh-HK" b="1" u="sng" dirty="0" err="1" smtClean="0">
                <a:solidFill>
                  <a:srgbClr val="0064AE"/>
                </a:solidFill>
              </a:rPr>
              <a:t>of</a:t>
            </a:r>
            <a:r>
              <a:rPr lang="de-DE" altLang="zh-HK" b="1" u="sng" dirty="0" smtClean="0">
                <a:solidFill>
                  <a:srgbClr val="0064AE"/>
                </a:solidFill>
              </a:rPr>
              <a:t> </a:t>
            </a:r>
            <a:r>
              <a:rPr lang="de-DE" altLang="zh-HK" b="1" u="sng" dirty="0" err="1" smtClean="0">
                <a:solidFill>
                  <a:srgbClr val="0064AE"/>
                </a:solidFill>
              </a:rPr>
              <a:t>Feedstocks</a:t>
            </a:r>
            <a:r>
              <a:rPr lang="de-DE" altLang="zh-HK" b="1" u="sng" dirty="0" smtClean="0">
                <a:solidFill>
                  <a:srgbClr val="0064AE"/>
                </a:solidFill>
              </a:rPr>
              <a:t>: </a:t>
            </a:r>
            <a:endParaRPr lang="de-DE" altLang="zh-HK" b="1" u="sng" dirty="0">
              <a:solidFill>
                <a:srgbClr val="0064AE"/>
              </a:solidFill>
            </a:endParaRPr>
          </a:p>
          <a:p>
            <a:pPr marL="442913" lvl="1" indent="-84138" defTabSz="914400" eaLnBrk="0" fontAlgn="base" hangingPunct="0">
              <a:spcBef>
                <a:spcPct val="0"/>
              </a:spcBef>
              <a:spcAft>
                <a:spcPct val="20000"/>
              </a:spcAft>
              <a:defRPr/>
            </a:pPr>
            <a:r>
              <a:rPr lang="de-DE" altLang="zh-HK" dirty="0" smtClean="0">
                <a:solidFill>
                  <a:prstClr val="black"/>
                </a:solidFill>
              </a:rPr>
              <a:t>Pilot </a:t>
            </a:r>
            <a:r>
              <a:rPr lang="de-DE" altLang="zh-HK" dirty="0" err="1" smtClean="0">
                <a:solidFill>
                  <a:prstClr val="black"/>
                </a:solidFill>
              </a:rPr>
              <a:t>projects</a:t>
            </a:r>
            <a:r>
              <a:rPr lang="de-DE" altLang="zh-HK" dirty="0" smtClean="0">
                <a:solidFill>
                  <a:prstClr val="black"/>
                </a:solidFill>
              </a:rPr>
              <a:t> </a:t>
            </a:r>
            <a:r>
              <a:rPr lang="de-DE" altLang="zh-HK" dirty="0" err="1" smtClean="0">
                <a:solidFill>
                  <a:prstClr val="black"/>
                </a:solidFill>
              </a:rPr>
              <a:t>and</a:t>
            </a:r>
            <a:r>
              <a:rPr lang="de-DE" altLang="zh-HK" dirty="0" smtClean="0">
                <a:solidFill>
                  <a:prstClr val="black"/>
                </a:solidFill>
              </a:rPr>
              <a:t> </a:t>
            </a:r>
            <a:r>
              <a:rPr lang="de-DE" altLang="zh-HK" dirty="0" err="1" smtClean="0">
                <a:solidFill>
                  <a:prstClr val="black"/>
                </a:solidFill>
              </a:rPr>
              <a:t>risk</a:t>
            </a:r>
            <a:r>
              <a:rPr lang="de-DE" altLang="zh-HK" dirty="0" smtClean="0">
                <a:solidFill>
                  <a:prstClr val="black"/>
                </a:solidFill>
              </a:rPr>
              <a:t> </a:t>
            </a:r>
            <a:r>
              <a:rPr lang="de-DE" altLang="zh-HK" dirty="0" err="1" smtClean="0">
                <a:solidFill>
                  <a:prstClr val="black"/>
                </a:solidFill>
              </a:rPr>
              <a:t>minimization</a:t>
            </a:r>
            <a:endParaRPr lang="de-DE" altLang="zh-HK" dirty="0">
              <a:solidFill>
                <a:prstClr val="black"/>
              </a:solidFill>
            </a:endParaRPr>
          </a:p>
          <a:p>
            <a:pPr marL="442913" lvl="1" indent="-84138" defTabSz="914400" eaLnBrk="0" fontAlgn="base" hangingPunct="0">
              <a:spcBef>
                <a:spcPct val="0"/>
              </a:spcBef>
              <a:spcAft>
                <a:spcPct val="20000"/>
              </a:spcAft>
              <a:defRPr/>
            </a:pPr>
            <a:endParaRPr lang="de-DE" altLang="zh-HK" sz="800" dirty="0">
              <a:solidFill>
                <a:prstClr val="black"/>
              </a:solidFill>
            </a:endParaRPr>
          </a:p>
          <a:p>
            <a:pPr marL="442913" lvl="1" indent="-84138" defTabSz="914400" eaLnBrk="0" fontAlgn="base" hangingPunct="0">
              <a:spcBef>
                <a:spcPct val="0"/>
              </a:spcBef>
              <a:spcAft>
                <a:spcPct val="20000"/>
              </a:spcAft>
              <a:defRPr/>
            </a:pPr>
            <a:r>
              <a:rPr lang="de-DE" altLang="zh-HK" b="1" u="sng" dirty="0">
                <a:solidFill>
                  <a:srgbClr val="0064AE"/>
                </a:solidFill>
              </a:rPr>
              <a:t>2. </a:t>
            </a:r>
            <a:r>
              <a:rPr lang="de-DE" altLang="zh-HK" b="1" u="sng" dirty="0" err="1" smtClean="0">
                <a:solidFill>
                  <a:srgbClr val="0064AE"/>
                </a:solidFill>
              </a:rPr>
              <a:t>Biorefineries</a:t>
            </a:r>
            <a:r>
              <a:rPr lang="de-DE" altLang="zh-HK" b="1" u="sng" dirty="0" smtClean="0">
                <a:solidFill>
                  <a:srgbClr val="0064AE"/>
                </a:solidFill>
              </a:rPr>
              <a:t>: </a:t>
            </a:r>
            <a:endParaRPr lang="de-DE" altLang="zh-HK" b="1" u="sng" dirty="0">
              <a:solidFill>
                <a:srgbClr val="0064AE"/>
              </a:solidFill>
            </a:endParaRPr>
          </a:p>
          <a:p>
            <a:pPr marL="442913" lvl="1" indent="-84138" defTabSz="914400" eaLnBrk="0" fontAlgn="base" hangingPunct="0">
              <a:spcBef>
                <a:spcPct val="0"/>
              </a:spcBef>
              <a:spcAft>
                <a:spcPct val="20000"/>
              </a:spcAft>
              <a:defRPr/>
            </a:pPr>
            <a:r>
              <a:rPr lang="de-DE" altLang="zh-HK" dirty="0" smtClean="0">
                <a:solidFill>
                  <a:prstClr val="black"/>
                </a:solidFill>
              </a:rPr>
              <a:t>Location </a:t>
            </a:r>
            <a:r>
              <a:rPr lang="de-DE" altLang="zh-HK" dirty="0" err="1" smtClean="0">
                <a:solidFill>
                  <a:prstClr val="black"/>
                </a:solidFill>
              </a:rPr>
              <a:t>scouting</a:t>
            </a:r>
            <a:r>
              <a:rPr lang="de-DE" altLang="zh-HK" dirty="0" smtClean="0">
                <a:solidFill>
                  <a:prstClr val="black"/>
                </a:solidFill>
              </a:rPr>
              <a:t> </a:t>
            </a:r>
            <a:r>
              <a:rPr lang="de-DE" altLang="zh-HK" dirty="0" err="1" smtClean="0">
                <a:solidFill>
                  <a:prstClr val="black"/>
                </a:solidFill>
              </a:rPr>
              <a:t>and</a:t>
            </a:r>
            <a:r>
              <a:rPr lang="de-DE" altLang="zh-HK" dirty="0" smtClean="0">
                <a:solidFill>
                  <a:prstClr val="black"/>
                </a:solidFill>
              </a:rPr>
              <a:t> </a:t>
            </a:r>
            <a:r>
              <a:rPr lang="de-DE" altLang="zh-HK" dirty="0" err="1" smtClean="0">
                <a:solidFill>
                  <a:prstClr val="black"/>
                </a:solidFill>
              </a:rPr>
              <a:t>investment</a:t>
            </a:r>
            <a:r>
              <a:rPr lang="de-DE" altLang="zh-HK" dirty="0" smtClean="0">
                <a:solidFill>
                  <a:prstClr val="black"/>
                </a:solidFill>
              </a:rPr>
              <a:t> </a:t>
            </a:r>
            <a:r>
              <a:rPr lang="de-DE" altLang="zh-HK" dirty="0" err="1" smtClean="0">
                <a:solidFill>
                  <a:prstClr val="black"/>
                </a:solidFill>
              </a:rPr>
              <a:t>support</a:t>
            </a:r>
            <a:endParaRPr lang="de-DE" altLang="zh-HK" dirty="0" smtClean="0">
              <a:solidFill>
                <a:prstClr val="black"/>
              </a:solidFill>
            </a:endParaRPr>
          </a:p>
          <a:p>
            <a:pPr marL="442913" lvl="1" indent="-84138" defTabSz="914400" eaLnBrk="0" fontAlgn="base" hangingPunct="0">
              <a:spcBef>
                <a:spcPct val="0"/>
              </a:spcBef>
              <a:spcAft>
                <a:spcPct val="20000"/>
              </a:spcAft>
              <a:defRPr/>
            </a:pPr>
            <a:endParaRPr lang="de-DE" altLang="zh-HK" sz="800" dirty="0">
              <a:solidFill>
                <a:prstClr val="black"/>
              </a:solidFill>
            </a:endParaRPr>
          </a:p>
          <a:p>
            <a:pPr marL="442913" lvl="1" indent="-84138" defTabSz="914400" eaLnBrk="0" fontAlgn="base" hangingPunct="0">
              <a:spcBef>
                <a:spcPct val="0"/>
              </a:spcBef>
              <a:spcAft>
                <a:spcPct val="20000"/>
              </a:spcAft>
              <a:defRPr/>
            </a:pPr>
            <a:r>
              <a:rPr lang="de-DE" altLang="zh-HK" b="1" u="sng" dirty="0">
                <a:solidFill>
                  <a:srgbClr val="0064AE"/>
                </a:solidFill>
              </a:rPr>
              <a:t>3. </a:t>
            </a:r>
            <a:r>
              <a:rPr lang="de-DE" altLang="zh-HK" b="1" u="sng" dirty="0" smtClean="0">
                <a:solidFill>
                  <a:srgbClr val="0064AE"/>
                </a:solidFill>
              </a:rPr>
              <a:t>Market </a:t>
            </a:r>
            <a:r>
              <a:rPr lang="de-DE" altLang="zh-HK" b="1" u="sng" dirty="0" err="1" smtClean="0">
                <a:solidFill>
                  <a:srgbClr val="0064AE"/>
                </a:solidFill>
              </a:rPr>
              <a:t>Readiness</a:t>
            </a:r>
            <a:r>
              <a:rPr lang="de-DE" altLang="zh-HK" b="1" u="sng" dirty="0" smtClean="0">
                <a:solidFill>
                  <a:srgbClr val="0064AE"/>
                </a:solidFill>
              </a:rPr>
              <a:t>:</a:t>
            </a:r>
            <a:endParaRPr lang="de-DE" altLang="zh-HK" b="1" u="sng" dirty="0">
              <a:solidFill>
                <a:srgbClr val="0064AE"/>
              </a:solidFill>
            </a:endParaRPr>
          </a:p>
          <a:p>
            <a:pPr marL="442913" lvl="1" indent="-84138" defTabSz="914400" eaLnBrk="0" fontAlgn="base" hangingPunct="0">
              <a:spcBef>
                <a:spcPct val="0"/>
              </a:spcBef>
              <a:spcAft>
                <a:spcPct val="20000"/>
              </a:spcAft>
              <a:defRPr/>
            </a:pPr>
            <a:r>
              <a:rPr lang="de-DE" altLang="zh-HK" dirty="0" err="1" smtClean="0">
                <a:solidFill>
                  <a:prstClr val="black"/>
                </a:solidFill>
              </a:rPr>
              <a:t>Reduction</a:t>
            </a:r>
            <a:r>
              <a:rPr lang="de-DE" altLang="zh-HK" dirty="0" smtClean="0">
                <a:solidFill>
                  <a:prstClr val="black"/>
                </a:solidFill>
              </a:rPr>
              <a:t> </a:t>
            </a:r>
            <a:r>
              <a:rPr lang="de-DE" altLang="zh-HK" dirty="0" err="1" smtClean="0">
                <a:solidFill>
                  <a:prstClr val="black"/>
                </a:solidFill>
              </a:rPr>
              <a:t>of</a:t>
            </a:r>
            <a:r>
              <a:rPr lang="de-DE" altLang="zh-HK" dirty="0" smtClean="0">
                <a:solidFill>
                  <a:prstClr val="black"/>
                </a:solidFill>
              </a:rPr>
              <a:t> </a:t>
            </a:r>
            <a:r>
              <a:rPr lang="de-DE" altLang="zh-HK" dirty="0" err="1" smtClean="0">
                <a:solidFill>
                  <a:prstClr val="black"/>
                </a:solidFill>
              </a:rPr>
              <a:t>margins</a:t>
            </a:r>
            <a:r>
              <a:rPr lang="de-DE" altLang="zh-HK" dirty="0" smtClean="0">
                <a:solidFill>
                  <a:prstClr val="black"/>
                </a:solidFill>
              </a:rPr>
              <a:t> </a:t>
            </a:r>
            <a:r>
              <a:rPr lang="de-DE" altLang="zh-HK" dirty="0" err="1" smtClean="0">
                <a:solidFill>
                  <a:prstClr val="black"/>
                </a:solidFill>
              </a:rPr>
              <a:t>and</a:t>
            </a:r>
            <a:r>
              <a:rPr lang="de-DE" altLang="zh-HK" dirty="0" smtClean="0">
                <a:solidFill>
                  <a:prstClr val="black"/>
                </a:solidFill>
              </a:rPr>
              <a:t> </a:t>
            </a:r>
            <a:r>
              <a:rPr lang="de-DE" altLang="zh-HK" dirty="0" err="1" smtClean="0">
                <a:solidFill>
                  <a:prstClr val="black"/>
                </a:solidFill>
              </a:rPr>
              <a:t>upscaling</a:t>
            </a:r>
            <a:endParaRPr lang="de-DE" altLang="zh-HK" dirty="0">
              <a:solidFill>
                <a:prstClr val="black"/>
              </a:solidFill>
            </a:endParaRPr>
          </a:p>
          <a:p>
            <a:pPr marL="287338" lvl="6" indent="-285750" defTabSz="914400" eaLnBrk="0" hangingPunct="0">
              <a:spcAft>
                <a:spcPct val="20000"/>
              </a:spcAft>
              <a:buFont typeface="Arial" pitchFamily="34" charset="0"/>
              <a:buChar char="•"/>
              <a:defRPr/>
            </a:pPr>
            <a:endParaRPr lang="de-DE" altLang="zh-HK" dirty="0">
              <a:solidFill>
                <a:prstClr val="black"/>
              </a:solidFill>
            </a:endParaRPr>
          </a:p>
        </p:txBody>
      </p:sp>
      <p:pic>
        <p:nvPicPr>
          <p:cNvPr id="3079"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08625" y="3637360"/>
            <a:ext cx="2374900" cy="1338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0"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08625" y="2288381"/>
            <a:ext cx="2374900" cy="12251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1"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08625" y="844154"/>
            <a:ext cx="2374900" cy="1335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5"/>
          <p:cNvSpPr txBox="1">
            <a:spLocks noChangeArrowheads="1"/>
          </p:cNvSpPr>
          <p:nvPr/>
        </p:nvSpPr>
        <p:spPr bwMode="auto">
          <a:xfrm>
            <a:off x="539750" y="107157"/>
            <a:ext cx="7128594" cy="573881"/>
          </a:xfrm>
          <a:prstGeom prst="rect">
            <a:avLst/>
          </a:prstGeom>
          <a:noFill/>
          <a:ln w="9525">
            <a:noFill/>
            <a:miter lim="800000"/>
            <a:headEnd/>
            <a:tailEnd/>
          </a:ln>
        </p:spPr>
        <p:txBody>
          <a:bodyPr anchor="ctr"/>
          <a:lstStyle/>
          <a:p>
            <a:pPr defTabSz="914400" fontAlgn="base">
              <a:spcBef>
                <a:spcPct val="0"/>
              </a:spcBef>
              <a:spcAft>
                <a:spcPct val="0"/>
              </a:spcAft>
              <a:defRPr/>
            </a:pPr>
            <a:r>
              <a:rPr lang="de-DE" sz="2400" b="1" dirty="0" smtClean="0">
                <a:solidFill>
                  <a:srgbClr val="0064AE"/>
                </a:solidFill>
                <a:cs typeface="Arial" pitchFamily="34" charset="0"/>
              </a:rPr>
              <a:t>Federal Mobility </a:t>
            </a:r>
            <a:r>
              <a:rPr lang="de-DE" sz="2400" b="1" dirty="0" err="1" smtClean="0">
                <a:solidFill>
                  <a:srgbClr val="0064AE"/>
                </a:solidFill>
                <a:cs typeface="Arial" pitchFamily="34" charset="0"/>
              </a:rPr>
              <a:t>and</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Fuels</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Strategy</a:t>
            </a:r>
            <a:endParaRPr lang="de-DE" sz="2400" b="1" dirty="0">
              <a:solidFill>
                <a:srgbClr val="0064AE"/>
              </a:solidFill>
              <a:cs typeface="Arial" pitchFamily="34" charset="0"/>
            </a:endParaRPr>
          </a:p>
        </p:txBody>
      </p:sp>
    </p:spTree>
    <p:extLst>
      <p:ext uri="{BB962C8B-B14F-4D97-AF65-F5344CB8AC3E}">
        <p14:creationId xmlns:p14="http://schemas.microsoft.com/office/powerpoint/2010/main" val="4229230482"/>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Grafik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29551" y="75134"/>
            <a:ext cx="1114425" cy="40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p:nvSpPr>
        <p:spPr bwMode="auto">
          <a:xfrm>
            <a:off x="539750" y="-18355"/>
            <a:ext cx="6985000" cy="573881"/>
          </a:xfrm>
          <a:prstGeom prst="rect">
            <a:avLst/>
          </a:prstGeom>
          <a:noFill/>
          <a:ln w="9525">
            <a:noFill/>
            <a:miter lim="800000"/>
            <a:headEnd/>
            <a:tailEnd/>
          </a:ln>
        </p:spPr>
        <p:txBody>
          <a:bodyPr anchor="ctr"/>
          <a:lstStyle/>
          <a:p>
            <a:pPr marL="266700" indent="-266700" defTabSz="914400" fontAlgn="base">
              <a:spcBef>
                <a:spcPct val="0"/>
              </a:spcBef>
              <a:spcAft>
                <a:spcPct val="0"/>
              </a:spcAft>
              <a:defRPr/>
            </a:pPr>
            <a:r>
              <a:rPr lang="de-DE" sz="2400" b="1" dirty="0" smtClean="0">
                <a:solidFill>
                  <a:srgbClr val="0064AE"/>
                </a:solidFill>
                <a:cs typeface="Arial" pitchFamily="34" charset="0"/>
              </a:rPr>
              <a:t>Provision </a:t>
            </a:r>
            <a:r>
              <a:rPr lang="de-DE" sz="2400" b="1" dirty="0" err="1" smtClean="0">
                <a:solidFill>
                  <a:srgbClr val="0064AE"/>
                </a:solidFill>
                <a:cs typeface="Arial" pitchFamily="34" charset="0"/>
              </a:rPr>
              <a:t>of</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Feedstocks</a:t>
            </a:r>
            <a:r>
              <a:rPr lang="de-DE" sz="2400" b="1" dirty="0" smtClean="0">
                <a:solidFill>
                  <a:srgbClr val="0064AE"/>
                </a:solidFill>
                <a:cs typeface="Arial" pitchFamily="34" charset="0"/>
              </a:rPr>
              <a:t> – </a:t>
            </a:r>
            <a:r>
              <a:rPr lang="de-DE" sz="2400" b="1" dirty="0" err="1" smtClean="0">
                <a:solidFill>
                  <a:srgbClr val="0064AE"/>
                </a:solidFill>
                <a:cs typeface="Arial" pitchFamily="34" charset="0"/>
              </a:rPr>
              <a:t>goal</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risk</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minimization</a:t>
            </a:r>
            <a:endParaRPr lang="de-DE" sz="2400" b="1" dirty="0">
              <a:solidFill>
                <a:srgbClr val="0064AE"/>
              </a:solidFill>
              <a:cs typeface="Arial" pitchFamily="34" charset="0"/>
            </a:endParaRPr>
          </a:p>
        </p:txBody>
      </p:sp>
      <p:cxnSp>
        <p:nvCxnSpPr>
          <p:cNvPr id="30" name="Gerade Verbindung 29"/>
          <p:cNvCxnSpPr/>
          <p:nvPr/>
        </p:nvCxnSpPr>
        <p:spPr>
          <a:xfrm>
            <a:off x="0" y="555526"/>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sp>
        <p:nvSpPr>
          <p:cNvPr id="13" name="Rechteck 30"/>
          <p:cNvSpPr>
            <a:spLocks noChangeArrowheads="1"/>
          </p:cNvSpPr>
          <p:nvPr/>
        </p:nvSpPr>
        <p:spPr bwMode="auto">
          <a:xfrm>
            <a:off x="539750" y="557842"/>
            <a:ext cx="7776666" cy="467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588" lvl="6" defTabSz="914400" eaLnBrk="0" hangingPunct="0">
              <a:spcAft>
                <a:spcPct val="20000"/>
              </a:spcAft>
              <a:defRPr/>
            </a:pPr>
            <a:r>
              <a:rPr lang="de-DE" altLang="zh-HK" sz="1400" b="1" u="sng" dirty="0" smtClean="0">
                <a:solidFill>
                  <a:srgbClr val="0064AE"/>
                </a:solidFill>
              </a:rPr>
              <a:t>Status quo:</a:t>
            </a:r>
            <a:endParaRPr lang="de-DE" altLang="zh-HK" sz="1400" b="1" u="sng" dirty="0">
              <a:solidFill>
                <a:srgbClr val="0064AE"/>
              </a:solidFill>
            </a:endParaRPr>
          </a:p>
          <a:p>
            <a:pPr marL="287338" lvl="6" indent="-285750" defTabSz="914400" eaLnBrk="0" hangingPunct="0">
              <a:spcAft>
                <a:spcPct val="20000"/>
              </a:spcAft>
              <a:buFont typeface="Arial" pitchFamily="34" charset="0"/>
              <a:buChar char="•"/>
              <a:defRPr/>
            </a:pPr>
            <a:r>
              <a:rPr lang="de-DE" altLang="zh-HK" sz="1400" dirty="0" err="1" smtClean="0">
                <a:solidFill>
                  <a:prstClr val="black"/>
                </a:solidFill>
              </a:rPr>
              <a:t>Financing</a:t>
            </a:r>
            <a:r>
              <a:rPr lang="de-DE" altLang="zh-HK" sz="1400" dirty="0" smtClean="0">
                <a:solidFill>
                  <a:prstClr val="black"/>
                </a:solidFill>
              </a:rPr>
              <a:t> </a:t>
            </a:r>
            <a:r>
              <a:rPr lang="de-DE" altLang="zh-HK" sz="1400" dirty="0" err="1" smtClean="0">
                <a:solidFill>
                  <a:prstClr val="black"/>
                </a:solidFill>
              </a:rPr>
              <a:t>of</a:t>
            </a:r>
            <a:r>
              <a:rPr lang="de-DE" altLang="zh-HK" sz="1400" dirty="0" smtClean="0">
                <a:solidFill>
                  <a:prstClr val="black"/>
                </a:solidFill>
              </a:rPr>
              <a:t> </a:t>
            </a:r>
            <a:r>
              <a:rPr lang="de-DE" altLang="zh-HK" sz="1400" dirty="0" err="1" smtClean="0">
                <a:solidFill>
                  <a:prstClr val="black"/>
                </a:solidFill>
              </a:rPr>
              <a:t>biomass</a:t>
            </a:r>
            <a:r>
              <a:rPr lang="de-DE" altLang="zh-HK" sz="1400" dirty="0" smtClean="0">
                <a:solidFill>
                  <a:prstClr val="black"/>
                </a:solidFill>
              </a:rPr>
              <a:t> </a:t>
            </a:r>
            <a:r>
              <a:rPr lang="de-DE" altLang="zh-HK" sz="1400" dirty="0" err="1" smtClean="0">
                <a:solidFill>
                  <a:prstClr val="black"/>
                </a:solidFill>
              </a:rPr>
              <a:t>projects</a:t>
            </a:r>
            <a:r>
              <a:rPr lang="de-DE" altLang="zh-HK" sz="1400" dirty="0" smtClean="0">
                <a:solidFill>
                  <a:prstClr val="black"/>
                </a:solidFill>
              </a:rPr>
              <a:t> </a:t>
            </a:r>
            <a:r>
              <a:rPr lang="de-DE" altLang="zh-HK" sz="1400" dirty="0" err="1" smtClean="0">
                <a:solidFill>
                  <a:prstClr val="black"/>
                </a:solidFill>
              </a:rPr>
              <a:t>is</a:t>
            </a:r>
            <a:r>
              <a:rPr lang="de-DE" altLang="zh-HK" sz="1400" dirty="0" smtClean="0">
                <a:solidFill>
                  <a:prstClr val="black"/>
                </a:solidFill>
              </a:rPr>
              <a:t> </a:t>
            </a:r>
            <a:r>
              <a:rPr lang="de-DE" altLang="zh-HK" sz="1400" dirty="0" err="1" smtClean="0">
                <a:solidFill>
                  <a:prstClr val="black"/>
                </a:solidFill>
              </a:rPr>
              <a:t>too</a:t>
            </a:r>
            <a:r>
              <a:rPr lang="de-DE" altLang="zh-HK" sz="1400" dirty="0" smtClean="0">
                <a:solidFill>
                  <a:prstClr val="black"/>
                </a:solidFill>
              </a:rPr>
              <a:t> </a:t>
            </a:r>
            <a:r>
              <a:rPr lang="de-DE" altLang="zh-HK" sz="1400" dirty="0" err="1" smtClean="0">
                <a:solidFill>
                  <a:prstClr val="black"/>
                </a:solidFill>
              </a:rPr>
              <a:t>often</a:t>
            </a:r>
            <a:r>
              <a:rPr lang="de-DE" altLang="zh-HK" sz="1400" dirty="0" smtClean="0">
                <a:solidFill>
                  <a:prstClr val="black"/>
                </a:solidFill>
              </a:rPr>
              <a:t> </a:t>
            </a:r>
            <a:r>
              <a:rPr lang="de-DE" altLang="zh-HK" sz="1400" dirty="0" err="1" smtClean="0">
                <a:solidFill>
                  <a:prstClr val="black"/>
                </a:solidFill>
              </a:rPr>
              <a:t>hampered</a:t>
            </a:r>
            <a:r>
              <a:rPr lang="de-DE" altLang="zh-HK" sz="1400" dirty="0" smtClean="0">
                <a:solidFill>
                  <a:prstClr val="black"/>
                </a:solidFill>
              </a:rPr>
              <a:t> </a:t>
            </a:r>
            <a:r>
              <a:rPr lang="de-DE" altLang="zh-HK" sz="1400" dirty="0" err="1" smtClean="0">
                <a:solidFill>
                  <a:prstClr val="black"/>
                </a:solidFill>
              </a:rPr>
              <a:t>by</a:t>
            </a:r>
            <a:r>
              <a:rPr lang="de-DE" altLang="zh-HK" sz="1400" dirty="0" smtClean="0">
                <a:solidFill>
                  <a:prstClr val="black"/>
                </a:solidFill>
              </a:rPr>
              <a:t> </a:t>
            </a:r>
            <a:r>
              <a:rPr lang="de-DE" altLang="zh-HK" sz="1400" dirty="0" err="1" smtClean="0">
                <a:solidFill>
                  <a:prstClr val="black"/>
                </a:solidFill>
              </a:rPr>
              <a:t>investment</a:t>
            </a:r>
            <a:r>
              <a:rPr lang="de-DE" altLang="zh-HK" sz="1400" dirty="0" smtClean="0">
                <a:solidFill>
                  <a:prstClr val="black"/>
                </a:solidFill>
              </a:rPr>
              <a:t> </a:t>
            </a:r>
            <a:r>
              <a:rPr lang="de-DE" altLang="zh-HK" sz="1400" dirty="0" err="1" smtClean="0">
                <a:solidFill>
                  <a:prstClr val="black"/>
                </a:solidFill>
              </a:rPr>
              <a:t>risks</a:t>
            </a:r>
            <a:endParaRPr lang="de-DE" altLang="zh-HK" sz="1400" dirty="0">
              <a:solidFill>
                <a:prstClr val="black"/>
              </a:solidFill>
            </a:endParaRPr>
          </a:p>
          <a:p>
            <a:pPr marL="287338" lvl="6" indent="-285750" defTabSz="914400" eaLnBrk="0" hangingPunct="0">
              <a:spcAft>
                <a:spcPct val="20000"/>
              </a:spcAft>
              <a:buFont typeface="Arial" pitchFamily="34" charset="0"/>
              <a:buChar char="•"/>
              <a:defRPr/>
            </a:pPr>
            <a:r>
              <a:rPr lang="de-DE" altLang="zh-HK" sz="1400" dirty="0" smtClean="0">
                <a:solidFill>
                  <a:prstClr val="black"/>
                </a:solidFill>
              </a:rPr>
              <a:t>Security </a:t>
            </a:r>
            <a:r>
              <a:rPr lang="de-DE" altLang="zh-HK" sz="1400" dirty="0" err="1" smtClean="0">
                <a:solidFill>
                  <a:prstClr val="black"/>
                </a:solidFill>
              </a:rPr>
              <a:t>of</a:t>
            </a:r>
            <a:r>
              <a:rPr lang="de-DE" altLang="zh-HK" sz="1400" dirty="0" smtClean="0">
                <a:solidFill>
                  <a:prstClr val="black"/>
                </a:solidFill>
              </a:rPr>
              <a:t> </a:t>
            </a:r>
            <a:r>
              <a:rPr lang="de-DE" altLang="zh-HK" sz="1400" dirty="0" err="1" smtClean="0">
                <a:solidFill>
                  <a:prstClr val="black"/>
                </a:solidFill>
              </a:rPr>
              <a:t>supply</a:t>
            </a:r>
            <a:r>
              <a:rPr lang="de-DE" altLang="zh-HK" sz="1400" dirty="0" smtClean="0">
                <a:solidFill>
                  <a:prstClr val="black"/>
                </a:solidFill>
              </a:rPr>
              <a:t> </a:t>
            </a:r>
            <a:r>
              <a:rPr lang="de-DE" altLang="zh-HK" sz="1400" dirty="0" err="1" smtClean="0">
                <a:solidFill>
                  <a:prstClr val="black"/>
                </a:solidFill>
              </a:rPr>
              <a:t>as</a:t>
            </a:r>
            <a:r>
              <a:rPr lang="de-DE" altLang="zh-HK" sz="1400" dirty="0" smtClean="0">
                <a:solidFill>
                  <a:prstClr val="black"/>
                </a:solidFill>
              </a:rPr>
              <a:t> a </a:t>
            </a:r>
            <a:r>
              <a:rPr lang="de-DE" altLang="zh-HK" sz="1400" dirty="0" err="1" smtClean="0">
                <a:solidFill>
                  <a:prstClr val="black"/>
                </a:solidFill>
              </a:rPr>
              <a:t>policy</a:t>
            </a:r>
            <a:r>
              <a:rPr lang="de-DE" altLang="zh-HK" sz="1400" dirty="0" smtClean="0">
                <a:solidFill>
                  <a:prstClr val="black"/>
                </a:solidFill>
              </a:rPr>
              <a:t> </a:t>
            </a:r>
            <a:r>
              <a:rPr lang="de-DE" altLang="zh-HK" sz="1400" dirty="0" err="1" smtClean="0">
                <a:solidFill>
                  <a:prstClr val="black"/>
                </a:solidFill>
              </a:rPr>
              <a:t>goals</a:t>
            </a:r>
            <a:r>
              <a:rPr lang="de-DE" altLang="zh-HK" sz="1400" dirty="0" smtClean="0">
                <a:solidFill>
                  <a:prstClr val="black"/>
                </a:solidFill>
              </a:rPr>
              <a:t> </a:t>
            </a:r>
            <a:r>
              <a:rPr lang="de-DE" altLang="zh-HK" sz="1400" dirty="0" err="1" smtClean="0">
                <a:solidFill>
                  <a:prstClr val="black"/>
                </a:solidFill>
              </a:rPr>
              <a:t>is</a:t>
            </a:r>
            <a:r>
              <a:rPr lang="de-DE" altLang="zh-HK" sz="1400" dirty="0" smtClean="0">
                <a:solidFill>
                  <a:prstClr val="black"/>
                </a:solidFill>
              </a:rPr>
              <a:t> </a:t>
            </a:r>
            <a:r>
              <a:rPr lang="de-DE" altLang="zh-HK" sz="1400" dirty="0" err="1" smtClean="0">
                <a:solidFill>
                  <a:prstClr val="black"/>
                </a:solidFill>
              </a:rPr>
              <a:t>underrated</a:t>
            </a:r>
            <a:endParaRPr lang="de-DE" altLang="zh-HK" sz="1400" dirty="0" smtClean="0">
              <a:solidFill>
                <a:prstClr val="black"/>
              </a:solidFill>
            </a:endParaRPr>
          </a:p>
          <a:p>
            <a:pPr marL="1588" lvl="6" defTabSz="914400" eaLnBrk="0" hangingPunct="0">
              <a:spcAft>
                <a:spcPct val="20000"/>
              </a:spcAft>
              <a:defRPr/>
            </a:pPr>
            <a:endParaRPr lang="de-DE" altLang="zh-HK" sz="1400" dirty="0">
              <a:solidFill>
                <a:prstClr val="black"/>
              </a:solidFill>
            </a:endParaRPr>
          </a:p>
          <a:p>
            <a:pPr marL="1588" lvl="6" defTabSz="914400" eaLnBrk="0" hangingPunct="0">
              <a:spcAft>
                <a:spcPct val="20000"/>
              </a:spcAft>
              <a:defRPr/>
            </a:pPr>
            <a:r>
              <a:rPr lang="de-DE" altLang="zh-HK" sz="1400" b="1" u="sng" dirty="0" err="1" smtClean="0">
                <a:solidFill>
                  <a:srgbClr val="0064AE"/>
                </a:solidFill>
              </a:rPr>
              <a:t>Suggested</a:t>
            </a:r>
            <a:r>
              <a:rPr lang="de-DE" altLang="zh-HK" sz="1400" b="1" u="sng" dirty="0" smtClean="0">
                <a:solidFill>
                  <a:srgbClr val="0064AE"/>
                </a:solidFill>
              </a:rPr>
              <a:t> </a:t>
            </a:r>
            <a:r>
              <a:rPr lang="de-DE" altLang="zh-HK" sz="1400" b="1" u="sng" dirty="0" err="1" smtClean="0">
                <a:solidFill>
                  <a:srgbClr val="0064AE"/>
                </a:solidFill>
              </a:rPr>
              <a:t>abatement</a:t>
            </a:r>
            <a:r>
              <a:rPr lang="de-DE" altLang="zh-HK" sz="1400" b="1" u="sng" dirty="0" smtClean="0">
                <a:solidFill>
                  <a:srgbClr val="0064AE"/>
                </a:solidFill>
              </a:rPr>
              <a:t> / </a:t>
            </a:r>
            <a:r>
              <a:rPr lang="de-DE" altLang="zh-HK" sz="1400" b="1" u="sng" dirty="0" err="1" smtClean="0">
                <a:solidFill>
                  <a:srgbClr val="0064AE"/>
                </a:solidFill>
              </a:rPr>
              <a:t>mitigation</a:t>
            </a:r>
            <a:r>
              <a:rPr lang="de-DE" altLang="zh-HK" sz="1400" b="1" u="sng" dirty="0" smtClean="0">
                <a:solidFill>
                  <a:srgbClr val="0064AE"/>
                </a:solidFill>
              </a:rPr>
              <a:t>  </a:t>
            </a:r>
            <a:r>
              <a:rPr lang="de-DE" altLang="zh-HK" sz="1400" b="1" u="sng" dirty="0" err="1" smtClean="0">
                <a:solidFill>
                  <a:srgbClr val="0064AE"/>
                </a:solidFill>
              </a:rPr>
              <a:t>measure</a:t>
            </a:r>
            <a:r>
              <a:rPr lang="de-DE" altLang="zh-HK" sz="1400" b="1" u="sng" dirty="0" smtClean="0">
                <a:solidFill>
                  <a:srgbClr val="0064AE"/>
                </a:solidFill>
              </a:rPr>
              <a:t>:</a:t>
            </a:r>
            <a:endParaRPr lang="de-DE" altLang="zh-HK" sz="1400" b="1" u="sng" dirty="0">
              <a:solidFill>
                <a:srgbClr val="0064AE"/>
              </a:solidFill>
            </a:endParaRPr>
          </a:p>
          <a:p>
            <a:pPr marL="287338" lvl="6" indent="-285750" defTabSz="914400" eaLnBrk="0" hangingPunct="0">
              <a:spcAft>
                <a:spcPct val="20000"/>
              </a:spcAft>
              <a:buFont typeface="Arial" pitchFamily="34" charset="0"/>
              <a:buChar char="•"/>
              <a:defRPr/>
            </a:pPr>
            <a:r>
              <a:rPr lang="de-DE" altLang="zh-HK" sz="1400" dirty="0" err="1" smtClean="0">
                <a:solidFill>
                  <a:prstClr val="black"/>
                </a:solidFill>
              </a:rPr>
              <a:t>Lowering</a:t>
            </a:r>
            <a:r>
              <a:rPr lang="de-DE" altLang="zh-HK" sz="1400" dirty="0" smtClean="0">
                <a:solidFill>
                  <a:prstClr val="black"/>
                </a:solidFill>
              </a:rPr>
              <a:t> </a:t>
            </a:r>
            <a:r>
              <a:rPr lang="de-DE" altLang="zh-HK" sz="1400" dirty="0" err="1" smtClean="0">
                <a:solidFill>
                  <a:prstClr val="black"/>
                </a:solidFill>
              </a:rPr>
              <a:t>of</a:t>
            </a:r>
            <a:r>
              <a:rPr lang="de-DE" altLang="zh-HK" sz="1400" dirty="0" smtClean="0">
                <a:solidFill>
                  <a:prstClr val="black"/>
                </a:solidFill>
              </a:rPr>
              <a:t> </a:t>
            </a:r>
            <a:r>
              <a:rPr lang="de-DE" altLang="zh-HK" sz="1400" dirty="0" err="1" smtClean="0">
                <a:solidFill>
                  <a:prstClr val="black"/>
                </a:solidFill>
              </a:rPr>
              <a:t>investment</a:t>
            </a:r>
            <a:r>
              <a:rPr lang="de-DE" altLang="zh-HK" sz="1400" dirty="0" smtClean="0">
                <a:solidFill>
                  <a:prstClr val="black"/>
                </a:solidFill>
              </a:rPr>
              <a:t> </a:t>
            </a:r>
            <a:r>
              <a:rPr lang="de-DE" altLang="zh-HK" sz="1400" dirty="0" err="1" smtClean="0">
                <a:solidFill>
                  <a:prstClr val="black"/>
                </a:solidFill>
              </a:rPr>
              <a:t>risks</a:t>
            </a:r>
            <a:r>
              <a:rPr lang="de-DE" altLang="zh-HK" sz="1400" dirty="0" smtClean="0">
                <a:solidFill>
                  <a:prstClr val="black"/>
                </a:solidFill>
              </a:rPr>
              <a:t> (</a:t>
            </a:r>
            <a:r>
              <a:rPr lang="de-DE" altLang="zh-HK" sz="1400" dirty="0" err="1" smtClean="0">
                <a:solidFill>
                  <a:prstClr val="black"/>
                </a:solidFill>
              </a:rPr>
              <a:t>country</a:t>
            </a:r>
            <a:r>
              <a:rPr lang="de-DE" altLang="zh-HK" sz="1400" dirty="0" smtClean="0">
                <a:solidFill>
                  <a:prstClr val="black"/>
                </a:solidFill>
              </a:rPr>
              <a:t> </a:t>
            </a:r>
            <a:r>
              <a:rPr lang="de-DE" altLang="zh-HK" sz="1400" dirty="0" err="1" smtClean="0">
                <a:solidFill>
                  <a:prstClr val="black"/>
                </a:solidFill>
              </a:rPr>
              <a:t>and</a:t>
            </a:r>
            <a:r>
              <a:rPr lang="de-DE" altLang="zh-HK" sz="1400" dirty="0" smtClean="0">
                <a:solidFill>
                  <a:prstClr val="black"/>
                </a:solidFill>
              </a:rPr>
              <a:t> </a:t>
            </a:r>
            <a:r>
              <a:rPr lang="de-DE" altLang="zh-HK" sz="1400" dirty="0" err="1" smtClean="0">
                <a:solidFill>
                  <a:prstClr val="black"/>
                </a:solidFill>
              </a:rPr>
              <a:t>climate</a:t>
            </a:r>
            <a:r>
              <a:rPr lang="de-DE" altLang="zh-HK" sz="1400" dirty="0" smtClean="0">
                <a:solidFill>
                  <a:prstClr val="black"/>
                </a:solidFill>
              </a:rPr>
              <a:t> </a:t>
            </a:r>
            <a:r>
              <a:rPr lang="de-DE" altLang="zh-HK" sz="1400" dirty="0" err="1" smtClean="0">
                <a:solidFill>
                  <a:prstClr val="black"/>
                </a:solidFill>
              </a:rPr>
              <a:t>risk</a:t>
            </a:r>
            <a:r>
              <a:rPr lang="de-DE" altLang="zh-HK" sz="1400" dirty="0" smtClean="0">
                <a:solidFill>
                  <a:prstClr val="black"/>
                </a:solidFill>
              </a:rPr>
              <a:t>) </a:t>
            </a:r>
            <a:r>
              <a:rPr lang="de-DE" altLang="zh-HK" sz="1400" dirty="0" err="1" smtClean="0">
                <a:solidFill>
                  <a:prstClr val="black"/>
                </a:solidFill>
              </a:rPr>
              <a:t>through</a:t>
            </a:r>
            <a:r>
              <a:rPr lang="de-DE" altLang="zh-HK" sz="1400" dirty="0" smtClean="0">
                <a:solidFill>
                  <a:prstClr val="black"/>
                </a:solidFill>
              </a:rPr>
              <a:t> </a:t>
            </a:r>
            <a:r>
              <a:rPr lang="de-DE" altLang="zh-HK" sz="1400" dirty="0" err="1" smtClean="0">
                <a:solidFill>
                  <a:prstClr val="black"/>
                </a:solidFill>
              </a:rPr>
              <a:t>publically</a:t>
            </a:r>
            <a:r>
              <a:rPr lang="de-DE" altLang="zh-HK" sz="1400" dirty="0" smtClean="0">
                <a:solidFill>
                  <a:prstClr val="black"/>
                </a:solidFill>
              </a:rPr>
              <a:t> </a:t>
            </a:r>
            <a:r>
              <a:rPr lang="de-DE" altLang="zh-HK" sz="1400" dirty="0" err="1" smtClean="0">
                <a:solidFill>
                  <a:prstClr val="black"/>
                </a:solidFill>
              </a:rPr>
              <a:t>financed</a:t>
            </a:r>
            <a:r>
              <a:rPr lang="de-DE" altLang="zh-HK" sz="1400" dirty="0" smtClean="0">
                <a:solidFill>
                  <a:prstClr val="black"/>
                </a:solidFill>
              </a:rPr>
              <a:t> </a:t>
            </a:r>
            <a:r>
              <a:rPr lang="de-DE" altLang="zh-HK" sz="1400" dirty="0" err="1" smtClean="0">
                <a:solidFill>
                  <a:prstClr val="black"/>
                </a:solidFill>
              </a:rPr>
              <a:t>and</a:t>
            </a:r>
            <a:r>
              <a:rPr lang="de-DE" altLang="zh-HK" sz="1400" dirty="0" smtClean="0">
                <a:solidFill>
                  <a:prstClr val="black"/>
                </a:solidFill>
              </a:rPr>
              <a:t> </a:t>
            </a:r>
            <a:r>
              <a:rPr lang="de-DE" altLang="zh-HK" sz="1400" dirty="0" err="1" smtClean="0">
                <a:solidFill>
                  <a:prstClr val="black"/>
                </a:solidFill>
              </a:rPr>
              <a:t>scientifically</a:t>
            </a:r>
            <a:r>
              <a:rPr lang="de-DE" altLang="zh-HK" sz="1400" dirty="0" smtClean="0">
                <a:solidFill>
                  <a:prstClr val="black"/>
                </a:solidFill>
              </a:rPr>
              <a:t> </a:t>
            </a:r>
            <a:r>
              <a:rPr lang="de-DE" altLang="zh-HK" sz="1400" dirty="0" err="1" smtClean="0">
                <a:solidFill>
                  <a:prstClr val="black"/>
                </a:solidFill>
              </a:rPr>
              <a:t>conducted</a:t>
            </a:r>
            <a:r>
              <a:rPr lang="de-DE" altLang="zh-HK" sz="1400" dirty="0" smtClean="0">
                <a:solidFill>
                  <a:prstClr val="black"/>
                </a:solidFill>
              </a:rPr>
              <a:t> </a:t>
            </a:r>
            <a:r>
              <a:rPr lang="de-DE" altLang="zh-HK" sz="1400" dirty="0" err="1" smtClean="0">
                <a:solidFill>
                  <a:prstClr val="black"/>
                </a:solidFill>
              </a:rPr>
              <a:t>pilot</a:t>
            </a:r>
            <a:r>
              <a:rPr lang="de-DE" altLang="zh-HK" sz="1400" dirty="0" smtClean="0">
                <a:solidFill>
                  <a:prstClr val="black"/>
                </a:solidFill>
              </a:rPr>
              <a:t> </a:t>
            </a:r>
            <a:r>
              <a:rPr lang="de-DE" altLang="zh-HK" sz="1400" dirty="0" err="1" smtClean="0">
                <a:solidFill>
                  <a:prstClr val="black"/>
                </a:solidFill>
              </a:rPr>
              <a:t>projects</a:t>
            </a:r>
            <a:endParaRPr lang="de-DE" altLang="zh-HK" sz="1400" dirty="0" smtClean="0">
              <a:solidFill>
                <a:prstClr val="black"/>
              </a:solidFill>
            </a:endParaRPr>
          </a:p>
          <a:p>
            <a:pPr marL="1588" lvl="6" defTabSz="914400" eaLnBrk="0" hangingPunct="0">
              <a:spcAft>
                <a:spcPct val="20000"/>
              </a:spcAft>
              <a:defRPr/>
            </a:pPr>
            <a:endParaRPr lang="de-DE" altLang="zh-HK" sz="1400" dirty="0">
              <a:solidFill>
                <a:prstClr val="black"/>
              </a:solidFill>
            </a:endParaRPr>
          </a:p>
          <a:p>
            <a:pPr marL="1588" lvl="6" defTabSz="914400" eaLnBrk="0" hangingPunct="0">
              <a:spcAft>
                <a:spcPct val="20000"/>
              </a:spcAft>
              <a:defRPr/>
            </a:pPr>
            <a:r>
              <a:rPr lang="de-DE" altLang="zh-HK" sz="1400" b="1" u="sng" dirty="0" err="1" smtClean="0">
                <a:solidFill>
                  <a:srgbClr val="0064AE"/>
                </a:solidFill>
              </a:rPr>
              <a:t>Realization</a:t>
            </a:r>
            <a:r>
              <a:rPr lang="de-DE" altLang="zh-HK" sz="1400" b="1" u="sng" dirty="0" smtClean="0">
                <a:solidFill>
                  <a:srgbClr val="0064AE"/>
                </a:solidFill>
              </a:rPr>
              <a:t>:</a:t>
            </a:r>
            <a:endParaRPr lang="de-DE" altLang="zh-HK" sz="1400" b="1" u="sng" dirty="0">
              <a:solidFill>
                <a:srgbClr val="0064AE"/>
              </a:solidFill>
            </a:endParaRPr>
          </a:p>
          <a:p>
            <a:pPr marL="287338" lvl="6" indent="-285750" defTabSz="914400" eaLnBrk="0" hangingPunct="0">
              <a:spcAft>
                <a:spcPct val="20000"/>
              </a:spcAft>
              <a:buFont typeface="Arial" pitchFamily="34" charset="0"/>
              <a:buChar char="•"/>
              <a:defRPr/>
            </a:pPr>
            <a:r>
              <a:rPr lang="de-DE" altLang="zh-HK" sz="1400" i="1" dirty="0">
                <a:solidFill>
                  <a:prstClr val="black"/>
                </a:solidFill>
              </a:rPr>
              <a:t>e</a:t>
            </a:r>
            <a:r>
              <a:rPr lang="de-DE" altLang="zh-HK" sz="1400" i="1" dirty="0" smtClean="0">
                <a:solidFill>
                  <a:prstClr val="black"/>
                </a:solidFill>
              </a:rPr>
              <a:t>.g. </a:t>
            </a:r>
            <a:r>
              <a:rPr lang="de-DE" altLang="zh-HK" sz="1400" i="1" dirty="0" err="1" smtClean="0">
                <a:solidFill>
                  <a:prstClr val="black"/>
                </a:solidFill>
              </a:rPr>
              <a:t>extension</a:t>
            </a:r>
            <a:r>
              <a:rPr lang="de-DE" altLang="zh-HK" sz="1400" i="1" dirty="0" smtClean="0">
                <a:solidFill>
                  <a:prstClr val="black"/>
                </a:solidFill>
              </a:rPr>
              <a:t> </a:t>
            </a:r>
            <a:r>
              <a:rPr lang="de-DE" altLang="zh-HK" sz="1400" i="1" dirty="0" err="1" smtClean="0">
                <a:solidFill>
                  <a:prstClr val="black"/>
                </a:solidFill>
              </a:rPr>
              <a:t>of</a:t>
            </a:r>
            <a:r>
              <a:rPr lang="de-DE" altLang="zh-HK" sz="1400" i="1" dirty="0" smtClean="0">
                <a:solidFill>
                  <a:prstClr val="black"/>
                </a:solidFill>
              </a:rPr>
              <a:t> </a:t>
            </a:r>
            <a:r>
              <a:rPr lang="de-DE" altLang="zh-HK" sz="1400" i="1" dirty="0" err="1" smtClean="0">
                <a:solidFill>
                  <a:prstClr val="black"/>
                </a:solidFill>
              </a:rPr>
              <a:t>the</a:t>
            </a:r>
            <a:r>
              <a:rPr lang="de-DE" altLang="zh-HK" sz="1400" i="1" dirty="0" smtClean="0">
                <a:solidFill>
                  <a:prstClr val="black"/>
                </a:solidFill>
              </a:rPr>
              <a:t> </a:t>
            </a:r>
            <a:r>
              <a:rPr lang="de-DE" altLang="zh-HK" sz="1400" i="1" dirty="0" err="1" smtClean="0">
                <a:solidFill>
                  <a:prstClr val="black"/>
                </a:solidFill>
              </a:rPr>
              <a:t>scope</a:t>
            </a:r>
            <a:r>
              <a:rPr lang="de-DE" altLang="zh-HK" sz="1400" i="1" dirty="0" smtClean="0">
                <a:solidFill>
                  <a:prstClr val="black"/>
                </a:solidFill>
              </a:rPr>
              <a:t> </a:t>
            </a:r>
            <a:r>
              <a:rPr lang="de-DE" altLang="zh-HK" sz="1400" i="1" dirty="0" err="1" smtClean="0">
                <a:solidFill>
                  <a:prstClr val="black"/>
                </a:solidFill>
              </a:rPr>
              <a:t>of</a:t>
            </a:r>
            <a:r>
              <a:rPr lang="de-DE" altLang="zh-HK" sz="1400" i="1" dirty="0" smtClean="0">
                <a:solidFill>
                  <a:prstClr val="black"/>
                </a:solidFill>
              </a:rPr>
              <a:t> </a:t>
            </a:r>
            <a:r>
              <a:rPr lang="de-DE" altLang="zh-HK" sz="1400" i="1" dirty="0" err="1" smtClean="0">
                <a:solidFill>
                  <a:prstClr val="black"/>
                </a:solidFill>
              </a:rPr>
              <a:t>the</a:t>
            </a:r>
            <a:r>
              <a:rPr lang="de-DE" altLang="zh-HK" sz="1400" i="1" dirty="0" smtClean="0">
                <a:solidFill>
                  <a:prstClr val="black"/>
                </a:solidFill>
              </a:rPr>
              <a:t> German </a:t>
            </a:r>
            <a:r>
              <a:rPr lang="de-DE" altLang="zh-HK" sz="1400" i="1" dirty="0" err="1" smtClean="0">
                <a:solidFill>
                  <a:prstClr val="black"/>
                </a:solidFill>
              </a:rPr>
              <a:t>Raw</a:t>
            </a:r>
            <a:r>
              <a:rPr lang="de-DE" altLang="zh-HK" sz="1400" i="1" dirty="0" smtClean="0">
                <a:solidFill>
                  <a:prstClr val="black"/>
                </a:solidFill>
              </a:rPr>
              <a:t> Materials Agency (DERA) </a:t>
            </a:r>
            <a:r>
              <a:rPr lang="de-DE" altLang="zh-HK" sz="1400" i="1" dirty="0" err="1" smtClean="0">
                <a:solidFill>
                  <a:prstClr val="black"/>
                </a:solidFill>
              </a:rPr>
              <a:t>to</a:t>
            </a:r>
            <a:r>
              <a:rPr lang="de-DE" altLang="zh-HK" sz="1400" i="1" dirty="0" smtClean="0">
                <a:solidFill>
                  <a:prstClr val="black"/>
                </a:solidFill>
              </a:rPr>
              <a:t> </a:t>
            </a:r>
            <a:r>
              <a:rPr lang="de-DE" altLang="zh-HK" sz="1400" i="1" dirty="0" err="1" smtClean="0">
                <a:solidFill>
                  <a:prstClr val="black"/>
                </a:solidFill>
              </a:rPr>
              <a:t>include</a:t>
            </a:r>
            <a:r>
              <a:rPr lang="de-DE" altLang="zh-HK" sz="1400" i="1" dirty="0" smtClean="0">
                <a:solidFill>
                  <a:prstClr val="black"/>
                </a:solidFill>
              </a:rPr>
              <a:t> </a:t>
            </a:r>
            <a:r>
              <a:rPr lang="de-DE" altLang="zh-HK" sz="1400" i="1" dirty="0" err="1" smtClean="0">
                <a:solidFill>
                  <a:prstClr val="black"/>
                </a:solidFill>
              </a:rPr>
              <a:t>biomass</a:t>
            </a:r>
            <a:r>
              <a:rPr lang="de-DE" altLang="zh-HK" sz="1400" i="1" dirty="0">
                <a:solidFill>
                  <a:prstClr val="black"/>
                </a:solidFill>
              </a:rPr>
              <a:t> </a:t>
            </a:r>
            <a:r>
              <a:rPr lang="de-DE" altLang="zh-HK" sz="1400" i="1" dirty="0" err="1" smtClean="0">
                <a:solidFill>
                  <a:prstClr val="black"/>
                </a:solidFill>
              </a:rPr>
              <a:t>as</a:t>
            </a:r>
            <a:r>
              <a:rPr lang="de-DE" altLang="zh-HK" sz="1400" i="1" dirty="0" smtClean="0">
                <a:solidFill>
                  <a:prstClr val="black"/>
                </a:solidFill>
              </a:rPr>
              <a:t> a </a:t>
            </a:r>
            <a:r>
              <a:rPr lang="de-DE" altLang="zh-HK" sz="1400" i="1" dirty="0" err="1" smtClean="0">
                <a:solidFill>
                  <a:prstClr val="black"/>
                </a:solidFill>
              </a:rPr>
              <a:t>strategic</a:t>
            </a:r>
            <a:r>
              <a:rPr lang="de-DE" altLang="zh-HK" sz="1400" i="1" dirty="0" smtClean="0">
                <a:solidFill>
                  <a:prstClr val="black"/>
                </a:solidFill>
              </a:rPr>
              <a:t> </a:t>
            </a:r>
            <a:r>
              <a:rPr lang="de-DE" altLang="zh-HK" sz="1400" i="1" dirty="0" err="1" smtClean="0">
                <a:solidFill>
                  <a:prstClr val="black"/>
                </a:solidFill>
              </a:rPr>
              <a:t>resource</a:t>
            </a:r>
            <a:endParaRPr lang="de-DE" altLang="zh-HK" sz="1400" i="1" dirty="0">
              <a:solidFill>
                <a:prstClr val="black"/>
              </a:solidFill>
            </a:endParaRPr>
          </a:p>
          <a:p>
            <a:pPr marL="287338" lvl="6" indent="-285750" defTabSz="914400" eaLnBrk="0" hangingPunct="0">
              <a:spcAft>
                <a:spcPct val="20000"/>
              </a:spcAft>
              <a:buFont typeface="Arial" pitchFamily="34" charset="0"/>
              <a:buChar char="•"/>
              <a:defRPr/>
            </a:pPr>
            <a:r>
              <a:rPr lang="de-DE" altLang="zh-HK" sz="1400" dirty="0" smtClean="0">
                <a:solidFill>
                  <a:prstClr val="black"/>
                </a:solidFill>
              </a:rPr>
              <a:t>Goal: bioenergy </a:t>
            </a:r>
            <a:r>
              <a:rPr lang="de-DE" altLang="zh-HK" sz="1400" dirty="0" err="1" smtClean="0">
                <a:solidFill>
                  <a:prstClr val="black"/>
                </a:solidFill>
              </a:rPr>
              <a:t>task</a:t>
            </a:r>
            <a:r>
              <a:rPr lang="de-DE" altLang="zh-HK" sz="1400" dirty="0" smtClean="0">
                <a:solidFill>
                  <a:prstClr val="black"/>
                </a:solidFill>
              </a:rPr>
              <a:t> </a:t>
            </a:r>
            <a:r>
              <a:rPr lang="de-DE" altLang="zh-HK" sz="1400" dirty="0" err="1" smtClean="0">
                <a:solidFill>
                  <a:prstClr val="black"/>
                </a:solidFill>
              </a:rPr>
              <a:t>force</a:t>
            </a:r>
            <a:r>
              <a:rPr lang="de-DE" altLang="zh-HK" sz="1400" dirty="0" smtClean="0">
                <a:solidFill>
                  <a:prstClr val="black"/>
                </a:solidFill>
              </a:rPr>
              <a:t> </a:t>
            </a:r>
            <a:r>
              <a:rPr lang="de-DE" altLang="zh-HK" sz="1400" dirty="0" err="1" smtClean="0">
                <a:solidFill>
                  <a:prstClr val="black"/>
                </a:solidFill>
              </a:rPr>
              <a:t>to</a:t>
            </a:r>
            <a:r>
              <a:rPr lang="de-DE" altLang="zh-HK" sz="1400" dirty="0" smtClean="0">
                <a:solidFill>
                  <a:prstClr val="black"/>
                </a:solidFill>
              </a:rPr>
              <a:t> </a:t>
            </a:r>
            <a:r>
              <a:rPr lang="de-DE" altLang="zh-HK" sz="1400" dirty="0" err="1" smtClean="0">
                <a:solidFill>
                  <a:prstClr val="black"/>
                </a:solidFill>
              </a:rPr>
              <a:t>identify</a:t>
            </a:r>
            <a:r>
              <a:rPr lang="de-DE" altLang="zh-HK" sz="1400" dirty="0" smtClean="0">
                <a:solidFill>
                  <a:prstClr val="black"/>
                </a:solidFill>
              </a:rPr>
              <a:t>, </a:t>
            </a:r>
            <a:r>
              <a:rPr lang="de-DE" altLang="zh-HK" sz="1400" dirty="0" err="1" smtClean="0">
                <a:solidFill>
                  <a:prstClr val="black"/>
                </a:solidFill>
              </a:rPr>
              <a:t>organize</a:t>
            </a:r>
            <a:r>
              <a:rPr lang="de-DE" altLang="zh-HK" sz="1400" dirty="0" smtClean="0">
                <a:solidFill>
                  <a:prstClr val="black"/>
                </a:solidFill>
              </a:rPr>
              <a:t> </a:t>
            </a:r>
            <a:r>
              <a:rPr lang="de-DE" altLang="zh-HK" sz="1400" dirty="0" err="1" smtClean="0">
                <a:solidFill>
                  <a:prstClr val="black"/>
                </a:solidFill>
              </a:rPr>
              <a:t>and</a:t>
            </a:r>
            <a:r>
              <a:rPr lang="de-DE" altLang="zh-HK" sz="1400" dirty="0" smtClean="0">
                <a:solidFill>
                  <a:prstClr val="black"/>
                </a:solidFill>
              </a:rPr>
              <a:t> </a:t>
            </a:r>
            <a:r>
              <a:rPr lang="de-DE" altLang="zh-HK" sz="1400" dirty="0" err="1" smtClean="0">
                <a:solidFill>
                  <a:prstClr val="black"/>
                </a:solidFill>
              </a:rPr>
              <a:t>finance</a:t>
            </a:r>
            <a:r>
              <a:rPr lang="de-DE" altLang="zh-HK" sz="1400" dirty="0" smtClean="0">
                <a:solidFill>
                  <a:prstClr val="black"/>
                </a:solidFill>
              </a:rPr>
              <a:t> </a:t>
            </a:r>
            <a:r>
              <a:rPr lang="de-DE" altLang="zh-HK" sz="1400" dirty="0" err="1" smtClean="0">
                <a:solidFill>
                  <a:prstClr val="black"/>
                </a:solidFill>
              </a:rPr>
              <a:t>feedstock</a:t>
            </a:r>
            <a:r>
              <a:rPr lang="de-DE" altLang="zh-HK" sz="1400" dirty="0" smtClean="0">
                <a:solidFill>
                  <a:prstClr val="black"/>
                </a:solidFill>
              </a:rPr>
              <a:t> </a:t>
            </a:r>
            <a:r>
              <a:rPr lang="de-DE" altLang="zh-HK" sz="1400" dirty="0" err="1" smtClean="0">
                <a:solidFill>
                  <a:prstClr val="black"/>
                </a:solidFill>
              </a:rPr>
              <a:t>trials</a:t>
            </a:r>
            <a:endParaRPr lang="de-DE" altLang="zh-HK" sz="1400" dirty="0">
              <a:solidFill>
                <a:prstClr val="black"/>
              </a:solidFill>
            </a:endParaRPr>
          </a:p>
          <a:p>
            <a:pPr marL="1588" lvl="6" defTabSz="914400" eaLnBrk="0" hangingPunct="0">
              <a:spcAft>
                <a:spcPct val="20000"/>
              </a:spcAft>
              <a:defRPr/>
            </a:pPr>
            <a:endParaRPr lang="de-DE" altLang="zh-HK" sz="1400" dirty="0">
              <a:solidFill>
                <a:prstClr val="black"/>
              </a:solidFill>
            </a:endParaRPr>
          </a:p>
          <a:p>
            <a:pPr marL="1588" lvl="6" defTabSz="914400" eaLnBrk="0" hangingPunct="0">
              <a:spcAft>
                <a:spcPct val="20000"/>
              </a:spcAft>
              <a:defRPr/>
            </a:pPr>
            <a:r>
              <a:rPr lang="de-DE" altLang="zh-HK" sz="1400" b="1" u="sng" dirty="0" err="1" smtClean="0">
                <a:solidFill>
                  <a:srgbClr val="0064AE"/>
                </a:solidFill>
              </a:rPr>
              <a:t>Deliverables</a:t>
            </a:r>
            <a:r>
              <a:rPr lang="de-DE" altLang="zh-HK" sz="1400" b="1" u="sng" dirty="0" smtClean="0">
                <a:solidFill>
                  <a:srgbClr val="0064AE"/>
                </a:solidFill>
              </a:rPr>
              <a:t>:</a:t>
            </a:r>
            <a:endParaRPr lang="de-DE" altLang="zh-HK" sz="1400" b="1" u="sng" dirty="0">
              <a:solidFill>
                <a:srgbClr val="0064AE"/>
              </a:solidFill>
            </a:endParaRPr>
          </a:p>
          <a:p>
            <a:pPr marL="287338" lvl="6" indent="-285750" defTabSz="914400" eaLnBrk="0" hangingPunct="0">
              <a:spcAft>
                <a:spcPct val="20000"/>
              </a:spcAft>
              <a:buFont typeface="Arial" pitchFamily="34" charset="0"/>
              <a:buChar char="•"/>
              <a:defRPr/>
            </a:pPr>
            <a:r>
              <a:rPr lang="de-DE" altLang="zh-HK" sz="1400" dirty="0" err="1" smtClean="0">
                <a:solidFill>
                  <a:prstClr val="black"/>
                </a:solidFill>
              </a:rPr>
              <a:t>Selection</a:t>
            </a:r>
            <a:r>
              <a:rPr lang="de-DE" altLang="zh-HK" sz="1400" dirty="0" smtClean="0">
                <a:solidFill>
                  <a:prstClr val="black"/>
                </a:solidFill>
              </a:rPr>
              <a:t> </a:t>
            </a:r>
            <a:r>
              <a:rPr lang="de-DE" altLang="zh-HK" sz="1400" dirty="0" err="1" smtClean="0">
                <a:solidFill>
                  <a:prstClr val="black"/>
                </a:solidFill>
              </a:rPr>
              <a:t>of</a:t>
            </a:r>
            <a:r>
              <a:rPr lang="de-DE" altLang="zh-HK" sz="1400" dirty="0" smtClean="0">
                <a:solidFill>
                  <a:prstClr val="black"/>
                </a:solidFill>
              </a:rPr>
              <a:t> </a:t>
            </a:r>
            <a:r>
              <a:rPr lang="de-DE" altLang="zh-HK" sz="1400" dirty="0" err="1" smtClean="0">
                <a:solidFill>
                  <a:prstClr val="black"/>
                </a:solidFill>
              </a:rPr>
              <a:t>biomass</a:t>
            </a:r>
            <a:r>
              <a:rPr lang="de-DE" altLang="zh-HK" sz="1400" dirty="0" smtClean="0">
                <a:solidFill>
                  <a:prstClr val="black"/>
                </a:solidFill>
              </a:rPr>
              <a:t> </a:t>
            </a:r>
            <a:r>
              <a:rPr lang="de-DE" altLang="zh-HK" sz="1400" dirty="0" err="1" smtClean="0">
                <a:solidFill>
                  <a:prstClr val="black"/>
                </a:solidFill>
              </a:rPr>
              <a:t>project</a:t>
            </a:r>
            <a:r>
              <a:rPr lang="de-DE" altLang="zh-HK" sz="1400" dirty="0" smtClean="0">
                <a:solidFill>
                  <a:prstClr val="black"/>
                </a:solidFill>
              </a:rPr>
              <a:t> </a:t>
            </a:r>
            <a:r>
              <a:rPr lang="de-DE" altLang="zh-HK" sz="1400" dirty="0" err="1" smtClean="0">
                <a:solidFill>
                  <a:prstClr val="black"/>
                </a:solidFill>
              </a:rPr>
              <a:t>with</a:t>
            </a:r>
            <a:r>
              <a:rPr lang="de-DE" altLang="zh-HK" sz="1400" dirty="0" smtClean="0">
                <a:solidFill>
                  <a:prstClr val="black"/>
                </a:solidFill>
              </a:rPr>
              <a:t> </a:t>
            </a:r>
            <a:r>
              <a:rPr lang="de-DE" altLang="zh-HK" sz="1400" dirty="0" err="1" smtClean="0">
                <a:solidFill>
                  <a:prstClr val="black"/>
                </a:solidFill>
              </a:rPr>
              <a:t>predictable</a:t>
            </a:r>
            <a:r>
              <a:rPr lang="de-DE" altLang="zh-HK" sz="1400" dirty="0" smtClean="0">
                <a:solidFill>
                  <a:prstClr val="black"/>
                </a:solidFill>
              </a:rPr>
              <a:t> </a:t>
            </a:r>
            <a:r>
              <a:rPr lang="de-DE" altLang="zh-HK" sz="1400" dirty="0" err="1" smtClean="0">
                <a:solidFill>
                  <a:prstClr val="black"/>
                </a:solidFill>
              </a:rPr>
              <a:t>success</a:t>
            </a:r>
            <a:r>
              <a:rPr lang="de-DE" altLang="zh-HK" sz="1400" dirty="0" smtClean="0">
                <a:solidFill>
                  <a:prstClr val="black"/>
                </a:solidFill>
              </a:rPr>
              <a:t> rate</a:t>
            </a:r>
          </a:p>
          <a:p>
            <a:pPr marL="287338" lvl="6" indent="-285750" defTabSz="914400" eaLnBrk="0" hangingPunct="0">
              <a:spcAft>
                <a:spcPct val="20000"/>
              </a:spcAft>
              <a:buFont typeface="Arial" pitchFamily="34" charset="0"/>
              <a:buChar char="•"/>
              <a:defRPr/>
            </a:pPr>
            <a:r>
              <a:rPr lang="de-DE" altLang="zh-HK" sz="1400" dirty="0" smtClean="0">
                <a:solidFill>
                  <a:prstClr val="black"/>
                </a:solidFill>
              </a:rPr>
              <a:t>Bilateral </a:t>
            </a:r>
            <a:r>
              <a:rPr lang="de-DE" altLang="zh-HK" sz="1400" dirty="0" err="1" smtClean="0">
                <a:solidFill>
                  <a:prstClr val="black"/>
                </a:solidFill>
              </a:rPr>
              <a:t>gov‘t</a:t>
            </a:r>
            <a:r>
              <a:rPr lang="de-DE" altLang="zh-HK" sz="1400" dirty="0" smtClean="0">
                <a:solidFill>
                  <a:prstClr val="black"/>
                </a:solidFill>
              </a:rPr>
              <a:t> </a:t>
            </a:r>
            <a:r>
              <a:rPr lang="de-DE" altLang="zh-HK" sz="1400" dirty="0" err="1" smtClean="0">
                <a:solidFill>
                  <a:prstClr val="black"/>
                </a:solidFill>
              </a:rPr>
              <a:t>agreements</a:t>
            </a:r>
            <a:r>
              <a:rPr lang="de-DE" altLang="zh-HK" sz="1400" dirty="0" smtClean="0">
                <a:solidFill>
                  <a:prstClr val="black"/>
                </a:solidFill>
              </a:rPr>
              <a:t> on </a:t>
            </a:r>
            <a:r>
              <a:rPr lang="de-DE" altLang="zh-HK" sz="1400" dirty="0" err="1" smtClean="0">
                <a:solidFill>
                  <a:prstClr val="black"/>
                </a:solidFill>
              </a:rPr>
              <a:t>production</a:t>
            </a:r>
            <a:r>
              <a:rPr lang="de-DE" altLang="zh-HK" sz="1400" dirty="0" smtClean="0">
                <a:solidFill>
                  <a:prstClr val="black"/>
                </a:solidFill>
              </a:rPr>
              <a:t> </a:t>
            </a:r>
            <a:r>
              <a:rPr lang="de-DE" altLang="zh-HK" sz="1400" dirty="0" err="1" smtClean="0">
                <a:solidFill>
                  <a:prstClr val="black"/>
                </a:solidFill>
              </a:rPr>
              <a:t>and</a:t>
            </a:r>
            <a:r>
              <a:rPr lang="de-DE" altLang="zh-HK" sz="1400" dirty="0" smtClean="0">
                <a:solidFill>
                  <a:prstClr val="black"/>
                </a:solidFill>
              </a:rPr>
              <a:t> </a:t>
            </a:r>
            <a:r>
              <a:rPr lang="de-DE" altLang="zh-HK" sz="1400" dirty="0" err="1" smtClean="0">
                <a:solidFill>
                  <a:prstClr val="black"/>
                </a:solidFill>
              </a:rPr>
              <a:t>export</a:t>
            </a:r>
            <a:r>
              <a:rPr lang="de-DE" altLang="zh-HK" sz="1400" dirty="0" smtClean="0">
                <a:solidFill>
                  <a:prstClr val="black"/>
                </a:solidFill>
              </a:rPr>
              <a:t> </a:t>
            </a:r>
            <a:r>
              <a:rPr lang="de-DE" altLang="zh-HK" sz="1400" dirty="0" err="1" smtClean="0">
                <a:solidFill>
                  <a:prstClr val="black"/>
                </a:solidFill>
              </a:rPr>
              <a:t>criteria</a:t>
            </a:r>
            <a:r>
              <a:rPr lang="de-DE" altLang="zh-HK" sz="1400" dirty="0" smtClean="0">
                <a:solidFill>
                  <a:prstClr val="black"/>
                </a:solidFill>
              </a:rPr>
              <a:t> </a:t>
            </a:r>
          </a:p>
          <a:p>
            <a:pPr marL="287338" lvl="6" indent="-285750" defTabSz="914400" eaLnBrk="0" hangingPunct="0">
              <a:spcAft>
                <a:spcPct val="20000"/>
              </a:spcAft>
              <a:buFont typeface="Arial" pitchFamily="34" charset="0"/>
              <a:buChar char="•"/>
              <a:defRPr/>
            </a:pPr>
            <a:r>
              <a:rPr lang="de-DE" altLang="zh-HK" sz="1400" dirty="0" err="1" smtClean="0">
                <a:solidFill>
                  <a:prstClr val="black"/>
                </a:solidFill>
              </a:rPr>
              <a:t>Clarification</a:t>
            </a:r>
            <a:r>
              <a:rPr lang="de-DE" altLang="zh-HK" sz="1400" dirty="0" smtClean="0">
                <a:solidFill>
                  <a:prstClr val="black"/>
                </a:solidFill>
              </a:rPr>
              <a:t> </a:t>
            </a:r>
            <a:r>
              <a:rPr lang="de-DE" altLang="zh-HK" sz="1400" dirty="0" err="1" smtClean="0">
                <a:solidFill>
                  <a:prstClr val="black"/>
                </a:solidFill>
              </a:rPr>
              <a:t>of</a:t>
            </a:r>
            <a:r>
              <a:rPr lang="de-DE" altLang="zh-HK" sz="1400" dirty="0" smtClean="0">
                <a:solidFill>
                  <a:prstClr val="black"/>
                </a:solidFill>
              </a:rPr>
              <a:t> </a:t>
            </a:r>
            <a:r>
              <a:rPr lang="de-DE" altLang="zh-HK" sz="1400" dirty="0" err="1" smtClean="0">
                <a:solidFill>
                  <a:prstClr val="black"/>
                </a:solidFill>
              </a:rPr>
              <a:t>market</a:t>
            </a:r>
            <a:r>
              <a:rPr lang="de-DE" altLang="zh-HK" sz="1400" dirty="0" smtClean="0">
                <a:solidFill>
                  <a:prstClr val="black"/>
                </a:solidFill>
              </a:rPr>
              <a:t> potential </a:t>
            </a:r>
            <a:r>
              <a:rPr lang="de-DE" altLang="zh-HK" sz="1400" dirty="0" err="1" smtClean="0">
                <a:solidFill>
                  <a:prstClr val="black"/>
                </a:solidFill>
              </a:rPr>
              <a:t>of</a:t>
            </a:r>
            <a:r>
              <a:rPr lang="de-DE" altLang="zh-HK" sz="1400" dirty="0" smtClean="0">
                <a:solidFill>
                  <a:prstClr val="black"/>
                </a:solidFill>
              </a:rPr>
              <a:t> </a:t>
            </a:r>
            <a:r>
              <a:rPr lang="de-DE" altLang="zh-HK" sz="1400" dirty="0" err="1" smtClean="0">
                <a:solidFill>
                  <a:prstClr val="black"/>
                </a:solidFill>
              </a:rPr>
              <a:t>by-products</a:t>
            </a:r>
            <a:endParaRPr lang="de-DE" altLang="zh-HK" sz="1400" dirty="0">
              <a:solidFill>
                <a:prstClr val="black"/>
              </a:solidFill>
            </a:endParaRPr>
          </a:p>
          <a:p>
            <a:pPr marL="287338" lvl="6" indent="-285750" defTabSz="914400" eaLnBrk="0" hangingPunct="0">
              <a:spcAft>
                <a:spcPct val="20000"/>
              </a:spcAft>
              <a:buFont typeface="Arial" pitchFamily="34" charset="0"/>
              <a:buChar char="•"/>
              <a:defRPr/>
            </a:pPr>
            <a:r>
              <a:rPr lang="de-DE" altLang="zh-HK" sz="1400" b="1" dirty="0" err="1" smtClean="0">
                <a:solidFill>
                  <a:srgbClr val="FF0000"/>
                </a:solidFill>
              </a:rPr>
              <a:t>Costs</a:t>
            </a:r>
            <a:r>
              <a:rPr lang="de-DE" altLang="zh-HK" sz="1400" b="1" dirty="0" smtClean="0">
                <a:solidFill>
                  <a:srgbClr val="FF0000"/>
                </a:solidFill>
              </a:rPr>
              <a:t>:  </a:t>
            </a:r>
            <a:r>
              <a:rPr lang="de-DE" altLang="zh-HK" sz="1400" b="1" dirty="0">
                <a:solidFill>
                  <a:srgbClr val="FF0000"/>
                </a:solidFill>
              </a:rPr>
              <a:t>ca. 30 Mio. € </a:t>
            </a:r>
            <a:r>
              <a:rPr lang="de-DE" altLang="zh-HK" sz="1400" b="1" dirty="0" err="1" smtClean="0">
                <a:solidFill>
                  <a:srgbClr val="FF0000"/>
                </a:solidFill>
              </a:rPr>
              <a:t>over</a:t>
            </a:r>
            <a:r>
              <a:rPr lang="de-DE" altLang="zh-HK" sz="1400" b="1" dirty="0">
                <a:solidFill>
                  <a:srgbClr val="FF0000"/>
                </a:solidFill>
              </a:rPr>
              <a:t> </a:t>
            </a:r>
            <a:r>
              <a:rPr lang="de-DE" altLang="zh-HK" sz="1400" b="1" dirty="0" smtClean="0">
                <a:solidFill>
                  <a:srgbClr val="FF0000"/>
                </a:solidFill>
              </a:rPr>
              <a:t>a 10-year </a:t>
            </a:r>
            <a:r>
              <a:rPr lang="de-DE" altLang="zh-HK" sz="1400" b="1" dirty="0" err="1" smtClean="0">
                <a:solidFill>
                  <a:srgbClr val="FF0000"/>
                </a:solidFill>
              </a:rPr>
              <a:t>timefram</a:t>
            </a:r>
            <a:r>
              <a:rPr lang="de-DE" altLang="zh-HK" b="1" dirty="0" err="1" smtClean="0">
                <a:solidFill>
                  <a:srgbClr val="FF0000"/>
                </a:solidFill>
              </a:rPr>
              <a:t>e</a:t>
            </a:r>
            <a:endParaRPr lang="de-DE" altLang="zh-HK" b="1" dirty="0">
              <a:solidFill>
                <a:srgbClr val="FF0000"/>
              </a:solidFill>
            </a:endParaRPr>
          </a:p>
        </p:txBody>
      </p:sp>
      <p:pic>
        <p:nvPicPr>
          <p:cNvPr id="4103"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00788" y="4462463"/>
            <a:ext cx="2070100" cy="513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85265388"/>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1864" y="4069240"/>
            <a:ext cx="1081087" cy="7167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hteck 3"/>
          <p:cNvSpPr/>
          <p:nvPr/>
        </p:nvSpPr>
        <p:spPr>
          <a:xfrm>
            <a:off x="520701" y="4124009"/>
            <a:ext cx="8423275" cy="5393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de-DE">
              <a:solidFill>
                <a:prstClr val="white"/>
              </a:solidFill>
            </a:endParaRPr>
          </a:p>
        </p:txBody>
      </p:sp>
      <p:pic>
        <p:nvPicPr>
          <p:cNvPr id="5124" name="Picture 4" descr="Logo: Bundesministerium für wirtschaftliche Zusammenarbeit und Entwicklung"/>
          <p:cNvPicPr>
            <a:picLocks noChangeAspect="1" noChangeArrowheads="1"/>
          </p:cNvPicPr>
          <p:nvPr/>
        </p:nvPicPr>
        <p:blipFill>
          <a:blip r:embed="rId7">
            <a:extLst>
              <a:ext uri="{28A0092B-C50C-407E-A947-70E740481C1C}">
                <a14:useLocalDpi xmlns:a14="http://schemas.microsoft.com/office/drawing/2010/main" val="0"/>
              </a:ext>
            </a:extLst>
          </a:blip>
          <a:srcRect l="32343"/>
          <a:stretch>
            <a:fillRect/>
          </a:stretch>
        </p:blipFill>
        <p:spPr bwMode="auto">
          <a:xfrm>
            <a:off x="2484439" y="4231165"/>
            <a:ext cx="1582737" cy="339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5" name="Picture 1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1514" y="4231165"/>
            <a:ext cx="1597025" cy="3488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6" name="Picture 13" descr="https://encrypted-tbn2.gstatic.com/images?q=tbn:ANd9GcQtQ67s_pCEgU09MASNglsBkdVKAN8I9hWPLoosZbGqITr2FijVJ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48176" y="4222830"/>
            <a:ext cx="1203325" cy="332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7" name="Picture 2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51726" y="4214496"/>
            <a:ext cx="1223963" cy="395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8" name="Grafik 1"/>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29551" y="141685"/>
            <a:ext cx="1114425" cy="40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p:nvSpPr>
        <p:spPr bwMode="auto">
          <a:xfrm>
            <a:off x="539751" y="101204"/>
            <a:ext cx="8353425" cy="573881"/>
          </a:xfrm>
          <a:prstGeom prst="rect">
            <a:avLst/>
          </a:prstGeom>
          <a:noFill/>
          <a:ln w="9525">
            <a:noFill/>
            <a:miter lim="800000"/>
            <a:headEnd/>
            <a:tailEnd/>
          </a:ln>
        </p:spPr>
        <p:txBody>
          <a:bodyPr anchor="ctr"/>
          <a:lstStyle/>
          <a:p>
            <a:pPr marL="266700" indent="-266700" defTabSz="914400" fontAlgn="base">
              <a:spcBef>
                <a:spcPct val="0"/>
              </a:spcBef>
              <a:spcAft>
                <a:spcPct val="0"/>
              </a:spcAft>
              <a:defRPr/>
            </a:pPr>
            <a:r>
              <a:rPr lang="de-DE" sz="2400" b="1" dirty="0" smtClean="0">
                <a:solidFill>
                  <a:srgbClr val="0064AE"/>
                </a:solidFill>
                <a:cs typeface="Arial" pitchFamily="34" charset="0"/>
              </a:rPr>
              <a:t>Provision </a:t>
            </a:r>
            <a:r>
              <a:rPr lang="de-DE" sz="2400" b="1" dirty="0" err="1">
                <a:solidFill>
                  <a:srgbClr val="0064AE"/>
                </a:solidFill>
                <a:cs typeface="Arial" pitchFamily="34" charset="0"/>
              </a:rPr>
              <a:t>of</a:t>
            </a:r>
            <a:r>
              <a:rPr lang="de-DE" sz="2400" b="1" dirty="0">
                <a:solidFill>
                  <a:srgbClr val="0064AE"/>
                </a:solidFill>
                <a:cs typeface="Arial" pitchFamily="34" charset="0"/>
              </a:rPr>
              <a:t> </a:t>
            </a:r>
            <a:r>
              <a:rPr lang="de-DE" sz="2400" b="1" dirty="0" err="1" smtClean="0">
                <a:solidFill>
                  <a:srgbClr val="0064AE"/>
                </a:solidFill>
                <a:cs typeface="Arial" pitchFamily="34" charset="0"/>
              </a:rPr>
              <a:t>Feedstocks</a:t>
            </a:r>
            <a:r>
              <a:rPr lang="de-DE" sz="2400" b="1" dirty="0" smtClean="0">
                <a:solidFill>
                  <a:srgbClr val="0064AE"/>
                </a:solidFill>
                <a:cs typeface="Arial" pitchFamily="34" charset="0"/>
              </a:rPr>
              <a:t> –  </a:t>
            </a:r>
            <a:endParaRPr lang="de-DE" sz="2400" b="1" dirty="0">
              <a:solidFill>
                <a:srgbClr val="0064AE"/>
              </a:solidFill>
              <a:cs typeface="Arial" pitchFamily="34" charset="0"/>
            </a:endParaRPr>
          </a:p>
          <a:p>
            <a:pPr marL="266700" indent="-266700" defTabSz="914400" fontAlgn="base">
              <a:spcBef>
                <a:spcPct val="0"/>
              </a:spcBef>
              <a:spcAft>
                <a:spcPct val="0"/>
              </a:spcAft>
              <a:defRPr/>
            </a:pPr>
            <a:r>
              <a:rPr lang="de-DE" sz="2400" b="1" dirty="0" err="1" smtClean="0">
                <a:solidFill>
                  <a:srgbClr val="0064AE"/>
                </a:solidFill>
                <a:cs typeface="Arial" pitchFamily="34" charset="0"/>
              </a:rPr>
              <a:t>structure</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of</a:t>
            </a:r>
            <a:r>
              <a:rPr lang="de-DE" sz="2400" b="1" dirty="0" smtClean="0">
                <a:solidFill>
                  <a:srgbClr val="0064AE"/>
                </a:solidFill>
                <a:cs typeface="Arial" pitchFamily="34" charset="0"/>
              </a:rPr>
              <a:t> DERA bioenergy </a:t>
            </a:r>
            <a:r>
              <a:rPr lang="de-DE" sz="2400" b="1" dirty="0" err="1" smtClean="0">
                <a:solidFill>
                  <a:srgbClr val="0064AE"/>
                </a:solidFill>
                <a:cs typeface="Arial" pitchFamily="34" charset="0"/>
              </a:rPr>
              <a:t>task</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force</a:t>
            </a:r>
            <a:endParaRPr lang="de-DE" sz="2400" b="1" dirty="0">
              <a:solidFill>
                <a:srgbClr val="0064AE"/>
              </a:solidFill>
              <a:cs typeface="Arial" pitchFamily="34" charset="0"/>
            </a:endParaRPr>
          </a:p>
        </p:txBody>
      </p:sp>
      <p:cxnSp>
        <p:nvCxnSpPr>
          <p:cNvPr id="30" name="Gerade Verbindung 29"/>
          <p:cNvCxnSpPr/>
          <p:nvPr/>
        </p:nvCxnSpPr>
        <p:spPr>
          <a:xfrm>
            <a:off x="0" y="815579"/>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graphicFrame>
        <p:nvGraphicFramePr>
          <p:cNvPr id="2" name="Tabelle 1"/>
          <p:cNvGraphicFramePr>
            <a:graphicFrameLocks noGrp="1"/>
          </p:cNvGraphicFramePr>
          <p:nvPr>
            <p:extLst>
              <p:ext uri="{D42A27DB-BD31-4B8C-83A1-F6EECF244321}">
                <p14:modId xmlns:p14="http://schemas.microsoft.com/office/powerpoint/2010/main" val="843829055"/>
              </p:ext>
            </p:extLst>
          </p:nvPr>
        </p:nvGraphicFramePr>
        <p:xfrm>
          <a:off x="538164" y="2286874"/>
          <a:ext cx="6829425" cy="1071107"/>
        </p:xfrm>
        <a:graphic>
          <a:graphicData uri="http://schemas.openxmlformats.org/drawingml/2006/table">
            <a:tbl>
              <a:tblPr firstRow="1" bandRow="1">
                <a:tableStyleId>{5C22544A-7EE6-4342-B048-85BDC9FD1C3A}</a:tableStyleId>
              </a:tblPr>
              <a:tblGrid>
                <a:gridCol w="2340864"/>
                <a:gridCol w="2340864"/>
                <a:gridCol w="2147697"/>
              </a:tblGrid>
              <a:tr h="278318">
                <a:tc>
                  <a:txBody>
                    <a:bodyPr/>
                    <a:lstStyle/>
                    <a:p>
                      <a:r>
                        <a:rPr lang="de-DE" sz="1100" dirty="0" smtClean="0"/>
                        <a:t>aireg</a:t>
                      </a:r>
                      <a:r>
                        <a:rPr lang="de-DE" sz="1100" baseline="0" dirty="0" smtClean="0"/>
                        <a:t> </a:t>
                      </a:r>
                      <a:r>
                        <a:rPr lang="de-DE" sz="1100" baseline="0" dirty="0" err="1" smtClean="0"/>
                        <a:t>goal</a:t>
                      </a:r>
                      <a:endParaRPr lang="de-DE" sz="1100" dirty="0"/>
                    </a:p>
                  </a:txBody>
                  <a:tcPr marL="91450" marR="91450" marT="34313" marB="34313"/>
                </a:tc>
                <a:tc>
                  <a:txBody>
                    <a:bodyPr/>
                    <a:lstStyle/>
                    <a:p>
                      <a:r>
                        <a:rPr lang="de-DE" sz="1100" dirty="0" err="1" smtClean="0"/>
                        <a:t>DERA‘s</a:t>
                      </a:r>
                      <a:r>
                        <a:rPr lang="de-DE" sz="1100" dirty="0" smtClean="0"/>
                        <a:t> </a:t>
                      </a:r>
                      <a:r>
                        <a:rPr lang="de-DE" sz="1100" dirty="0" err="1" smtClean="0"/>
                        <a:t>mission</a:t>
                      </a:r>
                      <a:endParaRPr lang="de-DE" sz="1100" dirty="0"/>
                    </a:p>
                  </a:txBody>
                  <a:tcPr marL="91450" marR="91450" marT="34313" marB="34313"/>
                </a:tc>
                <a:tc>
                  <a:txBody>
                    <a:bodyPr/>
                    <a:lstStyle/>
                    <a:p>
                      <a:r>
                        <a:rPr lang="de-DE" sz="1100" dirty="0" err="1" smtClean="0"/>
                        <a:t>Compatibility</a:t>
                      </a:r>
                      <a:endParaRPr lang="de-DE" sz="1100" dirty="0"/>
                    </a:p>
                  </a:txBody>
                  <a:tcPr marL="91450" marR="91450" marT="34313" marB="34313"/>
                </a:tc>
              </a:tr>
              <a:tr h="388883">
                <a:tc>
                  <a:txBody>
                    <a:bodyPr/>
                    <a:lstStyle/>
                    <a:p>
                      <a:r>
                        <a:rPr lang="de-DE" sz="1100" dirty="0" err="1" smtClean="0"/>
                        <a:t>Financing</a:t>
                      </a:r>
                      <a:r>
                        <a:rPr lang="de-DE" sz="1100" baseline="0" dirty="0" smtClean="0"/>
                        <a:t> </a:t>
                      </a:r>
                      <a:r>
                        <a:rPr lang="de-DE" sz="1100" baseline="0" dirty="0" err="1" smtClean="0"/>
                        <a:t>of</a:t>
                      </a:r>
                      <a:r>
                        <a:rPr lang="de-DE" sz="1100" baseline="0" dirty="0" smtClean="0"/>
                        <a:t> </a:t>
                      </a:r>
                      <a:r>
                        <a:rPr lang="de-DE" sz="1100" baseline="0" dirty="0" err="1" smtClean="0"/>
                        <a:t>biomass</a:t>
                      </a:r>
                      <a:r>
                        <a:rPr lang="de-DE" sz="1100" baseline="0" dirty="0" smtClean="0"/>
                        <a:t> </a:t>
                      </a:r>
                      <a:r>
                        <a:rPr lang="de-DE" sz="1100" baseline="0" dirty="0" err="1" smtClean="0"/>
                        <a:t>trials</a:t>
                      </a:r>
                      <a:endParaRPr lang="de-DE" sz="1100" dirty="0"/>
                    </a:p>
                  </a:txBody>
                  <a:tcPr marL="91450" marR="91450" marT="34313" marB="34313"/>
                </a:tc>
                <a:tc>
                  <a:txBody>
                    <a:bodyPr/>
                    <a:lstStyle/>
                    <a:p>
                      <a:r>
                        <a:rPr lang="de-DE" sz="1100" dirty="0" err="1" smtClean="0"/>
                        <a:t>exploration</a:t>
                      </a:r>
                      <a:r>
                        <a:rPr lang="de-DE" sz="1100" baseline="0" dirty="0" smtClean="0"/>
                        <a:t> </a:t>
                      </a:r>
                      <a:r>
                        <a:rPr lang="de-DE" sz="1100" baseline="0" dirty="0" err="1" smtClean="0"/>
                        <a:t>support</a:t>
                      </a:r>
                      <a:r>
                        <a:rPr lang="de-DE" sz="1100" baseline="0" dirty="0" smtClean="0"/>
                        <a:t> </a:t>
                      </a:r>
                      <a:r>
                        <a:rPr lang="de-DE" sz="1100" baseline="0" dirty="0" err="1" smtClean="0"/>
                        <a:t>program</a:t>
                      </a:r>
                      <a:endParaRPr lang="de-DE" sz="1100" dirty="0"/>
                    </a:p>
                  </a:txBody>
                  <a:tcPr marL="91450" marR="91450" marT="34313" marB="34313"/>
                </a:tc>
                <a:tc>
                  <a:txBody>
                    <a:bodyPr/>
                    <a:lstStyle/>
                    <a:p>
                      <a:endParaRPr lang="de-DE" sz="1100" dirty="0" smtClean="0"/>
                    </a:p>
                  </a:txBody>
                  <a:tcPr marL="91450" marR="91450" marT="34313" marB="34313"/>
                </a:tc>
              </a:tr>
              <a:tr h="388883">
                <a:tc>
                  <a:txBody>
                    <a:bodyPr/>
                    <a:lstStyle/>
                    <a:p>
                      <a:r>
                        <a:rPr lang="de-DE" sz="1100" dirty="0" smtClean="0"/>
                        <a:t>Investment </a:t>
                      </a:r>
                      <a:r>
                        <a:rPr lang="de-DE" sz="1100" dirty="0" err="1" smtClean="0"/>
                        <a:t>guarantees</a:t>
                      </a:r>
                      <a:r>
                        <a:rPr lang="de-DE" sz="1100" baseline="0" dirty="0" smtClean="0"/>
                        <a:t> </a:t>
                      </a:r>
                      <a:r>
                        <a:rPr lang="de-DE" sz="1100" baseline="0" dirty="0" err="1" smtClean="0"/>
                        <a:t>for</a:t>
                      </a:r>
                      <a:r>
                        <a:rPr lang="de-DE" sz="1100" baseline="0" dirty="0" smtClean="0"/>
                        <a:t> </a:t>
                      </a:r>
                      <a:r>
                        <a:rPr lang="de-DE" sz="1100" baseline="0" dirty="0" err="1" smtClean="0"/>
                        <a:t>biomass</a:t>
                      </a:r>
                      <a:r>
                        <a:rPr lang="de-DE" sz="1100" baseline="0" dirty="0" smtClean="0"/>
                        <a:t> </a:t>
                      </a:r>
                      <a:r>
                        <a:rPr lang="de-DE" sz="1100" baseline="0" dirty="0" err="1" smtClean="0"/>
                        <a:t>projects</a:t>
                      </a:r>
                      <a:endParaRPr lang="de-DE" sz="1100" dirty="0"/>
                    </a:p>
                  </a:txBody>
                  <a:tcPr marL="91450" marR="91450" marT="34313" marB="34313"/>
                </a:tc>
                <a:tc>
                  <a:txBody>
                    <a:bodyPr/>
                    <a:lstStyle/>
                    <a:p>
                      <a:r>
                        <a:rPr lang="de-DE" sz="1100" dirty="0" smtClean="0"/>
                        <a:t>Investment </a:t>
                      </a:r>
                      <a:r>
                        <a:rPr lang="de-DE" sz="1100" dirty="0" err="1" smtClean="0"/>
                        <a:t>guarantees</a:t>
                      </a:r>
                      <a:r>
                        <a:rPr lang="de-DE" sz="1100" dirty="0" smtClean="0"/>
                        <a:t> </a:t>
                      </a:r>
                      <a:r>
                        <a:rPr lang="de-DE" sz="1100" dirty="0" err="1" smtClean="0"/>
                        <a:t>for</a:t>
                      </a:r>
                      <a:r>
                        <a:rPr lang="de-DE" sz="1100" dirty="0" smtClean="0"/>
                        <a:t> </a:t>
                      </a:r>
                      <a:r>
                        <a:rPr lang="de-DE" sz="1100" dirty="0" err="1" smtClean="0"/>
                        <a:t>exploration</a:t>
                      </a:r>
                      <a:endParaRPr lang="de-DE" sz="1100" dirty="0"/>
                    </a:p>
                  </a:txBody>
                  <a:tcPr marL="91450" marR="91450" marT="34313" marB="34313"/>
                </a:tc>
                <a:tc>
                  <a:txBody>
                    <a:bodyPr/>
                    <a:lstStyle/>
                    <a:p>
                      <a:endParaRPr lang="de-DE" sz="1100" dirty="0"/>
                    </a:p>
                  </a:txBody>
                  <a:tcPr marL="91450" marR="91450" marT="34313" marB="34313"/>
                </a:tc>
              </a:tr>
            </a:tbl>
          </a:graphicData>
        </a:graphic>
      </p:graphicFrame>
      <p:sp>
        <p:nvSpPr>
          <p:cNvPr id="5151" name="Textfeld 21"/>
          <p:cNvSpPr txBox="1">
            <a:spLocks noChangeArrowheads="1"/>
          </p:cNvSpPr>
          <p:nvPr>
            <p:custDataLst>
              <p:tags r:id="rId1"/>
            </p:custDataLst>
          </p:nvPr>
        </p:nvSpPr>
        <p:spPr bwMode="auto">
          <a:xfrm>
            <a:off x="539750" y="815579"/>
            <a:ext cx="357663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14400" eaLnBrk="1" fontAlgn="base" hangingPunct="1">
              <a:spcBef>
                <a:spcPct val="0"/>
              </a:spcBef>
              <a:spcAft>
                <a:spcPct val="0"/>
              </a:spcAft>
              <a:buClr>
                <a:srgbClr val="1F497D"/>
              </a:buClr>
              <a:buFontTx/>
              <a:buNone/>
            </a:pPr>
            <a:r>
              <a:rPr lang="de-DE" altLang="de-DE" sz="1800" b="1" dirty="0" err="1" smtClean="0">
                <a:solidFill>
                  <a:prstClr val="black"/>
                </a:solidFill>
              </a:rPr>
              <a:t>DERA‘s</a:t>
            </a:r>
            <a:r>
              <a:rPr lang="de-DE" altLang="de-DE" sz="1800" b="1" dirty="0" smtClean="0">
                <a:solidFill>
                  <a:prstClr val="black"/>
                </a:solidFill>
              </a:rPr>
              <a:t> </a:t>
            </a:r>
            <a:r>
              <a:rPr lang="de-DE" altLang="de-DE" sz="1800" b="1" dirty="0" err="1" smtClean="0">
                <a:solidFill>
                  <a:prstClr val="black"/>
                </a:solidFill>
              </a:rPr>
              <a:t>mission</a:t>
            </a:r>
            <a:r>
              <a:rPr lang="de-DE" altLang="de-DE" sz="1800" b="1" dirty="0" smtClean="0">
                <a:solidFill>
                  <a:prstClr val="black"/>
                </a:solidFill>
              </a:rPr>
              <a:t> </a:t>
            </a:r>
            <a:r>
              <a:rPr lang="de-DE" altLang="de-DE" sz="1800" b="1" dirty="0" err="1" smtClean="0">
                <a:solidFill>
                  <a:prstClr val="black"/>
                </a:solidFill>
              </a:rPr>
              <a:t>statement</a:t>
            </a:r>
            <a:r>
              <a:rPr lang="de-DE" altLang="de-DE" sz="1800" b="1" dirty="0" smtClean="0">
                <a:solidFill>
                  <a:prstClr val="black"/>
                </a:solidFill>
              </a:rPr>
              <a:t>:</a:t>
            </a:r>
            <a:endParaRPr lang="de-DE" altLang="de-DE" sz="1800" b="1" dirty="0">
              <a:solidFill>
                <a:prstClr val="black"/>
              </a:solidFill>
            </a:endParaRPr>
          </a:p>
        </p:txBody>
      </p:sp>
      <p:sp>
        <p:nvSpPr>
          <p:cNvPr id="5152" name="Textfeld 21"/>
          <p:cNvSpPr txBox="1">
            <a:spLocks noChangeArrowheads="1"/>
          </p:cNvSpPr>
          <p:nvPr>
            <p:custDataLst>
              <p:tags r:id="rId2"/>
            </p:custDataLst>
          </p:nvPr>
        </p:nvSpPr>
        <p:spPr bwMode="auto">
          <a:xfrm>
            <a:off x="539750" y="1963024"/>
            <a:ext cx="50165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14400" eaLnBrk="1" fontAlgn="base" hangingPunct="1">
              <a:spcBef>
                <a:spcPct val="0"/>
              </a:spcBef>
              <a:spcAft>
                <a:spcPct val="0"/>
              </a:spcAft>
              <a:buClr>
                <a:srgbClr val="1F497D"/>
              </a:buClr>
              <a:buFontTx/>
              <a:buNone/>
            </a:pPr>
            <a:r>
              <a:rPr lang="de-DE" altLang="de-DE" sz="1800" b="1" dirty="0" err="1" smtClean="0">
                <a:solidFill>
                  <a:prstClr val="black"/>
                </a:solidFill>
              </a:rPr>
              <a:t>Comparison</a:t>
            </a:r>
            <a:r>
              <a:rPr lang="de-DE" altLang="de-DE" sz="1800" b="1" dirty="0" smtClean="0">
                <a:solidFill>
                  <a:prstClr val="black"/>
                </a:solidFill>
              </a:rPr>
              <a:t> </a:t>
            </a:r>
            <a:r>
              <a:rPr lang="de-DE" altLang="de-DE" sz="1800" b="1" dirty="0" err="1" smtClean="0">
                <a:solidFill>
                  <a:prstClr val="black"/>
                </a:solidFill>
              </a:rPr>
              <a:t>of</a:t>
            </a:r>
            <a:r>
              <a:rPr lang="de-DE" altLang="de-DE" sz="1800" b="1" dirty="0" smtClean="0">
                <a:solidFill>
                  <a:prstClr val="black"/>
                </a:solidFill>
              </a:rPr>
              <a:t> aireg </a:t>
            </a:r>
            <a:r>
              <a:rPr lang="de-DE" altLang="de-DE" sz="1800" b="1" dirty="0" err="1" smtClean="0">
                <a:solidFill>
                  <a:prstClr val="black"/>
                </a:solidFill>
              </a:rPr>
              <a:t>goals</a:t>
            </a:r>
            <a:r>
              <a:rPr lang="de-DE" altLang="de-DE" sz="1800" b="1" dirty="0" smtClean="0">
                <a:solidFill>
                  <a:prstClr val="black"/>
                </a:solidFill>
              </a:rPr>
              <a:t> </a:t>
            </a:r>
            <a:r>
              <a:rPr lang="de-DE" altLang="de-DE" sz="1800" b="1" dirty="0" err="1" smtClean="0">
                <a:solidFill>
                  <a:prstClr val="black"/>
                </a:solidFill>
              </a:rPr>
              <a:t>and</a:t>
            </a:r>
            <a:r>
              <a:rPr lang="de-DE" altLang="de-DE" sz="1800" b="1" dirty="0" smtClean="0">
                <a:solidFill>
                  <a:prstClr val="black"/>
                </a:solidFill>
              </a:rPr>
              <a:t> </a:t>
            </a:r>
            <a:r>
              <a:rPr lang="de-DE" altLang="de-DE" sz="1800" b="1" dirty="0" err="1" smtClean="0">
                <a:solidFill>
                  <a:prstClr val="black"/>
                </a:solidFill>
              </a:rPr>
              <a:t>DERA‘s</a:t>
            </a:r>
            <a:r>
              <a:rPr lang="de-DE" altLang="de-DE" sz="1800" b="1" dirty="0" smtClean="0">
                <a:solidFill>
                  <a:prstClr val="black"/>
                </a:solidFill>
              </a:rPr>
              <a:t> </a:t>
            </a:r>
            <a:r>
              <a:rPr lang="de-DE" altLang="de-DE" sz="1800" b="1" dirty="0" err="1" smtClean="0">
                <a:solidFill>
                  <a:prstClr val="black"/>
                </a:solidFill>
              </a:rPr>
              <a:t>mission</a:t>
            </a:r>
            <a:endParaRPr lang="de-DE" altLang="de-DE" sz="1800" b="1" dirty="0">
              <a:solidFill>
                <a:prstClr val="black"/>
              </a:solidFill>
            </a:endParaRPr>
          </a:p>
        </p:txBody>
      </p:sp>
      <p:pic>
        <p:nvPicPr>
          <p:cNvPr id="5153" name="Picture 15"/>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367338" y="2611915"/>
            <a:ext cx="385762" cy="2893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54" name="Picture 1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364164" y="3026253"/>
            <a:ext cx="384175" cy="288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55" name="Textfeld 21"/>
          <p:cNvSpPr txBox="1">
            <a:spLocks noChangeArrowheads="1"/>
          </p:cNvSpPr>
          <p:nvPr>
            <p:custDataLst>
              <p:tags r:id="rId3"/>
            </p:custDataLst>
          </p:nvPr>
        </p:nvSpPr>
        <p:spPr bwMode="auto">
          <a:xfrm>
            <a:off x="520545" y="3435846"/>
            <a:ext cx="74168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14400" eaLnBrk="1" fontAlgn="base" hangingPunct="1">
              <a:spcBef>
                <a:spcPct val="0"/>
              </a:spcBef>
              <a:spcAft>
                <a:spcPct val="0"/>
              </a:spcAft>
              <a:buClr>
                <a:srgbClr val="1F497D"/>
              </a:buClr>
              <a:buFontTx/>
              <a:buNone/>
            </a:pPr>
            <a:r>
              <a:rPr lang="de-DE" altLang="de-DE" sz="1800" b="1" dirty="0" err="1" smtClean="0">
                <a:solidFill>
                  <a:prstClr val="black"/>
                </a:solidFill>
              </a:rPr>
              <a:t>Possible</a:t>
            </a:r>
            <a:r>
              <a:rPr lang="de-DE" altLang="de-DE" sz="1800" b="1" dirty="0" smtClean="0">
                <a:solidFill>
                  <a:prstClr val="black"/>
                </a:solidFill>
              </a:rPr>
              <a:t> </a:t>
            </a:r>
            <a:r>
              <a:rPr lang="de-DE" altLang="de-DE" sz="1800" b="1" dirty="0" err="1" smtClean="0">
                <a:solidFill>
                  <a:prstClr val="black"/>
                </a:solidFill>
              </a:rPr>
              <a:t>structure</a:t>
            </a:r>
            <a:r>
              <a:rPr lang="de-DE" altLang="de-DE" sz="1800" b="1" dirty="0" smtClean="0">
                <a:solidFill>
                  <a:prstClr val="black"/>
                </a:solidFill>
              </a:rPr>
              <a:t> </a:t>
            </a:r>
            <a:r>
              <a:rPr lang="de-DE" altLang="de-DE" sz="1800" b="1" dirty="0" err="1" smtClean="0">
                <a:solidFill>
                  <a:prstClr val="black"/>
                </a:solidFill>
              </a:rPr>
              <a:t>and</a:t>
            </a:r>
            <a:r>
              <a:rPr lang="de-DE" altLang="de-DE" sz="1800" b="1" dirty="0" smtClean="0">
                <a:solidFill>
                  <a:prstClr val="black"/>
                </a:solidFill>
              </a:rPr>
              <a:t> </a:t>
            </a:r>
            <a:r>
              <a:rPr lang="de-DE" altLang="de-DE" sz="1800" b="1" dirty="0" err="1" smtClean="0">
                <a:solidFill>
                  <a:prstClr val="black"/>
                </a:solidFill>
              </a:rPr>
              <a:t>competencies</a:t>
            </a:r>
            <a:r>
              <a:rPr lang="de-DE" altLang="de-DE" sz="1800" b="1" dirty="0" smtClean="0">
                <a:solidFill>
                  <a:prstClr val="black"/>
                </a:solidFill>
              </a:rPr>
              <a:t> </a:t>
            </a:r>
            <a:r>
              <a:rPr lang="de-DE" altLang="de-DE" sz="1800" b="1" dirty="0" err="1" smtClean="0">
                <a:solidFill>
                  <a:prstClr val="black"/>
                </a:solidFill>
              </a:rPr>
              <a:t>of</a:t>
            </a:r>
            <a:r>
              <a:rPr lang="de-DE" altLang="de-DE" sz="1800" b="1" dirty="0" smtClean="0">
                <a:solidFill>
                  <a:prstClr val="black"/>
                </a:solidFill>
              </a:rPr>
              <a:t> DERA bioenergy </a:t>
            </a:r>
            <a:r>
              <a:rPr lang="de-DE" altLang="de-DE" sz="1800" b="1" dirty="0" err="1" smtClean="0">
                <a:solidFill>
                  <a:prstClr val="black"/>
                </a:solidFill>
              </a:rPr>
              <a:t>task</a:t>
            </a:r>
            <a:r>
              <a:rPr lang="de-DE" altLang="de-DE" sz="1800" b="1" dirty="0" smtClean="0">
                <a:solidFill>
                  <a:prstClr val="black"/>
                </a:solidFill>
              </a:rPr>
              <a:t> </a:t>
            </a:r>
            <a:r>
              <a:rPr lang="de-DE" altLang="de-DE" sz="1800" b="1" dirty="0" err="1" smtClean="0">
                <a:solidFill>
                  <a:prstClr val="black"/>
                </a:solidFill>
              </a:rPr>
              <a:t>force</a:t>
            </a:r>
            <a:endParaRPr lang="de-DE" altLang="de-DE" sz="1800" b="1" dirty="0">
              <a:solidFill>
                <a:prstClr val="black"/>
              </a:solidFill>
            </a:endParaRPr>
          </a:p>
        </p:txBody>
      </p:sp>
      <p:sp>
        <p:nvSpPr>
          <p:cNvPr id="3" name="Rechteck 2"/>
          <p:cNvSpPr/>
          <p:nvPr/>
        </p:nvSpPr>
        <p:spPr>
          <a:xfrm>
            <a:off x="520701" y="3800158"/>
            <a:ext cx="8423275" cy="35123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de-DE">
              <a:solidFill>
                <a:prstClr val="white"/>
              </a:solidFill>
            </a:endParaRPr>
          </a:p>
        </p:txBody>
      </p:sp>
      <p:sp>
        <p:nvSpPr>
          <p:cNvPr id="5157" name="Textfeld 4"/>
          <p:cNvSpPr txBox="1">
            <a:spLocks noChangeArrowheads="1"/>
          </p:cNvSpPr>
          <p:nvPr/>
        </p:nvSpPr>
        <p:spPr bwMode="auto">
          <a:xfrm>
            <a:off x="585788" y="3853736"/>
            <a:ext cx="85582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defTabSz="914400" eaLnBrk="1" fontAlgn="base" hangingPunct="1">
              <a:spcBef>
                <a:spcPct val="0"/>
              </a:spcBef>
              <a:spcAft>
                <a:spcPct val="0"/>
              </a:spcAft>
              <a:buFontTx/>
              <a:buNone/>
            </a:pPr>
            <a:r>
              <a:rPr lang="de-DE" altLang="de-DE" sz="1800" b="1" dirty="0" smtClean="0">
                <a:solidFill>
                  <a:prstClr val="white"/>
                </a:solidFill>
              </a:rPr>
              <a:t>Financial Support   Country Expertise	Co-</a:t>
            </a:r>
            <a:r>
              <a:rPr lang="de-DE" altLang="de-DE" sz="1800" b="1" dirty="0" err="1" smtClean="0">
                <a:solidFill>
                  <a:prstClr val="white"/>
                </a:solidFill>
              </a:rPr>
              <a:t>Financing</a:t>
            </a:r>
            <a:r>
              <a:rPr lang="de-DE" altLang="de-DE" sz="1800" b="1" dirty="0" smtClean="0">
                <a:solidFill>
                  <a:prstClr val="white"/>
                </a:solidFill>
              </a:rPr>
              <a:t>        Consulting         Demand</a:t>
            </a:r>
            <a:endParaRPr lang="de-DE" altLang="de-DE" sz="1800" b="1" dirty="0">
              <a:solidFill>
                <a:prstClr val="white"/>
              </a:solidFill>
            </a:endParaRPr>
          </a:p>
        </p:txBody>
      </p:sp>
      <p:sp>
        <p:nvSpPr>
          <p:cNvPr id="5" name="Textfeld 4"/>
          <p:cNvSpPr txBox="1"/>
          <p:nvPr/>
        </p:nvSpPr>
        <p:spPr>
          <a:xfrm>
            <a:off x="539552" y="1123168"/>
            <a:ext cx="8089900" cy="923330"/>
          </a:xfrm>
          <a:prstGeom prst="rect">
            <a:avLst/>
          </a:prstGeom>
          <a:solidFill>
            <a:schemeClr val="bg1">
              <a:lumMod val="95000"/>
            </a:schemeClr>
          </a:solidFill>
        </p:spPr>
        <p:txBody>
          <a:bodyPr wrap="square" rtlCol="0">
            <a:spAutoFit/>
          </a:bodyPr>
          <a:lstStyle/>
          <a:p>
            <a:pPr defTabSz="914400" fontAlgn="base">
              <a:spcBef>
                <a:spcPct val="0"/>
              </a:spcBef>
              <a:spcAft>
                <a:spcPct val="0"/>
              </a:spcAft>
            </a:pPr>
            <a:r>
              <a:rPr lang="de-DE" i="1" dirty="0" smtClean="0">
                <a:solidFill>
                  <a:prstClr val="black"/>
                </a:solidFill>
              </a:rPr>
              <a:t>„The German </a:t>
            </a:r>
            <a:r>
              <a:rPr lang="de-DE" i="1" dirty="0" err="1" smtClean="0">
                <a:solidFill>
                  <a:prstClr val="black"/>
                </a:solidFill>
              </a:rPr>
              <a:t>Raw</a:t>
            </a:r>
            <a:r>
              <a:rPr lang="de-DE" i="1" dirty="0" smtClean="0">
                <a:solidFill>
                  <a:prstClr val="black"/>
                </a:solidFill>
              </a:rPr>
              <a:t> Materials Agency (DERA) </a:t>
            </a:r>
            <a:r>
              <a:rPr lang="de-DE" i="1" dirty="0" err="1" smtClean="0">
                <a:solidFill>
                  <a:prstClr val="black"/>
                </a:solidFill>
              </a:rPr>
              <a:t>is</a:t>
            </a:r>
            <a:r>
              <a:rPr lang="de-DE" i="1" dirty="0" smtClean="0">
                <a:solidFill>
                  <a:prstClr val="black"/>
                </a:solidFill>
              </a:rPr>
              <a:t> </a:t>
            </a:r>
            <a:r>
              <a:rPr lang="de-DE" i="1" dirty="0" err="1" smtClean="0">
                <a:solidFill>
                  <a:prstClr val="black"/>
                </a:solidFill>
              </a:rPr>
              <a:t>the</a:t>
            </a:r>
            <a:r>
              <a:rPr lang="de-DE" i="1" dirty="0" smtClean="0">
                <a:solidFill>
                  <a:prstClr val="black"/>
                </a:solidFill>
              </a:rPr>
              <a:t> </a:t>
            </a:r>
            <a:r>
              <a:rPr lang="de-DE" i="1" dirty="0" err="1" smtClean="0">
                <a:solidFill>
                  <a:prstClr val="black"/>
                </a:solidFill>
              </a:rPr>
              <a:t>center</a:t>
            </a:r>
            <a:r>
              <a:rPr lang="de-DE" i="1" dirty="0" smtClean="0">
                <a:solidFill>
                  <a:prstClr val="black"/>
                </a:solidFill>
              </a:rPr>
              <a:t> </a:t>
            </a:r>
            <a:r>
              <a:rPr lang="de-DE" i="1" dirty="0" err="1" smtClean="0">
                <a:solidFill>
                  <a:prstClr val="black"/>
                </a:solidFill>
              </a:rPr>
              <a:t>of</a:t>
            </a:r>
            <a:r>
              <a:rPr lang="de-DE" i="1" dirty="0" smtClean="0">
                <a:solidFill>
                  <a:prstClr val="black"/>
                </a:solidFill>
              </a:rPr>
              <a:t> </a:t>
            </a:r>
            <a:r>
              <a:rPr lang="de-DE" i="1" dirty="0" err="1" smtClean="0">
                <a:solidFill>
                  <a:prstClr val="black"/>
                </a:solidFill>
              </a:rPr>
              <a:t>competence</a:t>
            </a:r>
            <a:r>
              <a:rPr lang="de-DE" i="1" dirty="0" smtClean="0">
                <a:solidFill>
                  <a:prstClr val="black"/>
                </a:solidFill>
              </a:rPr>
              <a:t> </a:t>
            </a:r>
            <a:r>
              <a:rPr lang="de-DE" i="1" dirty="0" err="1" smtClean="0">
                <a:solidFill>
                  <a:prstClr val="black"/>
                </a:solidFill>
              </a:rPr>
              <a:t>for</a:t>
            </a:r>
            <a:r>
              <a:rPr lang="de-DE" i="1" dirty="0" smtClean="0">
                <a:solidFill>
                  <a:prstClr val="black"/>
                </a:solidFill>
              </a:rPr>
              <a:t> </a:t>
            </a:r>
            <a:r>
              <a:rPr lang="de-DE" i="1" dirty="0" err="1" smtClean="0">
                <a:solidFill>
                  <a:prstClr val="black"/>
                </a:solidFill>
              </a:rPr>
              <a:t>the</a:t>
            </a:r>
            <a:r>
              <a:rPr lang="de-DE" i="1" dirty="0" smtClean="0">
                <a:solidFill>
                  <a:prstClr val="black"/>
                </a:solidFill>
              </a:rPr>
              <a:t> </a:t>
            </a:r>
            <a:r>
              <a:rPr lang="de-DE" i="1" dirty="0" err="1" smtClean="0">
                <a:solidFill>
                  <a:prstClr val="black"/>
                </a:solidFill>
              </a:rPr>
              <a:t>feedstock</a:t>
            </a:r>
            <a:r>
              <a:rPr lang="de-DE" i="1" dirty="0" smtClean="0">
                <a:solidFill>
                  <a:prstClr val="black"/>
                </a:solidFill>
              </a:rPr>
              <a:t> </a:t>
            </a:r>
            <a:r>
              <a:rPr lang="de-DE" i="1" dirty="0" err="1" smtClean="0">
                <a:solidFill>
                  <a:prstClr val="black"/>
                </a:solidFill>
              </a:rPr>
              <a:t>industry</a:t>
            </a:r>
            <a:r>
              <a:rPr lang="de-DE" i="1" dirty="0" smtClean="0">
                <a:solidFill>
                  <a:prstClr val="black"/>
                </a:solidFill>
              </a:rPr>
              <a:t> </a:t>
            </a:r>
            <a:r>
              <a:rPr lang="de-DE" i="1" dirty="0" err="1" smtClean="0">
                <a:solidFill>
                  <a:prstClr val="black"/>
                </a:solidFill>
              </a:rPr>
              <a:t>and</a:t>
            </a:r>
            <a:r>
              <a:rPr lang="de-DE" i="1" dirty="0" smtClean="0">
                <a:solidFill>
                  <a:prstClr val="black"/>
                </a:solidFill>
              </a:rPr>
              <a:t> </a:t>
            </a:r>
            <a:r>
              <a:rPr lang="de-DE" i="1" dirty="0" err="1" smtClean="0">
                <a:solidFill>
                  <a:prstClr val="black"/>
                </a:solidFill>
              </a:rPr>
              <a:t>the</a:t>
            </a:r>
            <a:r>
              <a:rPr lang="de-DE" i="1" dirty="0" smtClean="0">
                <a:solidFill>
                  <a:prstClr val="black"/>
                </a:solidFill>
              </a:rPr>
              <a:t> </a:t>
            </a:r>
            <a:r>
              <a:rPr lang="de-DE" i="1" dirty="0" err="1" smtClean="0">
                <a:solidFill>
                  <a:prstClr val="black"/>
                </a:solidFill>
              </a:rPr>
              <a:t>central</a:t>
            </a:r>
            <a:r>
              <a:rPr lang="de-DE" i="1" dirty="0" smtClean="0">
                <a:solidFill>
                  <a:prstClr val="black"/>
                </a:solidFill>
              </a:rPr>
              <a:t> </a:t>
            </a:r>
            <a:r>
              <a:rPr lang="de-DE" i="1" dirty="0" err="1" smtClean="0">
                <a:solidFill>
                  <a:prstClr val="black"/>
                </a:solidFill>
              </a:rPr>
              <a:t>platform</a:t>
            </a:r>
            <a:r>
              <a:rPr lang="de-DE" i="1" dirty="0" smtClean="0">
                <a:solidFill>
                  <a:prstClr val="black"/>
                </a:solidFill>
              </a:rPr>
              <a:t> </a:t>
            </a:r>
            <a:r>
              <a:rPr lang="de-DE" i="1" dirty="0" err="1" smtClean="0">
                <a:solidFill>
                  <a:prstClr val="black"/>
                </a:solidFill>
              </a:rPr>
              <a:t>for</a:t>
            </a:r>
            <a:r>
              <a:rPr lang="de-DE" i="1" dirty="0" smtClean="0">
                <a:solidFill>
                  <a:prstClr val="black"/>
                </a:solidFill>
              </a:rPr>
              <a:t> </a:t>
            </a:r>
            <a:r>
              <a:rPr lang="de-DE" i="1" dirty="0" err="1" smtClean="0">
                <a:solidFill>
                  <a:prstClr val="black"/>
                </a:solidFill>
              </a:rPr>
              <a:t>information</a:t>
            </a:r>
            <a:r>
              <a:rPr lang="de-DE" i="1" dirty="0" smtClean="0">
                <a:solidFill>
                  <a:prstClr val="black"/>
                </a:solidFill>
              </a:rPr>
              <a:t> </a:t>
            </a:r>
            <a:r>
              <a:rPr lang="de-DE" i="1" dirty="0" err="1" smtClean="0">
                <a:solidFill>
                  <a:prstClr val="black"/>
                </a:solidFill>
              </a:rPr>
              <a:t>and</a:t>
            </a:r>
            <a:r>
              <a:rPr lang="de-DE" i="1" dirty="0" smtClean="0">
                <a:solidFill>
                  <a:prstClr val="black"/>
                </a:solidFill>
              </a:rPr>
              <a:t> </a:t>
            </a:r>
            <a:r>
              <a:rPr lang="de-DE" i="1" dirty="0" err="1" smtClean="0">
                <a:solidFill>
                  <a:prstClr val="black"/>
                </a:solidFill>
              </a:rPr>
              <a:t>consulting</a:t>
            </a:r>
            <a:r>
              <a:rPr lang="de-DE" i="1" dirty="0" smtClean="0">
                <a:solidFill>
                  <a:prstClr val="black"/>
                </a:solidFill>
              </a:rPr>
              <a:t> on </a:t>
            </a:r>
            <a:r>
              <a:rPr lang="de-DE" i="1" dirty="0" err="1" smtClean="0">
                <a:solidFill>
                  <a:prstClr val="black"/>
                </a:solidFill>
              </a:rPr>
              <a:t>mineral</a:t>
            </a:r>
            <a:r>
              <a:rPr lang="de-DE" i="1" dirty="0" smtClean="0">
                <a:solidFill>
                  <a:prstClr val="black"/>
                </a:solidFill>
              </a:rPr>
              <a:t> </a:t>
            </a:r>
            <a:r>
              <a:rPr lang="de-DE" i="1" dirty="0" err="1" smtClean="0">
                <a:solidFill>
                  <a:prstClr val="black"/>
                </a:solidFill>
              </a:rPr>
              <a:t>and</a:t>
            </a:r>
            <a:r>
              <a:rPr lang="de-DE" i="1" dirty="0" smtClean="0">
                <a:solidFill>
                  <a:prstClr val="black"/>
                </a:solidFill>
              </a:rPr>
              <a:t> </a:t>
            </a:r>
            <a:r>
              <a:rPr lang="de-DE" i="1" dirty="0" err="1" smtClean="0">
                <a:solidFill>
                  <a:prstClr val="black"/>
                </a:solidFill>
              </a:rPr>
              <a:t>energy</a:t>
            </a:r>
            <a:r>
              <a:rPr lang="de-DE" i="1" dirty="0" smtClean="0">
                <a:solidFill>
                  <a:prstClr val="black"/>
                </a:solidFill>
              </a:rPr>
              <a:t> </a:t>
            </a:r>
            <a:r>
              <a:rPr lang="de-DE" i="1" dirty="0" err="1" smtClean="0">
                <a:solidFill>
                  <a:prstClr val="black"/>
                </a:solidFill>
              </a:rPr>
              <a:t>resources</a:t>
            </a:r>
            <a:r>
              <a:rPr lang="de-DE" i="1" dirty="0" smtClean="0">
                <a:solidFill>
                  <a:prstClr val="black"/>
                </a:solidFill>
              </a:rPr>
              <a:t> </a:t>
            </a:r>
            <a:r>
              <a:rPr lang="de-DE" i="1" dirty="0" err="1" smtClean="0">
                <a:solidFill>
                  <a:prstClr val="black"/>
                </a:solidFill>
              </a:rPr>
              <a:t>for</a:t>
            </a:r>
            <a:r>
              <a:rPr lang="de-DE" i="1" dirty="0" smtClean="0">
                <a:solidFill>
                  <a:prstClr val="black"/>
                </a:solidFill>
              </a:rPr>
              <a:t> </a:t>
            </a:r>
            <a:r>
              <a:rPr lang="de-DE" i="1" dirty="0" err="1" smtClean="0">
                <a:solidFill>
                  <a:prstClr val="black"/>
                </a:solidFill>
              </a:rPr>
              <a:t>the</a:t>
            </a:r>
            <a:r>
              <a:rPr lang="de-DE" i="1" dirty="0" smtClean="0">
                <a:solidFill>
                  <a:prstClr val="black"/>
                </a:solidFill>
              </a:rPr>
              <a:t> German Economy.“</a:t>
            </a:r>
            <a:endParaRPr lang="de-DE" i="1" dirty="0">
              <a:solidFill>
                <a:prstClr val="black"/>
              </a:solidFill>
            </a:endParaRPr>
          </a:p>
        </p:txBody>
      </p:sp>
    </p:spTree>
    <p:extLst>
      <p:ext uri="{BB962C8B-B14F-4D97-AF65-F5344CB8AC3E}">
        <p14:creationId xmlns:p14="http://schemas.microsoft.com/office/powerpoint/2010/main" val="218472655"/>
      </p:ext>
    </p:extLst>
  </p:cSld>
  <p:clrMapOvr>
    <a:masterClrMapping/>
  </p:clrMapOvr>
  <p:transition spd="slow"/>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9"/>
          <p:cNvSpPr txBox="1"/>
          <p:nvPr/>
        </p:nvSpPr>
        <p:spPr>
          <a:xfrm>
            <a:off x="323850" y="627534"/>
            <a:ext cx="3888110" cy="1200329"/>
          </a:xfrm>
          <a:prstGeom prst="rect">
            <a:avLst/>
          </a:prstGeom>
          <a:solidFill>
            <a:schemeClr val="bg1">
              <a:lumMod val="95000"/>
            </a:schemeClr>
          </a:solidFill>
        </p:spPr>
        <p:txBody>
          <a:bodyPr wrap="square" rtlCol="0">
            <a:spAutoFit/>
          </a:bodyPr>
          <a:lstStyle/>
          <a:p>
            <a:pPr defTabSz="914400" fontAlgn="base">
              <a:spcBef>
                <a:spcPct val="0"/>
              </a:spcBef>
              <a:spcAft>
                <a:spcPct val="0"/>
              </a:spcAft>
            </a:pPr>
            <a:r>
              <a:rPr lang="de-DE" i="1" dirty="0" smtClean="0">
                <a:solidFill>
                  <a:prstClr val="black"/>
                </a:solidFill>
              </a:rPr>
              <a:t>„Research, </a:t>
            </a:r>
            <a:r>
              <a:rPr lang="de-DE" i="1" dirty="0" err="1" smtClean="0">
                <a:solidFill>
                  <a:prstClr val="black"/>
                </a:solidFill>
              </a:rPr>
              <a:t>development</a:t>
            </a:r>
            <a:r>
              <a:rPr lang="de-DE" i="1" dirty="0" smtClean="0">
                <a:solidFill>
                  <a:prstClr val="black"/>
                </a:solidFill>
              </a:rPr>
              <a:t>, </a:t>
            </a:r>
            <a:r>
              <a:rPr lang="de-DE" i="1" dirty="0" err="1" smtClean="0">
                <a:solidFill>
                  <a:prstClr val="black"/>
                </a:solidFill>
              </a:rPr>
              <a:t>testing</a:t>
            </a:r>
            <a:r>
              <a:rPr lang="de-DE" i="1" dirty="0" smtClean="0">
                <a:solidFill>
                  <a:prstClr val="black"/>
                </a:solidFill>
              </a:rPr>
              <a:t> </a:t>
            </a:r>
            <a:r>
              <a:rPr lang="de-DE" i="1" dirty="0" err="1" smtClean="0">
                <a:solidFill>
                  <a:prstClr val="black"/>
                </a:solidFill>
              </a:rPr>
              <a:t>and</a:t>
            </a:r>
            <a:r>
              <a:rPr lang="de-DE" i="1" dirty="0" smtClean="0">
                <a:solidFill>
                  <a:prstClr val="black"/>
                </a:solidFill>
              </a:rPr>
              <a:t> </a:t>
            </a:r>
            <a:r>
              <a:rPr lang="de-DE" i="1" dirty="0" err="1" smtClean="0">
                <a:solidFill>
                  <a:prstClr val="black"/>
                </a:solidFill>
              </a:rPr>
              <a:t>use</a:t>
            </a:r>
            <a:r>
              <a:rPr lang="de-DE" i="1" dirty="0" smtClean="0">
                <a:solidFill>
                  <a:prstClr val="black"/>
                </a:solidFill>
              </a:rPr>
              <a:t> </a:t>
            </a:r>
            <a:r>
              <a:rPr lang="de-DE" i="1" dirty="0" err="1" smtClean="0">
                <a:solidFill>
                  <a:prstClr val="black"/>
                </a:solidFill>
              </a:rPr>
              <a:t>of</a:t>
            </a:r>
            <a:r>
              <a:rPr lang="de-DE" i="1" dirty="0" smtClean="0">
                <a:solidFill>
                  <a:prstClr val="black"/>
                </a:solidFill>
              </a:rPr>
              <a:t> regenerative </a:t>
            </a:r>
            <a:r>
              <a:rPr lang="de-DE" i="1" dirty="0" err="1" smtClean="0">
                <a:solidFill>
                  <a:prstClr val="black"/>
                </a:solidFill>
              </a:rPr>
              <a:t>fuels</a:t>
            </a:r>
            <a:r>
              <a:rPr lang="de-DE" i="1" dirty="0" smtClean="0">
                <a:solidFill>
                  <a:prstClr val="black"/>
                </a:solidFill>
              </a:rPr>
              <a:t> </a:t>
            </a:r>
            <a:r>
              <a:rPr lang="de-DE" i="1" dirty="0" err="1" smtClean="0">
                <a:solidFill>
                  <a:prstClr val="black"/>
                </a:solidFill>
              </a:rPr>
              <a:t>should</a:t>
            </a:r>
            <a:r>
              <a:rPr lang="de-DE" i="1" dirty="0" smtClean="0">
                <a:solidFill>
                  <a:prstClr val="black"/>
                </a:solidFill>
              </a:rPr>
              <a:t> </a:t>
            </a:r>
            <a:r>
              <a:rPr lang="de-DE" i="1" dirty="0" err="1" smtClean="0">
                <a:solidFill>
                  <a:prstClr val="black"/>
                </a:solidFill>
              </a:rPr>
              <a:t>be</a:t>
            </a:r>
            <a:r>
              <a:rPr lang="de-DE" i="1" dirty="0" smtClean="0">
                <a:solidFill>
                  <a:prstClr val="black"/>
                </a:solidFill>
              </a:rPr>
              <a:t> </a:t>
            </a:r>
            <a:r>
              <a:rPr lang="de-DE" i="1" dirty="0" err="1" smtClean="0">
                <a:solidFill>
                  <a:prstClr val="black"/>
                </a:solidFill>
              </a:rPr>
              <a:t>accelerated</a:t>
            </a:r>
            <a:r>
              <a:rPr lang="de-DE" i="1" dirty="0" smtClean="0">
                <a:solidFill>
                  <a:prstClr val="black"/>
                </a:solidFill>
              </a:rPr>
              <a:t> </a:t>
            </a:r>
            <a:r>
              <a:rPr lang="de-DE" i="1" dirty="0" err="1" smtClean="0">
                <a:solidFill>
                  <a:prstClr val="black"/>
                </a:solidFill>
              </a:rPr>
              <a:t>for</a:t>
            </a:r>
            <a:r>
              <a:rPr lang="de-DE" i="1" dirty="0" smtClean="0">
                <a:solidFill>
                  <a:prstClr val="black"/>
                </a:solidFill>
              </a:rPr>
              <a:t> </a:t>
            </a:r>
            <a:r>
              <a:rPr lang="de-DE" i="1" dirty="0" err="1" smtClean="0">
                <a:solidFill>
                  <a:prstClr val="black"/>
                </a:solidFill>
              </a:rPr>
              <a:t>aviation</a:t>
            </a:r>
            <a:r>
              <a:rPr lang="de-DE" i="1" dirty="0" smtClean="0">
                <a:solidFill>
                  <a:prstClr val="black"/>
                </a:solidFill>
              </a:rPr>
              <a:t>. (German Energy Agency (</a:t>
            </a:r>
            <a:r>
              <a:rPr lang="de-DE" i="1" dirty="0" err="1" smtClean="0">
                <a:solidFill>
                  <a:prstClr val="black"/>
                </a:solidFill>
              </a:rPr>
              <a:t>dena</a:t>
            </a:r>
            <a:r>
              <a:rPr lang="de-DE" i="1" dirty="0" smtClean="0">
                <a:solidFill>
                  <a:prstClr val="black"/>
                </a:solidFill>
              </a:rPr>
              <a:t>), 2011) </a:t>
            </a:r>
            <a:endParaRPr lang="de-DE" i="1" dirty="0">
              <a:solidFill>
                <a:prstClr val="black"/>
              </a:solidFill>
            </a:endParaRPr>
          </a:p>
        </p:txBody>
      </p:sp>
      <p:pic>
        <p:nvPicPr>
          <p:cNvPr id="6146"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7404" y="627534"/>
            <a:ext cx="4700587" cy="4216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Grafik 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29551" y="51470"/>
            <a:ext cx="1114425" cy="40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p:nvSpPr>
        <p:spPr bwMode="auto">
          <a:xfrm>
            <a:off x="539750" y="-20538"/>
            <a:ext cx="6121400" cy="573881"/>
          </a:xfrm>
          <a:prstGeom prst="rect">
            <a:avLst/>
          </a:prstGeom>
          <a:noFill/>
          <a:ln w="9525">
            <a:noFill/>
            <a:miter lim="800000"/>
            <a:headEnd/>
            <a:tailEnd/>
          </a:ln>
        </p:spPr>
        <p:txBody>
          <a:bodyPr anchor="ctr"/>
          <a:lstStyle/>
          <a:p>
            <a:pPr defTabSz="914400" fontAlgn="base">
              <a:spcBef>
                <a:spcPct val="0"/>
              </a:spcBef>
              <a:spcAft>
                <a:spcPct val="0"/>
              </a:spcAft>
              <a:defRPr/>
            </a:pPr>
            <a:r>
              <a:rPr lang="de-DE" sz="2400" b="1" dirty="0" err="1" smtClean="0">
                <a:solidFill>
                  <a:srgbClr val="0064AE"/>
                </a:solidFill>
                <a:cs typeface="Arial" pitchFamily="34" charset="0"/>
              </a:rPr>
              <a:t>Biorefineries</a:t>
            </a:r>
            <a:r>
              <a:rPr lang="de-DE" sz="2400" b="1" dirty="0" smtClean="0">
                <a:solidFill>
                  <a:srgbClr val="0064AE"/>
                </a:solidFill>
                <a:cs typeface="Arial" pitchFamily="34" charset="0"/>
              </a:rPr>
              <a:t> – </a:t>
            </a:r>
            <a:r>
              <a:rPr lang="de-DE" sz="2400" b="1" dirty="0" err="1" smtClean="0">
                <a:solidFill>
                  <a:srgbClr val="0064AE"/>
                </a:solidFill>
                <a:cs typeface="Arial" pitchFamily="34" charset="0"/>
              </a:rPr>
              <a:t>Concepts</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for</a:t>
            </a:r>
            <a:r>
              <a:rPr lang="de-DE" sz="2400" b="1" dirty="0" smtClean="0">
                <a:solidFill>
                  <a:srgbClr val="0064AE"/>
                </a:solidFill>
                <a:cs typeface="Arial" pitchFamily="34" charset="0"/>
              </a:rPr>
              <a:t> Germany</a:t>
            </a:r>
            <a:endParaRPr lang="de-DE" sz="2400" b="1" dirty="0">
              <a:solidFill>
                <a:srgbClr val="0064AE"/>
              </a:solidFill>
              <a:cs typeface="Arial" pitchFamily="34" charset="0"/>
            </a:endParaRPr>
          </a:p>
        </p:txBody>
      </p:sp>
      <p:cxnSp>
        <p:nvCxnSpPr>
          <p:cNvPr id="30" name="Gerade Verbindung 29"/>
          <p:cNvCxnSpPr/>
          <p:nvPr/>
        </p:nvCxnSpPr>
        <p:spPr>
          <a:xfrm>
            <a:off x="0" y="555526"/>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sp>
        <p:nvSpPr>
          <p:cNvPr id="6" name="Rechteck 30"/>
          <p:cNvSpPr>
            <a:spLocks noChangeArrowheads="1"/>
          </p:cNvSpPr>
          <p:nvPr/>
        </p:nvSpPr>
        <p:spPr bwMode="auto">
          <a:xfrm>
            <a:off x="323528" y="1794524"/>
            <a:ext cx="3888432" cy="322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588" lvl="6" defTabSz="914400" eaLnBrk="0" hangingPunct="0">
              <a:spcAft>
                <a:spcPct val="20000"/>
              </a:spcAft>
              <a:defRPr/>
            </a:pPr>
            <a:r>
              <a:rPr lang="de-DE" altLang="zh-HK" b="1" u="sng" dirty="0" smtClean="0">
                <a:solidFill>
                  <a:prstClr val="black"/>
                </a:solidFill>
              </a:rPr>
              <a:t>IMPORTANT:</a:t>
            </a:r>
            <a:endParaRPr lang="de-DE" altLang="zh-HK" b="1" u="sng" dirty="0">
              <a:solidFill>
                <a:prstClr val="black"/>
              </a:solidFill>
            </a:endParaRPr>
          </a:p>
          <a:p>
            <a:pPr marL="1588" lvl="6" defTabSz="914400" eaLnBrk="0" hangingPunct="0">
              <a:spcAft>
                <a:spcPct val="20000"/>
              </a:spcAft>
              <a:defRPr/>
            </a:pPr>
            <a:r>
              <a:rPr lang="de-DE" altLang="zh-HK" sz="1400" b="1" u="sng" dirty="0" smtClean="0">
                <a:solidFill>
                  <a:prstClr val="black"/>
                </a:solidFill>
              </a:rPr>
              <a:t>Study on German </a:t>
            </a:r>
            <a:r>
              <a:rPr lang="de-DE" altLang="zh-HK" sz="1400" b="1" u="sng" dirty="0" err="1" smtClean="0">
                <a:solidFill>
                  <a:prstClr val="black"/>
                </a:solidFill>
              </a:rPr>
              <a:t>biorefining</a:t>
            </a:r>
            <a:r>
              <a:rPr lang="de-DE" altLang="zh-HK" sz="1400" b="1" u="sng" dirty="0" smtClean="0">
                <a:solidFill>
                  <a:prstClr val="black"/>
                </a:solidFill>
              </a:rPr>
              <a:t> </a:t>
            </a:r>
            <a:r>
              <a:rPr lang="de-DE" altLang="zh-HK" sz="1400" b="1" u="sng" dirty="0" err="1" smtClean="0">
                <a:solidFill>
                  <a:prstClr val="black"/>
                </a:solidFill>
              </a:rPr>
              <a:t>options</a:t>
            </a:r>
            <a:endParaRPr lang="de-DE" altLang="zh-HK" sz="1400" b="1" u="sng" dirty="0">
              <a:solidFill>
                <a:prstClr val="black"/>
              </a:solidFill>
            </a:endParaRPr>
          </a:p>
          <a:p>
            <a:pPr marL="287338" lvl="6" indent="-285750" defTabSz="914400" eaLnBrk="0" hangingPunct="0">
              <a:spcAft>
                <a:spcPct val="20000"/>
              </a:spcAft>
              <a:buFont typeface="Arial" pitchFamily="34" charset="0"/>
              <a:buChar char="•"/>
              <a:defRPr/>
            </a:pPr>
            <a:r>
              <a:rPr lang="de-DE" altLang="zh-HK" sz="1400" dirty="0" smtClean="0">
                <a:solidFill>
                  <a:prstClr val="black"/>
                </a:solidFill>
              </a:rPr>
              <a:t>Analysis </a:t>
            </a:r>
            <a:r>
              <a:rPr lang="de-DE" altLang="zh-HK" sz="1400" dirty="0" err="1" smtClean="0">
                <a:solidFill>
                  <a:prstClr val="black"/>
                </a:solidFill>
              </a:rPr>
              <a:t>of</a:t>
            </a:r>
            <a:r>
              <a:rPr lang="de-DE" altLang="zh-HK" sz="1400" dirty="0" smtClean="0">
                <a:solidFill>
                  <a:prstClr val="black"/>
                </a:solidFill>
              </a:rPr>
              <a:t> all German </a:t>
            </a:r>
            <a:r>
              <a:rPr lang="de-DE" altLang="zh-HK" sz="1400" dirty="0" err="1" smtClean="0">
                <a:solidFill>
                  <a:prstClr val="black"/>
                </a:solidFill>
              </a:rPr>
              <a:t>refineries</a:t>
            </a:r>
            <a:r>
              <a:rPr lang="de-DE" altLang="zh-HK" sz="1400" dirty="0" smtClean="0">
                <a:solidFill>
                  <a:prstClr val="black"/>
                </a:solidFill>
              </a:rPr>
              <a:t> </a:t>
            </a:r>
            <a:r>
              <a:rPr lang="de-DE" altLang="zh-HK" sz="1400" dirty="0" err="1" smtClean="0">
                <a:solidFill>
                  <a:prstClr val="black"/>
                </a:solidFill>
              </a:rPr>
              <a:t>regarding</a:t>
            </a:r>
            <a:r>
              <a:rPr lang="de-DE" altLang="zh-HK" sz="1400" dirty="0" smtClean="0">
                <a:solidFill>
                  <a:prstClr val="black"/>
                </a:solidFill>
              </a:rPr>
              <a:t> </a:t>
            </a:r>
            <a:r>
              <a:rPr lang="de-DE" altLang="zh-HK" sz="1400" dirty="0" err="1" smtClean="0">
                <a:solidFill>
                  <a:prstClr val="black"/>
                </a:solidFill>
              </a:rPr>
              <a:t>suitability</a:t>
            </a:r>
            <a:r>
              <a:rPr lang="de-DE" altLang="zh-HK" sz="1400" dirty="0" smtClean="0">
                <a:solidFill>
                  <a:prstClr val="black"/>
                </a:solidFill>
              </a:rPr>
              <a:t> </a:t>
            </a:r>
            <a:r>
              <a:rPr lang="de-DE" altLang="zh-HK" sz="1400" dirty="0" err="1" smtClean="0">
                <a:solidFill>
                  <a:prstClr val="black"/>
                </a:solidFill>
              </a:rPr>
              <a:t>for</a:t>
            </a:r>
            <a:r>
              <a:rPr lang="de-DE" altLang="zh-HK" sz="1400" dirty="0" smtClean="0">
                <a:solidFill>
                  <a:prstClr val="black"/>
                </a:solidFill>
              </a:rPr>
              <a:t> </a:t>
            </a:r>
            <a:r>
              <a:rPr lang="de-DE" altLang="zh-HK" sz="1400" dirty="0" err="1" smtClean="0">
                <a:solidFill>
                  <a:prstClr val="black"/>
                </a:solidFill>
              </a:rPr>
              <a:t>upgrading</a:t>
            </a:r>
            <a:r>
              <a:rPr lang="de-DE" altLang="zh-HK" sz="1400" dirty="0" smtClean="0">
                <a:solidFill>
                  <a:prstClr val="black"/>
                </a:solidFill>
              </a:rPr>
              <a:t> </a:t>
            </a:r>
            <a:r>
              <a:rPr lang="de-DE" altLang="zh-HK" sz="1400" dirty="0" err="1" smtClean="0">
                <a:solidFill>
                  <a:prstClr val="black"/>
                </a:solidFill>
              </a:rPr>
              <a:t>or</a:t>
            </a:r>
            <a:r>
              <a:rPr lang="de-DE" altLang="zh-HK" sz="1400" dirty="0" smtClean="0">
                <a:solidFill>
                  <a:prstClr val="black"/>
                </a:solidFill>
              </a:rPr>
              <a:t> </a:t>
            </a:r>
            <a:r>
              <a:rPr lang="de-DE" altLang="zh-HK" sz="1400" dirty="0" err="1" smtClean="0">
                <a:solidFill>
                  <a:prstClr val="black"/>
                </a:solidFill>
              </a:rPr>
              <a:t>extension</a:t>
            </a:r>
            <a:r>
              <a:rPr lang="de-DE" altLang="zh-HK" sz="1400" dirty="0" smtClean="0">
                <a:solidFill>
                  <a:prstClr val="black"/>
                </a:solidFill>
              </a:rPr>
              <a:t> </a:t>
            </a:r>
            <a:r>
              <a:rPr lang="de-DE" altLang="zh-HK" sz="1400" dirty="0" err="1" smtClean="0">
                <a:solidFill>
                  <a:prstClr val="black"/>
                </a:solidFill>
              </a:rPr>
              <a:t>into</a:t>
            </a:r>
            <a:r>
              <a:rPr lang="de-DE" altLang="zh-HK" sz="1400" dirty="0" smtClean="0">
                <a:solidFill>
                  <a:prstClr val="black"/>
                </a:solidFill>
              </a:rPr>
              <a:t> </a:t>
            </a:r>
            <a:r>
              <a:rPr lang="de-DE" altLang="zh-HK" sz="1400" dirty="0" err="1" smtClean="0">
                <a:solidFill>
                  <a:prstClr val="black"/>
                </a:solidFill>
              </a:rPr>
              <a:t>biorefineries</a:t>
            </a:r>
            <a:r>
              <a:rPr lang="de-DE" altLang="zh-HK" sz="1400" dirty="0" smtClean="0">
                <a:solidFill>
                  <a:prstClr val="black"/>
                </a:solidFill>
              </a:rPr>
              <a:t> (</a:t>
            </a:r>
            <a:r>
              <a:rPr lang="de-DE" altLang="zh-HK" sz="1400" dirty="0">
                <a:solidFill>
                  <a:prstClr val="black"/>
                </a:solidFill>
              </a:rPr>
              <a:t>HEFA, </a:t>
            </a:r>
            <a:r>
              <a:rPr lang="de-DE" altLang="zh-HK" sz="1400" dirty="0" err="1">
                <a:solidFill>
                  <a:prstClr val="black"/>
                </a:solidFill>
              </a:rPr>
              <a:t>BioGtL</a:t>
            </a:r>
            <a:r>
              <a:rPr lang="de-DE" altLang="zh-HK" sz="1400" dirty="0">
                <a:solidFill>
                  <a:prstClr val="black"/>
                </a:solidFill>
              </a:rPr>
              <a:t>, </a:t>
            </a:r>
            <a:r>
              <a:rPr lang="de-DE" altLang="zh-HK" sz="1400" dirty="0" smtClean="0">
                <a:solidFill>
                  <a:prstClr val="black"/>
                </a:solidFill>
              </a:rPr>
              <a:t>Co-Processing)</a:t>
            </a:r>
            <a:endParaRPr lang="de-DE" altLang="zh-HK" sz="1400" dirty="0">
              <a:solidFill>
                <a:prstClr val="black"/>
              </a:solidFill>
            </a:endParaRPr>
          </a:p>
          <a:p>
            <a:pPr marL="287338" lvl="6" indent="-285750" defTabSz="914400" eaLnBrk="0" hangingPunct="0">
              <a:spcAft>
                <a:spcPct val="20000"/>
              </a:spcAft>
              <a:buFont typeface="Arial" pitchFamily="34" charset="0"/>
              <a:buChar char="•"/>
              <a:defRPr/>
            </a:pPr>
            <a:r>
              <a:rPr lang="de-DE" altLang="zh-HK" sz="1400" dirty="0" smtClean="0">
                <a:solidFill>
                  <a:prstClr val="black"/>
                </a:solidFill>
              </a:rPr>
              <a:t>Evaluation </a:t>
            </a:r>
            <a:r>
              <a:rPr lang="de-DE" altLang="zh-HK" sz="1400" dirty="0" err="1" smtClean="0">
                <a:solidFill>
                  <a:prstClr val="black"/>
                </a:solidFill>
              </a:rPr>
              <a:t>of</a:t>
            </a:r>
            <a:r>
              <a:rPr lang="de-DE" altLang="zh-HK" sz="1400" dirty="0" smtClean="0">
                <a:solidFill>
                  <a:prstClr val="black"/>
                </a:solidFill>
              </a:rPr>
              <a:t> </a:t>
            </a:r>
            <a:r>
              <a:rPr lang="de-DE" altLang="zh-HK" sz="1400" dirty="0" err="1" smtClean="0">
                <a:solidFill>
                  <a:prstClr val="black"/>
                </a:solidFill>
              </a:rPr>
              <a:t>economic</a:t>
            </a:r>
            <a:r>
              <a:rPr lang="de-DE" altLang="zh-HK" sz="1400" dirty="0" smtClean="0">
                <a:solidFill>
                  <a:prstClr val="black"/>
                </a:solidFill>
              </a:rPr>
              <a:t> </a:t>
            </a:r>
            <a:r>
              <a:rPr lang="de-DE" altLang="zh-HK" sz="1400" dirty="0" err="1" smtClean="0">
                <a:solidFill>
                  <a:prstClr val="black"/>
                </a:solidFill>
              </a:rPr>
              <a:t>benefit</a:t>
            </a:r>
            <a:r>
              <a:rPr lang="de-DE" altLang="zh-HK" sz="1400" dirty="0" smtClean="0">
                <a:solidFill>
                  <a:prstClr val="black"/>
                </a:solidFill>
              </a:rPr>
              <a:t> </a:t>
            </a:r>
            <a:r>
              <a:rPr lang="de-DE" altLang="zh-HK" sz="1400" dirty="0" err="1" smtClean="0">
                <a:solidFill>
                  <a:prstClr val="black"/>
                </a:solidFill>
              </a:rPr>
              <a:t>of</a:t>
            </a:r>
            <a:r>
              <a:rPr lang="de-DE" altLang="zh-HK" sz="1400" dirty="0" smtClean="0">
                <a:solidFill>
                  <a:prstClr val="black"/>
                </a:solidFill>
              </a:rPr>
              <a:t> </a:t>
            </a:r>
            <a:r>
              <a:rPr lang="de-DE" altLang="zh-HK" sz="1400" dirty="0" err="1" smtClean="0">
                <a:solidFill>
                  <a:prstClr val="black"/>
                </a:solidFill>
              </a:rPr>
              <a:t>domestic</a:t>
            </a:r>
            <a:r>
              <a:rPr lang="de-DE" altLang="zh-HK" sz="1400" dirty="0" smtClean="0">
                <a:solidFill>
                  <a:prstClr val="black"/>
                </a:solidFill>
              </a:rPr>
              <a:t> </a:t>
            </a:r>
            <a:r>
              <a:rPr lang="de-DE" altLang="zh-HK" sz="1400" dirty="0" err="1" smtClean="0">
                <a:solidFill>
                  <a:prstClr val="black"/>
                </a:solidFill>
              </a:rPr>
              <a:t>biorefineries</a:t>
            </a:r>
            <a:r>
              <a:rPr lang="de-DE" altLang="zh-HK" sz="1400" dirty="0" smtClean="0">
                <a:solidFill>
                  <a:prstClr val="black"/>
                </a:solidFill>
              </a:rPr>
              <a:t>, incl. </a:t>
            </a:r>
            <a:r>
              <a:rPr lang="de-DE" altLang="zh-HK" sz="1400" dirty="0" err="1" smtClean="0">
                <a:solidFill>
                  <a:prstClr val="black"/>
                </a:solidFill>
              </a:rPr>
              <a:t>export</a:t>
            </a:r>
            <a:r>
              <a:rPr lang="de-DE" altLang="zh-HK" sz="1400" dirty="0" smtClean="0">
                <a:solidFill>
                  <a:prstClr val="black"/>
                </a:solidFill>
              </a:rPr>
              <a:t> </a:t>
            </a:r>
            <a:r>
              <a:rPr lang="de-DE" altLang="zh-HK" sz="1400" dirty="0" err="1" smtClean="0">
                <a:solidFill>
                  <a:prstClr val="black"/>
                </a:solidFill>
              </a:rPr>
              <a:t>opportunities</a:t>
            </a:r>
            <a:r>
              <a:rPr lang="de-DE" altLang="zh-HK" sz="1400" dirty="0" smtClean="0">
                <a:solidFill>
                  <a:prstClr val="black"/>
                </a:solidFill>
              </a:rPr>
              <a:t> </a:t>
            </a:r>
            <a:r>
              <a:rPr lang="de-DE" altLang="zh-HK" sz="1400" dirty="0" err="1" smtClean="0">
                <a:solidFill>
                  <a:prstClr val="black"/>
                </a:solidFill>
              </a:rPr>
              <a:t>for</a:t>
            </a:r>
            <a:r>
              <a:rPr lang="de-DE" altLang="zh-HK" sz="1400" dirty="0" smtClean="0">
                <a:solidFill>
                  <a:prstClr val="black"/>
                </a:solidFill>
              </a:rPr>
              <a:t> plant </a:t>
            </a:r>
            <a:r>
              <a:rPr lang="de-DE" altLang="zh-HK" sz="1400" dirty="0" err="1" smtClean="0">
                <a:solidFill>
                  <a:prstClr val="black"/>
                </a:solidFill>
              </a:rPr>
              <a:t>manufacturers</a:t>
            </a:r>
            <a:r>
              <a:rPr lang="de-DE" altLang="zh-HK" sz="1400" dirty="0" smtClean="0">
                <a:solidFill>
                  <a:prstClr val="black"/>
                </a:solidFill>
              </a:rPr>
              <a:t> </a:t>
            </a:r>
            <a:r>
              <a:rPr lang="de-DE" altLang="zh-HK" sz="1400" dirty="0" err="1" smtClean="0">
                <a:solidFill>
                  <a:prstClr val="black"/>
                </a:solidFill>
              </a:rPr>
              <a:t>and</a:t>
            </a:r>
            <a:r>
              <a:rPr lang="de-DE" altLang="zh-HK" sz="1400" dirty="0" smtClean="0">
                <a:solidFill>
                  <a:prstClr val="black"/>
                </a:solidFill>
              </a:rPr>
              <a:t> </a:t>
            </a:r>
            <a:r>
              <a:rPr lang="de-DE" altLang="zh-HK" sz="1400" dirty="0" err="1" smtClean="0">
                <a:solidFill>
                  <a:prstClr val="black"/>
                </a:solidFill>
              </a:rPr>
              <a:t>reduction</a:t>
            </a:r>
            <a:r>
              <a:rPr lang="de-DE" altLang="zh-HK" sz="1400" dirty="0" smtClean="0">
                <a:solidFill>
                  <a:prstClr val="black"/>
                </a:solidFill>
              </a:rPr>
              <a:t> </a:t>
            </a:r>
            <a:r>
              <a:rPr lang="de-DE" altLang="zh-HK" sz="1400" dirty="0" err="1" smtClean="0">
                <a:solidFill>
                  <a:prstClr val="black"/>
                </a:solidFill>
              </a:rPr>
              <a:t>of</a:t>
            </a:r>
            <a:r>
              <a:rPr lang="de-DE" altLang="zh-HK" sz="1400" dirty="0" smtClean="0">
                <a:solidFill>
                  <a:prstClr val="black"/>
                </a:solidFill>
              </a:rPr>
              <a:t> </a:t>
            </a:r>
            <a:r>
              <a:rPr lang="de-DE" altLang="zh-HK" sz="1400" dirty="0" err="1" smtClean="0">
                <a:solidFill>
                  <a:prstClr val="black"/>
                </a:solidFill>
              </a:rPr>
              <a:t>dependancy</a:t>
            </a:r>
            <a:r>
              <a:rPr lang="de-DE" altLang="zh-HK" sz="1400" dirty="0" smtClean="0">
                <a:solidFill>
                  <a:prstClr val="black"/>
                </a:solidFill>
              </a:rPr>
              <a:t> on </a:t>
            </a:r>
            <a:r>
              <a:rPr lang="de-DE" altLang="zh-HK" sz="1400" dirty="0" err="1" smtClean="0">
                <a:solidFill>
                  <a:prstClr val="black"/>
                </a:solidFill>
              </a:rPr>
              <a:t>product</a:t>
            </a:r>
            <a:r>
              <a:rPr lang="de-DE" altLang="zh-HK" sz="1400" dirty="0" smtClean="0">
                <a:solidFill>
                  <a:prstClr val="black"/>
                </a:solidFill>
              </a:rPr>
              <a:t> </a:t>
            </a:r>
            <a:r>
              <a:rPr lang="de-DE" altLang="zh-HK" sz="1400" dirty="0" err="1" smtClean="0">
                <a:solidFill>
                  <a:prstClr val="black"/>
                </a:solidFill>
              </a:rPr>
              <a:t>imports</a:t>
            </a:r>
            <a:r>
              <a:rPr lang="de-DE" altLang="zh-HK" sz="1400" dirty="0" smtClean="0">
                <a:solidFill>
                  <a:prstClr val="black"/>
                </a:solidFill>
              </a:rPr>
              <a:t> </a:t>
            </a:r>
            <a:endParaRPr lang="de-DE" altLang="zh-HK" sz="1400" dirty="0">
              <a:solidFill>
                <a:prstClr val="black"/>
              </a:solidFill>
            </a:endParaRPr>
          </a:p>
          <a:p>
            <a:pPr marL="287338" lvl="6" indent="-285750" defTabSz="914400" eaLnBrk="0" hangingPunct="0">
              <a:spcAft>
                <a:spcPct val="20000"/>
              </a:spcAft>
              <a:buFont typeface="Arial" pitchFamily="34" charset="0"/>
              <a:buChar char="•"/>
              <a:defRPr/>
            </a:pPr>
            <a:r>
              <a:rPr lang="de-DE" altLang="zh-HK" sz="1400" dirty="0" err="1" smtClean="0">
                <a:solidFill>
                  <a:prstClr val="black"/>
                </a:solidFill>
              </a:rPr>
              <a:t>Suggestions</a:t>
            </a:r>
            <a:r>
              <a:rPr lang="de-DE" altLang="zh-HK" sz="1400" dirty="0" smtClean="0">
                <a:solidFill>
                  <a:prstClr val="black"/>
                </a:solidFill>
              </a:rPr>
              <a:t> </a:t>
            </a:r>
            <a:r>
              <a:rPr lang="de-DE" altLang="zh-HK" sz="1400" dirty="0" err="1" smtClean="0">
                <a:solidFill>
                  <a:prstClr val="black"/>
                </a:solidFill>
              </a:rPr>
              <a:t>for</a:t>
            </a:r>
            <a:r>
              <a:rPr lang="de-DE" altLang="zh-HK" sz="1400" dirty="0" smtClean="0">
                <a:solidFill>
                  <a:prstClr val="black"/>
                </a:solidFill>
              </a:rPr>
              <a:t> </a:t>
            </a:r>
            <a:r>
              <a:rPr lang="de-DE" altLang="zh-HK" sz="1400" dirty="0" err="1" smtClean="0">
                <a:solidFill>
                  <a:prstClr val="black"/>
                </a:solidFill>
              </a:rPr>
              <a:t>operator</a:t>
            </a:r>
            <a:r>
              <a:rPr lang="de-DE" altLang="zh-HK" sz="1400" dirty="0" smtClean="0">
                <a:solidFill>
                  <a:prstClr val="black"/>
                </a:solidFill>
              </a:rPr>
              <a:t> </a:t>
            </a:r>
            <a:r>
              <a:rPr lang="de-DE" altLang="zh-HK" sz="1400" dirty="0" err="1" smtClean="0">
                <a:solidFill>
                  <a:prstClr val="black"/>
                </a:solidFill>
              </a:rPr>
              <a:t>modells</a:t>
            </a:r>
            <a:r>
              <a:rPr lang="de-DE" altLang="zh-HK" sz="1400" dirty="0" smtClean="0">
                <a:solidFill>
                  <a:prstClr val="black"/>
                </a:solidFill>
              </a:rPr>
              <a:t> </a:t>
            </a:r>
            <a:r>
              <a:rPr lang="de-DE" altLang="zh-HK" sz="1400" dirty="0" err="1" smtClean="0">
                <a:solidFill>
                  <a:prstClr val="black"/>
                </a:solidFill>
              </a:rPr>
              <a:t>and</a:t>
            </a:r>
            <a:r>
              <a:rPr lang="de-DE" altLang="zh-HK" sz="1400" dirty="0" smtClean="0">
                <a:solidFill>
                  <a:prstClr val="black"/>
                </a:solidFill>
              </a:rPr>
              <a:t> </a:t>
            </a:r>
            <a:r>
              <a:rPr lang="de-DE" altLang="zh-HK" sz="1400" dirty="0" err="1" smtClean="0">
                <a:solidFill>
                  <a:prstClr val="black"/>
                </a:solidFill>
              </a:rPr>
              <a:t>marketing</a:t>
            </a:r>
            <a:r>
              <a:rPr lang="de-DE" altLang="zh-HK" sz="1400" dirty="0" smtClean="0">
                <a:solidFill>
                  <a:prstClr val="black"/>
                </a:solidFill>
              </a:rPr>
              <a:t> </a:t>
            </a:r>
            <a:r>
              <a:rPr lang="de-DE" altLang="zh-HK" sz="1400" dirty="0" err="1" smtClean="0">
                <a:solidFill>
                  <a:prstClr val="black"/>
                </a:solidFill>
              </a:rPr>
              <a:t>of</a:t>
            </a:r>
            <a:r>
              <a:rPr lang="de-DE" altLang="zh-HK" sz="1400" dirty="0" smtClean="0">
                <a:solidFill>
                  <a:prstClr val="black"/>
                </a:solidFill>
              </a:rPr>
              <a:t> </a:t>
            </a:r>
            <a:r>
              <a:rPr lang="de-DE" altLang="zh-HK" sz="1400" dirty="0" err="1" smtClean="0">
                <a:solidFill>
                  <a:prstClr val="black"/>
                </a:solidFill>
              </a:rPr>
              <a:t>by-products</a:t>
            </a:r>
            <a:endParaRPr lang="de-DE" altLang="zh-HK" sz="1400" dirty="0" smtClean="0">
              <a:solidFill>
                <a:prstClr val="black"/>
              </a:solidFill>
            </a:endParaRPr>
          </a:p>
          <a:p>
            <a:pPr marL="287338" lvl="6" indent="-285750" defTabSz="914400" eaLnBrk="0" hangingPunct="0">
              <a:spcAft>
                <a:spcPct val="20000"/>
              </a:spcAft>
              <a:buFont typeface="Arial" pitchFamily="34" charset="0"/>
              <a:buChar char="•"/>
              <a:defRPr/>
            </a:pPr>
            <a:endParaRPr lang="de-DE" altLang="zh-HK" sz="1400" dirty="0">
              <a:solidFill>
                <a:srgbClr val="0064AE"/>
              </a:solidFill>
            </a:endParaRPr>
          </a:p>
          <a:p>
            <a:pPr marL="1588" lvl="6" defTabSz="914400" eaLnBrk="0" hangingPunct="0">
              <a:spcAft>
                <a:spcPct val="20000"/>
              </a:spcAft>
              <a:defRPr/>
            </a:pPr>
            <a:r>
              <a:rPr lang="de-DE" altLang="zh-HK" sz="1400" b="1" dirty="0" err="1" smtClean="0">
                <a:solidFill>
                  <a:srgbClr val="FF0000"/>
                </a:solidFill>
              </a:rPr>
              <a:t>Costs</a:t>
            </a:r>
            <a:r>
              <a:rPr lang="de-DE" altLang="zh-HK" sz="1400" b="1" dirty="0" smtClean="0">
                <a:solidFill>
                  <a:srgbClr val="FF0000"/>
                </a:solidFill>
              </a:rPr>
              <a:t>: </a:t>
            </a:r>
            <a:r>
              <a:rPr lang="de-DE" altLang="zh-HK" sz="1400" b="1" dirty="0">
                <a:solidFill>
                  <a:srgbClr val="FF0000"/>
                </a:solidFill>
              </a:rPr>
              <a:t>ca. 500.000 </a:t>
            </a:r>
            <a:r>
              <a:rPr lang="de-DE" altLang="zh-HK" sz="1400" b="1" dirty="0" smtClean="0">
                <a:solidFill>
                  <a:srgbClr val="FF0000"/>
                </a:solidFill>
              </a:rPr>
              <a:t>€</a:t>
            </a:r>
            <a:endParaRPr lang="de-DE" altLang="zh-HK" sz="1400" b="1" dirty="0">
              <a:solidFill>
                <a:srgbClr val="FF0000"/>
              </a:solidFill>
            </a:endParaRPr>
          </a:p>
        </p:txBody>
      </p:sp>
      <p:pic>
        <p:nvPicPr>
          <p:cNvPr id="6153" name="Picture 8" descr="\\192.168.40.18\fileserver bdf\12 - aireg\12.4 - Öffentlichkeitsarbeit\12.5.5 - Logo\Mitglieder\dena_jpg_4-10-2011_11-3-2_2904-104.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94999" y="1372034"/>
            <a:ext cx="778322" cy="25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4392513"/>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Grafik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29551" y="141685"/>
            <a:ext cx="1114425" cy="40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p:nvSpPr>
        <p:spPr bwMode="auto">
          <a:xfrm>
            <a:off x="539750" y="101204"/>
            <a:ext cx="6121400" cy="573881"/>
          </a:xfrm>
          <a:prstGeom prst="rect">
            <a:avLst/>
          </a:prstGeom>
          <a:noFill/>
          <a:ln w="9525">
            <a:noFill/>
            <a:miter lim="800000"/>
            <a:headEnd/>
            <a:tailEnd/>
          </a:ln>
        </p:spPr>
        <p:txBody>
          <a:bodyPr anchor="ctr"/>
          <a:lstStyle/>
          <a:p>
            <a:pPr defTabSz="914400" fontAlgn="base">
              <a:spcBef>
                <a:spcPct val="0"/>
              </a:spcBef>
              <a:spcAft>
                <a:spcPct val="0"/>
              </a:spcAft>
              <a:defRPr/>
            </a:pPr>
            <a:r>
              <a:rPr lang="de-DE" sz="2400" b="1" dirty="0" err="1" smtClean="0">
                <a:solidFill>
                  <a:srgbClr val="0064AE"/>
                </a:solidFill>
                <a:cs typeface="Arial" pitchFamily="34" charset="0"/>
              </a:rPr>
              <a:t>Biorefineries</a:t>
            </a:r>
            <a:r>
              <a:rPr lang="de-DE" sz="2400" b="1" dirty="0" smtClean="0">
                <a:solidFill>
                  <a:srgbClr val="0064AE"/>
                </a:solidFill>
                <a:cs typeface="Arial" pitchFamily="34" charset="0"/>
              </a:rPr>
              <a:t> - </a:t>
            </a:r>
            <a:r>
              <a:rPr lang="de-DE" sz="2400" b="1" dirty="0" err="1" smtClean="0">
                <a:solidFill>
                  <a:srgbClr val="0064AE"/>
                </a:solidFill>
                <a:cs typeface="Arial" pitchFamily="34" charset="0"/>
              </a:rPr>
              <a:t>Financing</a:t>
            </a:r>
            <a:endParaRPr lang="de-DE" sz="2400" b="1" dirty="0">
              <a:solidFill>
                <a:srgbClr val="0064AE"/>
              </a:solidFill>
              <a:cs typeface="Arial" pitchFamily="34" charset="0"/>
            </a:endParaRPr>
          </a:p>
        </p:txBody>
      </p:sp>
      <p:cxnSp>
        <p:nvCxnSpPr>
          <p:cNvPr id="30" name="Gerade Verbindung 29"/>
          <p:cNvCxnSpPr/>
          <p:nvPr/>
        </p:nvCxnSpPr>
        <p:spPr>
          <a:xfrm>
            <a:off x="0" y="681038"/>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sp>
        <p:nvSpPr>
          <p:cNvPr id="8" name="Rechteck 30"/>
          <p:cNvSpPr>
            <a:spLocks noChangeArrowheads="1"/>
          </p:cNvSpPr>
          <p:nvPr/>
        </p:nvSpPr>
        <p:spPr bwMode="auto">
          <a:xfrm>
            <a:off x="323528" y="789552"/>
            <a:ext cx="8568952" cy="424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588" lvl="6" defTabSz="914400" eaLnBrk="0" hangingPunct="0">
              <a:spcAft>
                <a:spcPct val="20000"/>
              </a:spcAft>
              <a:defRPr/>
            </a:pPr>
            <a:r>
              <a:rPr lang="de-DE" altLang="zh-HK" b="1" u="sng" dirty="0" smtClean="0">
                <a:solidFill>
                  <a:srgbClr val="0064AE"/>
                </a:solidFill>
              </a:rPr>
              <a:t>KfW </a:t>
            </a:r>
            <a:r>
              <a:rPr lang="de-DE" altLang="zh-HK" b="1" u="sng" dirty="0" err="1" smtClean="0">
                <a:solidFill>
                  <a:srgbClr val="0064AE"/>
                </a:solidFill>
              </a:rPr>
              <a:t>investment</a:t>
            </a:r>
            <a:r>
              <a:rPr lang="de-DE" altLang="zh-HK" b="1" u="sng" dirty="0" smtClean="0">
                <a:solidFill>
                  <a:srgbClr val="0064AE"/>
                </a:solidFill>
              </a:rPr>
              <a:t> </a:t>
            </a:r>
            <a:r>
              <a:rPr lang="de-DE" altLang="zh-HK" b="1" u="sng" dirty="0" err="1" smtClean="0">
                <a:solidFill>
                  <a:srgbClr val="0064AE"/>
                </a:solidFill>
              </a:rPr>
              <a:t>programm</a:t>
            </a:r>
            <a:r>
              <a:rPr lang="de-DE" altLang="zh-HK" b="1" u="sng" dirty="0" smtClean="0">
                <a:solidFill>
                  <a:srgbClr val="0064AE"/>
                </a:solidFill>
              </a:rPr>
              <a:t> „</a:t>
            </a:r>
            <a:r>
              <a:rPr lang="de-DE" altLang="zh-HK" b="1" u="sng" dirty="0" err="1" smtClean="0">
                <a:solidFill>
                  <a:srgbClr val="0064AE"/>
                </a:solidFill>
              </a:rPr>
              <a:t>biorefineries</a:t>
            </a:r>
            <a:r>
              <a:rPr lang="de-DE" altLang="zh-HK" b="1" u="sng" dirty="0" smtClean="0">
                <a:solidFill>
                  <a:srgbClr val="0064AE"/>
                </a:solidFill>
              </a:rPr>
              <a:t>“</a:t>
            </a:r>
            <a:endParaRPr lang="de-DE" altLang="zh-HK" b="1" u="sng" dirty="0">
              <a:solidFill>
                <a:srgbClr val="0064AE"/>
              </a:solidFill>
            </a:endParaRPr>
          </a:p>
          <a:p>
            <a:pPr marL="287338" lvl="6" indent="-285750" defTabSz="914400" eaLnBrk="0" hangingPunct="0">
              <a:spcAft>
                <a:spcPct val="20000"/>
              </a:spcAft>
              <a:buFont typeface="Arial" pitchFamily="34" charset="0"/>
              <a:buChar char="•"/>
              <a:defRPr/>
            </a:pPr>
            <a:r>
              <a:rPr lang="de-DE" altLang="zh-HK" dirty="0" smtClean="0">
                <a:solidFill>
                  <a:prstClr val="black"/>
                </a:solidFill>
              </a:rPr>
              <a:t>On </a:t>
            </a:r>
            <a:r>
              <a:rPr lang="de-DE" altLang="zh-HK" dirty="0" err="1" smtClean="0">
                <a:solidFill>
                  <a:prstClr val="black"/>
                </a:solidFill>
              </a:rPr>
              <a:t>the</a:t>
            </a:r>
            <a:r>
              <a:rPr lang="de-DE" altLang="zh-HK" dirty="0" smtClean="0">
                <a:solidFill>
                  <a:prstClr val="black"/>
                </a:solidFill>
              </a:rPr>
              <a:t> </a:t>
            </a:r>
            <a:r>
              <a:rPr lang="de-DE" altLang="zh-HK" dirty="0" err="1" smtClean="0">
                <a:solidFill>
                  <a:prstClr val="black"/>
                </a:solidFill>
              </a:rPr>
              <a:t>basis</a:t>
            </a:r>
            <a:r>
              <a:rPr lang="de-DE" altLang="zh-HK" dirty="0" smtClean="0">
                <a:solidFill>
                  <a:prstClr val="black"/>
                </a:solidFill>
              </a:rPr>
              <a:t> </a:t>
            </a:r>
            <a:r>
              <a:rPr lang="de-DE" altLang="zh-HK" dirty="0" err="1" smtClean="0">
                <a:solidFill>
                  <a:prstClr val="black"/>
                </a:solidFill>
              </a:rPr>
              <a:t>of</a:t>
            </a:r>
            <a:r>
              <a:rPr lang="de-DE" altLang="zh-HK" dirty="0" smtClean="0">
                <a:solidFill>
                  <a:prstClr val="black"/>
                </a:solidFill>
              </a:rPr>
              <a:t> </a:t>
            </a:r>
            <a:r>
              <a:rPr lang="de-DE" altLang="zh-HK" dirty="0" err="1" smtClean="0">
                <a:solidFill>
                  <a:prstClr val="black"/>
                </a:solidFill>
              </a:rPr>
              <a:t>the</a:t>
            </a:r>
            <a:r>
              <a:rPr lang="de-DE" altLang="zh-HK" dirty="0" smtClean="0">
                <a:solidFill>
                  <a:prstClr val="black"/>
                </a:solidFill>
              </a:rPr>
              <a:t> </a:t>
            </a:r>
            <a:r>
              <a:rPr lang="de-DE" altLang="zh-HK" dirty="0" err="1" smtClean="0">
                <a:solidFill>
                  <a:prstClr val="black"/>
                </a:solidFill>
              </a:rPr>
              <a:t>aforementioned</a:t>
            </a:r>
            <a:r>
              <a:rPr lang="de-DE" altLang="zh-HK" dirty="0" smtClean="0">
                <a:solidFill>
                  <a:prstClr val="black"/>
                </a:solidFill>
              </a:rPr>
              <a:t> </a:t>
            </a:r>
            <a:r>
              <a:rPr lang="de-DE" altLang="zh-HK" dirty="0" err="1" smtClean="0">
                <a:solidFill>
                  <a:prstClr val="black"/>
                </a:solidFill>
              </a:rPr>
              <a:t>study</a:t>
            </a:r>
            <a:r>
              <a:rPr lang="de-DE" altLang="zh-HK" dirty="0" smtClean="0">
                <a:solidFill>
                  <a:prstClr val="black"/>
                </a:solidFill>
              </a:rPr>
              <a:t>, </a:t>
            </a:r>
            <a:r>
              <a:rPr lang="de-DE" altLang="zh-HK" dirty="0" err="1" smtClean="0">
                <a:solidFill>
                  <a:prstClr val="black"/>
                </a:solidFill>
              </a:rPr>
              <a:t>the</a:t>
            </a:r>
            <a:r>
              <a:rPr lang="de-DE" altLang="zh-HK" dirty="0" smtClean="0">
                <a:solidFill>
                  <a:prstClr val="black"/>
                </a:solidFill>
              </a:rPr>
              <a:t> </a:t>
            </a:r>
            <a:r>
              <a:rPr lang="de-DE" altLang="zh-HK" dirty="0" err="1" smtClean="0">
                <a:solidFill>
                  <a:prstClr val="black"/>
                </a:solidFill>
              </a:rPr>
              <a:t>construction</a:t>
            </a:r>
            <a:r>
              <a:rPr lang="de-DE" altLang="zh-HK" dirty="0" smtClean="0">
                <a:solidFill>
                  <a:prstClr val="black"/>
                </a:solidFill>
              </a:rPr>
              <a:t> </a:t>
            </a:r>
            <a:r>
              <a:rPr lang="de-DE" altLang="zh-HK" dirty="0" err="1" smtClean="0">
                <a:solidFill>
                  <a:prstClr val="black"/>
                </a:solidFill>
              </a:rPr>
              <a:t>of</a:t>
            </a:r>
            <a:r>
              <a:rPr lang="de-DE" altLang="zh-HK" dirty="0" smtClean="0">
                <a:solidFill>
                  <a:prstClr val="black"/>
                </a:solidFill>
              </a:rPr>
              <a:t> a </a:t>
            </a:r>
            <a:r>
              <a:rPr lang="de-DE" altLang="zh-HK" dirty="0" err="1" smtClean="0">
                <a:solidFill>
                  <a:prstClr val="black"/>
                </a:solidFill>
              </a:rPr>
              <a:t>biorefinery</a:t>
            </a:r>
            <a:r>
              <a:rPr lang="de-DE" altLang="zh-HK" dirty="0" smtClean="0">
                <a:solidFill>
                  <a:prstClr val="black"/>
                </a:solidFill>
              </a:rPr>
              <a:t> </a:t>
            </a:r>
            <a:r>
              <a:rPr lang="de-DE" altLang="zh-HK" dirty="0" err="1" smtClean="0">
                <a:solidFill>
                  <a:prstClr val="black"/>
                </a:solidFill>
              </a:rPr>
              <a:t>of</a:t>
            </a:r>
            <a:r>
              <a:rPr lang="de-DE" altLang="zh-HK" dirty="0" smtClean="0">
                <a:solidFill>
                  <a:prstClr val="black"/>
                </a:solidFill>
              </a:rPr>
              <a:t> </a:t>
            </a:r>
            <a:r>
              <a:rPr lang="de-DE" altLang="zh-HK" dirty="0" err="1" smtClean="0">
                <a:solidFill>
                  <a:prstClr val="black"/>
                </a:solidFill>
              </a:rPr>
              <a:t>industrial</a:t>
            </a:r>
            <a:r>
              <a:rPr lang="de-DE" altLang="zh-HK" dirty="0" smtClean="0">
                <a:solidFill>
                  <a:prstClr val="black"/>
                </a:solidFill>
              </a:rPr>
              <a:t> </a:t>
            </a:r>
            <a:r>
              <a:rPr lang="de-DE" altLang="zh-HK" dirty="0" err="1" smtClean="0">
                <a:solidFill>
                  <a:prstClr val="black"/>
                </a:solidFill>
              </a:rPr>
              <a:t>scale</a:t>
            </a:r>
            <a:r>
              <a:rPr lang="de-DE" altLang="zh-HK" dirty="0" smtClean="0">
                <a:solidFill>
                  <a:prstClr val="black"/>
                </a:solidFill>
              </a:rPr>
              <a:t> </a:t>
            </a:r>
            <a:r>
              <a:rPr lang="de-DE" altLang="zh-HK" dirty="0" err="1" smtClean="0">
                <a:solidFill>
                  <a:prstClr val="black"/>
                </a:solidFill>
              </a:rPr>
              <a:t>shall</a:t>
            </a:r>
            <a:r>
              <a:rPr lang="de-DE" altLang="zh-HK" dirty="0" smtClean="0">
                <a:solidFill>
                  <a:prstClr val="black"/>
                </a:solidFill>
              </a:rPr>
              <a:t> </a:t>
            </a:r>
            <a:r>
              <a:rPr lang="de-DE" altLang="zh-HK" dirty="0" err="1" smtClean="0">
                <a:solidFill>
                  <a:prstClr val="black"/>
                </a:solidFill>
              </a:rPr>
              <a:t>begin</a:t>
            </a:r>
            <a:r>
              <a:rPr lang="de-DE" altLang="zh-HK" dirty="0" smtClean="0">
                <a:solidFill>
                  <a:prstClr val="black"/>
                </a:solidFill>
              </a:rPr>
              <a:t> </a:t>
            </a:r>
            <a:r>
              <a:rPr lang="de-DE" altLang="zh-HK" dirty="0" err="1" smtClean="0">
                <a:solidFill>
                  <a:prstClr val="black"/>
                </a:solidFill>
              </a:rPr>
              <a:t>until</a:t>
            </a:r>
            <a:r>
              <a:rPr lang="de-DE" altLang="zh-HK" dirty="0" smtClean="0">
                <a:solidFill>
                  <a:prstClr val="black"/>
                </a:solidFill>
              </a:rPr>
              <a:t> 2015 </a:t>
            </a:r>
          </a:p>
          <a:p>
            <a:pPr marL="287338" lvl="6" indent="-285750" defTabSz="914400" eaLnBrk="0" hangingPunct="0">
              <a:spcAft>
                <a:spcPct val="20000"/>
              </a:spcAft>
              <a:buFont typeface="Arial" pitchFamily="34" charset="0"/>
              <a:buChar char="•"/>
              <a:defRPr/>
            </a:pPr>
            <a:r>
              <a:rPr lang="de-DE" altLang="zh-HK" dirty="0" smtClean="0">
                <a:solidFill>
                  <a:prstClr val="black"/>
                </a:solidFill>
              </a:rPr>
              <a:t>An </a:t>
            </a:r>
            <a:r>
              <a:rPr lang="de-DE" altLang="zh-HK" dirty="0" err="1" smtClean="0">
                <a:solidFill>
                  <a:prstClr val="black"/>
                </a:solidFill>
              </a:rPr>
              <a:t>investment</a:t>
            </a:r>
            <a:r>
              <a:rPr lang="de-DE" altLang="zh-HK" dirty="0" smtClean="0">
                <a:solidFill>
                  <a:prstClr val="black"/>
                </a:solidFill>
              </a:rPr>
              <a:t> </a:t>
            </a:r>
            <a:r>
              <a:rPr lang="de-DE" altLang="zh-HK" dirty="0" err="1" smtClean="0">
                <a:solidFill>
                  <a:prstClr val="black"/>
                </a:solidFill>
              </a:rPr>
              <a:t>facility</a:t>
            </a:r>
            <a:r>
              <a:rPr lang="de-DE" altLang="zh-HK" dirty="0" smtClean="0">
                <a:solidFill>
                  <a:prstClr val="black"/>
                </a:solidFill>
              </a:rPr>
              <a:t> „</a:t>
            </a:r>
            <a:r>
              <a:rPr lang="de-DE" altLang="zh-HK" dirty="0" err="1" smtClean="0">
                <a:solidFill>
                  <a:prstClr val="black"/>
                </a:solidFill>
              </a:rPr>
              <a:t>biorefineries</a:t>
            </a:r>
            <a:r>
              <a:rPr lang="de-DE" altLang="zh-HK" dirty="0" smtClean="0">
                <a:solidFill>
                  <a:prstClr val="black"/>
                </a:solidFill>
              </a:rPr>
              <a:t>“ </a:t>
            </a:r>
            <a:r>
              <a:rPr lang="de-DE" altLang="zh-HK" dirty="0" err="1" smtClean="0">
                <a:solidFill>
                  <a:prstClr val="black"/>
                </a:solidFill>
              </a:rPr>
              <a:t>by</a:t>
            </a:r>
            <a:r>
              <a:rPr lang="de-DE" altLang="zh-HK" dirty="0" smtClean="0">
                <a:solidFill>
                  <a:prstClr val="black"/>
                </a:solidFill>
              </a:rPr>
              <a:t> </a:t>
            </a:r>
            <a:r>
              <a:rPr lang="de-DE" altLang="zh-HK" dirty="0" err="1" smtClean="0">
                <a:solidFill>
                  <a:prstClr val="black"/>
                </a:solidFill>
              </a:rPr>
              <a:t>the</a:t>
            </a:r>
            <a:r>
              <a:rPr lang="de-DE" altLang="zh-HK" dirty="0" smtClean="0">
                <a:solidFill>
                  <a:prstClr val="black"/>
                </a:solidFill>
              </a:rPr>
              <a:t> </a:t>
            </a:r>
            <a:r>
              <a:rPr lang="de-DE" altLang="zh-HK" dirty="0" err="1" smtClean="0">
                <a:solidFill>
                  <a:prstClr val="black"/>
                </a:solidFill>
              </a:rPr>
              <a:t>public</a:t>
            </a:r>
            <a:r>
              <a:rPr lang="de-DE" altLang="zh-HK" dirty="0" smtClean="0">
                <a:solidFill>
                  <a:prstClr val="black"/>
                </a:solidFill>
              </a:rPr>
              <a:t> </a:t>
            </a:r>
            <a:r>
              <a:rPr lang="de-DE" altLang="zh-HK" dirty="0" err="1" smtClean="0">
                <a:solidFill>
                  <a:prstClr val="black"/>
                </a:solidFill>
              </a:rPr>
              <a:t>banking</a:t>
            </a:r>
            <a:r>
              <a:rPr lang="de-DE" altLang="zh-HK" dirty="0" smtClean="0">
                <a:solidFill>
                  <a:prstClr val="black"/>
                </a:solidFill>
              </a:rPr>
              <a:t> </a:t>
            </a:r>
            <a:r>
              <a:rPr lang="de-DE" altLang="zh-HK" dirty="0" err="1" smtClean="0">
                <a:solidFill>
                  <a:prstClr val="black"/>
                </a:solidFill>
              </a:rPr>
              <a:t>group</a:t>
            </a:r>
            <a:r>
              <a:rPr lang="de-DE" altLang="zh-HK" dirty="0" smtClean="0">
                <a:solidFill>
                  <a:prstClr val="black"/>
                </a:solidFill>
              </a:rPr>
              <a:t> KfW </a:t>
            </a:r>
            <a:r>
              <a:rPr lang="de-DE" altLang="zh-HK" dirty="0" err="1" smtClean="0">
                <a:solidFill>
                  <a:prstClr val="black"/>
                </a:solidFill>
              </a:rPr>
              <a:t>is</a:t>
            </a:r>
            <a:r>
              <a:rPr lang="de-DE" altLang="zh-HK" dirty="0" smtClean="0">
                <a:solidFill>
                  <a:prstClr val="black"/>
                </a:solidFill>
              </a:rPr>
              <a:t> </a:t>
            </a:r>
            <a:r>
              <a:rPr lang="de-DE" altLang="zh-HK" dirty="0" err="1" smtClean="0">
                <a:solidFill>
                  <a:prstClr val="black"/>
                </a:solidFill>
              </a:rPr>
              <a:t>to</a:t>
            </a:r>
            <a:r>
              <a:rPr lang="de-DE" altLang="zh-HK" dirty="0" smtClean="0">
                <a:solidFill>
                  <a:prstClr val="black"/>
                </a:solidFill>
              </a:rPr>
              <a:t> </a:t>
            </a:r>
            <a:r>
              <a:rPr lang="de-DE" altLang="zh-HK" dirty="0" err="1" smtClean="0">
                <a:solidFill>
                  <a:prstClr val="black"/>
                </a:solidFill>
              </a:rPr>
              <a:t>give</a:t>
            </a:r>
            <a:r>
              <a:rPr lang="de-DE" altLang="zh-HK" dirty="0" smtClean="0">
                <a:solidFill>
                  <a:prstClr val="black"/>
                </a:solidFill>
              </a:rPr>
              <a:t> </a:t>
            </a:r>
            <a:r>
              <a:rPr lang="de-DE" altLang="zh-HK" dirty="0" err="1" smtClean="0">
                <a:solidFill>
                  <a:prstClr val="black"/>
                </a:solidFill>
              </a:rPr>
              <a:t>grants</a:t>
            </a:r>
            <a:r>
              <a:rPr lang="de-DE" altLang="zh-HK" dirty="0" smtClean="0">
                <a:solidFill>
                  <a:prstClr val="black"/>
                </a:solidFill>
              </a:rPr>
              <a:t> </a:t>
            </a:r>
            <a:r>
              <a:rPr lang="de-DE" altLang="zh-HK" dirty="0" err="1" smtClean="0">
                <a:solidFill>
                  <a:prstClr val="black"/>
                </a:solidFill>
              </a:rPr>
              <a:t>of</a:t>
            </a:r>
            <a:r>
              <a:rPr lang="de-DE" altLang="zh-HK" dirty="0" smtClean="0">
                <a:solidFill>
                  <a:prstClr val="black"/>
                </a:solidFill>
              </a:rPr>
              <a:t> 30% </a:t>
            </a:r>
            <a:r>
              <a:rPr lang="de-DE" altLang="zh-HK" dirty="0" err="1" smtClean="0">
                <a:solidFill>
                  <a:prstClr val="black"/>
                </a:solidFill>
              </a:rPr>
              <a:t>of</a:t>
            </a:r>
            <a:r>
              <a:rPr lang="de-DE" altLang="zh-HK" dirty="0" smtClean="0">
                <a:solidFill>
                  <a:prstClr val="black"/>
                </a:solidFill>
              </a:rPr>
              <a:t> </a:t>
            </a:r>
            <a:r>
              <a:rPr lang="de-DE" altLang="zh-HK" dirty="0" err="1" smtClean="0">
                <a:solidFill>
                  <a:prstClr val="black"/>
                </a:solidFill>
              </a:rPr>
              <a:t>the</a:t>
            </a:r>
            <a:r>
              <a:rPr lang="de-DE" altLang="zh-HK" dirty="0" smtClean="0">
                <a:solidFill>
                  <a:prstClr val="black"/>
                </a:solidFill>
              </a:rPr>
              <a:t> </a:t>
            </a:r>
            <a:r>
              <a:rPr lang="de-DE" altLang="zh-HK" dirty="0" err="1" smtClean="0">
                <a:solidFill>
                  <a:prstClr val="black"/>
                </a:solidFill>
              </a:rPr>
              <a:t>investment</a:t>
            </a:r>
            <a:r>
              <a:rPr lang="de-DE" altLang="zh-HK" dirty="0" smtClean="0">
                <a:solidFill>
                  <a:prstClr val="black"/>
                </a:solidFill>
              </a:rPr>
              <a:t> </a:t>
            </a:r>
            <a:r>
              <a:rPr lang="de-DE" altLang="zh-HK" dirty="0" err="1" smtClean="0">
                <a:solidFill>
                  <a:prstClr val="black"/>
                </a:solidFill>
              </a:rPr>
              <a:t>costs</a:t>
            </a:r>
            <a:r>
              <a:rPr lang="de-DE" altLang="zh-HK" dirty="0" smtClean="0">
                <a:solidFill>
                  <a:prstClr val="black"/>
                </a:solidFill>
              </a:rPr>
              <a:t> (€ 0.6 </a:t>
            </a:r>
            <a:r>
              <a:rPr lang="de-DE" altLang="zh-HK" dirty="0" err="1" smtClean="0">
                <a:solidFill>
                  <a:prstClr val="black"/>
                </a:solidFill>
              </a:rPr>
              <a:t>to</a:t>
            </a:r>
            <a:r>
              <a:rPr lang="de-DE" altLang="zh-HK" dirty="0" smtClean="0">
                <a:solidFill>
                  <a:prstClr val="black"/>
                </a:solidFill>
              </a:rPr>
              <a:t> 1 </a:t>
            </a:r>
            <a:r>
              <a:rPr lang="de-DE" altLang="zh-HK" dirty="0" err="1" smtClean="0">
                <a:solidFill>
                  <a:prstClr val="black"/>
                </a:solidFill>
              </a:rPr>
              <a:t>billion</a:t>
            </a:r>
            <a:r>
              <a:rPr lang="de-DE" altLang="zh-HK" dirty="0" smtClean="0">
                <a:solidFill>
                  <a:prstClr val="black"/>
                </a:solidFill>
              </a:rPr>
              <a:t> </a:t>
            </a:r>
            <a:r>
              <a:rPr lang="de-DE" altLang="zh-HK" dirty="0" err="1" smtClean="0">
                <a:solidFill>
                  <a:prstClr val="black"/>
                </a:solidFill>
              </a:rPr>
              <a:t>for</a:t>
            </a:r>
            <a:r>
              <a:rPr lang="de-DE" altLang="zh-HK" dirty="0" smtClean="0">
                <a:solidFill>
                  <a:prstClr val="black"/>
                </a:solidFill>
              </a:rPr>
              <a:t> </a:t>
            </a:r>
            <a:r>
              <a:rPr lang="de-DE" altLang="zh-HK" dirty="0" err="1" smtClean="0">
                <a:solidFill>
                  <a:prstClr val="black"/>
                </a:solidFill>
              </a:rPr>
              <a:t>each</a:t>
            </a:r>
            <a:r>
              <a:rPr lang="de-DE" altLang="zh-HK" dirty="0" smtClean="0">
                <a:solidFill>
                  <a:prstClr val="black"/>
                </a:solidFill>
              </a:rPr>
              <a:t> plant) </a:t>
            </a:r>
          </a:p>
          <a:p>
            <a:pPr marL="287338" lvl="6" indent="-285750" defTabSz="914400" eaLnBrk="0" hangingPunct="0">
              <a:spcAft>
                <a:spcPct val="20000"/>
              </a:spcAft>
              <a:buFont typeface="Arial" pitchFamily="34" charset="0"/>
              <a:buChar char="•"/>
              <a:defRPr/>
            </a:pPr>
            <a:r>
              <a:rPr lang="de-DE" altLang="zh-HK" dirty="0" err="1" smtClean="0">
                <a:solidFill>
                  <a:prstClr val="black"/>
                </a:solidFill>
              </a:rPr>
              <a:t>Benefit</a:t>
            </a:r>
            <a:r>
              <a:rPr lang="de-DE" altLang="zh-HK" dirty="0" smtClean="0">
                <a:solidFill>
                  <a:prstClr val="black"/>
                </a:solidFill>
              </a:rPr>
              <a:t>: </a:t>
            </a:r>
            <a:endParaRPr lang="de-DE" altLang="zh-HK" dirty="0">
              <a:solidFill>
                <a:prstClr val="black"/>
              </a:solidFill>
            </a:endParaRPr>
          </a:p>
          <a:p>
            <a:pPr marL="744538" lvl="7" indent="-285750" defTabSz="914400" eaLnBrk="0" hangingPunct="0">
              <a:spcAft>
                <a:spcPct val="20000"/>
              </a:spcAft>
              <a:buFont typeface="Arial" pitchFamily="34" charset="0"/>
              <a:buChar char="•"/>
              <a:defRPr/>
            </a:pPr>
            <a:r>
              <a:rPr lang="de-DE" altLang="zh-HK" dirty="0" err="1" smtClean="0">
                <a:solidFill>
                  <a:prstClr val="black"/>
                </a:solidFill>
              </a:rPr>
              <a:t>Construction</a:t>
            </a:r>
            <a:r>
              <a:rPr lang="de-DE" altLang="zh-HK" dirty="0" smtClean="0">
                <a:solidFill>
                  <a:prstClr val="black"/>
                </a:solidFill>
              </a:rPr>
              <a:t> </a:t>
            </a:r>
            <a:r>
              <a:rPr lang="de-DE" altLang="zh-HK" dirty="0" err="1" smtClean="0">
                <a:solidFill>
                  <a:prstClr val="black"/>
                </a:solidFill>
              </a:rPr>
              <a:t>of</a:t>
            </a:r>
            <a:r>
              <a:rPr lang="de-DE" altLang="zh-HK" dirty="0" smtClean="0">
                <a:solidFill>
                  <a:prstClr val="black"/>
                </a:solidFill>
              </a:rPr>
              <a:t> </a:t>
            </a:r>
            <a:r>
              <a:rPr lang="de-DE" altLang="zh-HK" dirty="0" err="1" smtClean="0">
                <a:solidFill>
                  <a:prstClr val="black"/>
                </a:solidFill>
              </a:rPr>
              <a:t>next</a:t>
            </a:r>
            <a:r>
              <a:rPr lang="de-DE" altLang="zh-HK" dirty="0" smtClean="0">
                <a:solidFill>
                  <a:prstClr val="black"/>
                </a:solidFill>
              </a:rPr>
              <a:t>-generation </a:t>
            </a:r>
            <a:r>
              <a:rPr lang="de-DE" altLang="zh-HK" dirty="0" err="1" smtClean="0">
                <a:solidFill>
                  <a:prstClr val="black"/>
                </a:solidFill>
              </a:rPr>
              <a:t>biorefineries</a:t>
            </a:r>
            <a:r>
              <a:rPr lang="de-DE" altLang="zh-HK" dirty="0" smtClean="0">
                <a:solidFill>
                  <a:prstClr val="black"/>
                </a:solidFill>
              </a:rPr>
              <a:t> </a:t>
            </a:r>
            <a:endParaRPr lang="de-DE" altLang="zh-HK" dirty="0">
              <a:solidFill>
                <a:prstClr val="black"/>
              </a:solidFill>
            </a:endParaRPr>
          </a:p>
          <a:p>
            <a:pPr marL="744538" lvl="7" indent="-285750" defTabSz="914400" eaLnBrk="0" hangingPunct="0">
              <a:spcAft>
                <a:spcPct val="20000"/>
              </a:spcAft>
              <a:buFont typeface="Arial" pitchFamily="34" charset="0"/>
              <a:buChar char="•"/>
              <a:defRPr/>
            </a:pPr>
            <a:r>
              <a:rPr lang="de-DE" altLang="zh-HK" dirty="0" err="1" smtClean="0">
                <a:solidFill>
                  <a:prstClr val="black"/>
                </a:solidFill>
              </a:rPr>
              <a:t>Synthetic</a:t>
            </a:r>
            <a:r>
              <a:rPr lang="de-DE" altLang="zh-HK" dirty="0" smtClean="0">
                <a:solidFill>
                  <a:prstClr val="black"/>
                </a:solidFill>
              </a:rPr>
              <a:t> </a:t>
            </a:r>
            <a:r>
              <a:rPr lang="de-DE" altLang="zh-HK" dirty="0" err="1" smtClean="0">
                <a:solidFill>
                  <a:prstClr val="black"/>
                </a:solidFill>
              </a:rPr>
              <a:t>fuel</a:t>
            </a:r>
            <a:r>
              <a:rPr lang="de-DE" altLang="zh-HK" dirty="0" smtClean="0">
                <a:solidFill>
                  <a:prstClr val="black"/>
                </a:solidFill>
              </a:rPr>
              <a:t> </a:t>
            </a:r>
            <a:r>
              <a:rPr lang="de-DE" altLang="zh-HK" dirty="0" err="1" smtClean="0">
                <a:solidFill>
                  <a:prstClr val="black"/>
                </a:solidFill>
              </a:rPr>
              <a:t>for</a:t>
            </a:r>
            <a:r>
              <a:rPr lang="de-DE" altLang="zh-HK" dirty="0" smtClean="0">
                <a:solidFill>
                  <a:prstClr val="black"/>
                </a:solidFill>
              </a:rPr>
              <a:t> </a:t>
            </a:r>
            <a:r>
              <a:rPr lang="de-DE" altLang="zh-HK" dirty="0" err="1" smtClean="0">
                <a:solidFill>
                  <a:prstClr val="black"/>
                </a:solidFill>
              </a:rPr>
              <a:t>several</a:t>
            </a:r>
            <a:r>
              <a:rPr lang="de-DE" altLang="zh-HK" dirty="0" smtClean="0">
                <a:solidFill>
                  <a:prstClr val="black"/>
                </a:solidFill>
              </a:rPr>
              <a:t> </a:t>
            </a:r>
            <a:r>
              <a:rPr lang="de-DE" altLang="zh-HK" dirty="0" err="1" smtClean="0">
                <a:solidFill>
                  <a:prstClr val="black"/>
                </a:solidFill>
              </a:rPr>
              <a:t>modes</a:t>
            </a:r>
            <a:r>
              <a:rPr lang="de-DE" altLang="zh-HK" dirty="0" smtClean="0">
                <a:solidFill>
                  <a:prstClr val="black"/>
                </a:solidFill>
              </a:rPr>
              <a:t> </a:t>
            </a:r>
            <a:r>
              <a:rPr lang="de-DE" altLang="zh-HK" dirty="0" err="1" smtClean="0">
                <a:solidFill>
                  <a:prstClr val="black"/>
                </a:solidFill>
              </a:rPr>
              <a:t>of</a:t>
            </a:r>
            <a:r>
              <a:rPr lang="de-DE" altLang="zh-HK" dirty="0" smtClean="0">
                <a:solidFill>
                  <a:prstClr val="black"/>
                </a:solidFill>
              </a:rPr>
              <a:t> </a:t>
            </a:r>
            <a:r>
              <a:rPr lang="de-DE" altLang="zh-HK" dirty="0" err="1" smtClean="0">
                <a:solidFill>
                  <a:prstClr val="black"/>
                </a:solidFill>
              </a:rPr>
              <a:t>transport</a:t>
            </a:r>
            <a:r>
              <a:rPr lang="de-DE" altLang="zh-HK" dirty="0" smtClean="0">
                <a:solidFill>
                  <a:prstClr val="black"/>
                </a:solidFill>
              </a:rPr>
              <a:t> </a:t>
            </a:r>
            <a:r>
              <a:rPr lang="de-DE" altLang="zh-HK" dirty="0" err="1" smtClean="0">
                <a:solidFill>
                  <a:prstClr val="black"/>
                </a:solidFill>
              </a:rPr>
              <a:t>without</a:t>
            </a:r>
            <a:r>
              <a:rPr lang="de-DE" altLang="zh-HK" dirty="0" smtClean="0">
                <a:solidFill>
                  <a:prstClr val="black"/>
                </a:solidFill>
              </a:rPr>
              <a:t> </a:t>
            </a:r>
            <a:r>
              <a:rPr lang="de-DE" altLang="zh-HK" dirty="0" err="1" smtClean="0">
                <a:solidFill>
                  <a:prstClr val="black"/>
                </a:solidFill>
              </a:rPr>
              <a:t>blending</a:t>
            </a:r>
            <a:r>
              <a:rPr lang="de-DE" altLang="zh-HK" dirty="0" smtClean="0">
                <a:solidFill>
                  <a:prstClr val="black"/>
                </a:solidFill>
              </a:rPr>
              <a:t> </a:t>
            </a:r>
            <a:r>
              <a:rPr lang="de-DE" altLang="zh-HK" dirty="0" err="1" smtClean="0">
                <a:solidFill>
                  <a:prstClr val="black"/>
                </a:solidFill>
              </a:rPr>
              <a:t>walls</a:t>
            </a:r>
            <a:endParaRPr lang="de-DE" altLang="zh-HK" dirty="0">
              <a:solidFill>
                <a:prstClr val="black"/>
              </a:solidFill>
            </a:endParaRPr>
          </a:p>
          <a:p>
            <a:pPr marL="744538" lvl="7" indent="-285750" defTabSz="914400" eaLnBrk="0" hangingPunct="0">
              <a:spcAft>
                <a:spcPct val="20000"/>
              </a:spcAft>
              <a:buFont typeface="Arial" pitchFamily="34" charset="0"/>
              <a:buChar char="•"/>
              <a:defRPr/>
            </a:pPr>
            <a:r>
              <a:rPr lang="de-DE" altLang="zh-HK" dirty="0" smtClean="0">
                <a:solidFill>
                  <a:prstClr val="black"/>
                </a:solidFill>
              </a:rPr>
              <a:t>Support </a:t>
            </a:r>
            <a:r>
              <a:rPr lang="de-DE" altLang="zh-HK" dirty="0" err="1" smtClean="0">
                <a:solidFill>
                  <a:prstClr val="black"/>
                </a:solidFill>
              </a:rPr>
              <a:t>for</a:t>
            </a:r>
            <a:r>
              <a:rPr lang="de-DE" altLang="zh-HK" dirty="0" smtClean="0">
                <a:solidFill>
                  <a:prstClr val="black"/>
                </a:solidFill>
              </a:rPr>
              <a:t> </a:t>
            </a:r>
            <a:r>
              <a:rPr lang="de-DE" altLang="zh-HK" dirty="0" err="1" smtClean="0">
                <a:solidFill>
                  <a:prstClr val="black"/>
                </a:solidFill>
              </a:rPr>
              <a:t>the</a:t>
            </a:r>
            <a:r>
              <a:rPr lang="de-DE" altLang="zh-HK" dirty="0" smtClean="0">
                <a:solidFill>
                  <a:prstClr val="black"/>
                </a:solidFill>
              </a:rPr>
              <a:t> „Energiewende“ in </a:t>
            </a:r>
            <a:r>
              <a:rPr lang="de-DE" altLang="zh-HK" dirty="0" err="1" smtClean="0">
                <a:solidFill>
                  <a:prstClr val="black"/>
                </a:solidFill>
              </a:rPr>
              <a:t>the</a:t>
            </a:r>
            <a:r>
              <a:rPr lang="de-DE" altLang="zh-HK" dirty="0" smtClean="0">
                <a:solidFill>
                  <a:prstClr val="black"/>
                </a:solidFill>
              </a:rPr>
              <a:t> </a:t>
            </a:r>
            <a:r>
              <a:rPr lang="de-DE" altLang="zh-HK" dirty="0" err="1" smtClean="0">
                <a:solidFill>
                  <a:prstClr val="black"/>
                </a:solidFill>
              </a:rPr>
              <a:t>transport</a:t>
            </a:r>
            <a:r>
              <a:rPr lang="de-DE" altLang="zh-HK" dirty="0" smtClean="0">
                <a:solidFill>
                  <a:prstClr val="black"/>
                </a:solidFill>
              </a:rPr>
              <a:t> </a:t>
            </a:r>
            <a:r>
              <a:rPr lang="de-DE" altLang="zh-HK" dirty="0" err="1" smtClean="0">
                <a:solidFill>
                  <a:prstClr val="black"/>
                </a:solidFill>
              </a:rPr>
              <a:t>sector</a:t>
            </a:r>
            <a:r>
              <a:rPr lang="de-DE" altLang="zh-HK" dirty="0" smtClean="0">
                <a:solidFill>
                  <a:prstClr val="black"/>
                </a:solidFill>
              </a:rPr>
              <a:t> </a:t>
            </a:r>
            <a:endParaRPr lang="de-DE" altLang="zh-HK" dirty="0">
              <a:solidFill>
                <a:prstClr val="black"/>
              </a:solidFill>
            </a:endParaRPr>
          </a:p>
          <a:p>
            <a:pPr marL="744538" lvl="7" indent="-285750" defTabSz="914400" eaLnBrk="0" hangingPunct="0">
              <a:spcAft>
                <a:spcPct val="20000"/>
              </a:spcAft>
              <a:buFont typeface="Arial" pitchFamily="34" charset="0"/>
              <a:buChar char="•"/>
              <a:defRPr/>
            </a:pPr>
            <a:r>
              <a:rPr lang="de-DE" altLang="zh-HK" dirty="0" err="1" smtClean="0">
                <a:solidFill>
                  <a:prstClr val="black"/>
                </a:solidFill>
              </a:rPr>
              <a:t>Competitive</a:t>
            </a:r>
            <a:r>
              <a:rPr lang="de-DE" altLang="zh-HK" dirty="0" smtClean="0">
                <a:solidFill>
                  <a:prstClr val="black"/>
                </a:solidFill>
              </a:rPr>
              <a:t> </a:t>
            </a:r>
            <a:r>
              <a:rPr lang="de-DE" altLang="zh-HK" dirty="0" err="1" smtClean="0">
                <a:solidFill>
                  <a:prstClr val="black"/>
                </a:solidFill>
              </a:rPr>
              <a:t>advantage</a:t>
            </a:r>
            <a:r>
              <a:rPr lang="de-DE" altLang="zh-HK" dirty="0" smtClean="0">
                <a:solidFill>
                  <a:prstClr val="black"/>
                </a:solidFill>
              </a:rPr>
              <a:t> </a:t>
            </a:r>
            <a:r>
              <a:rPr lang="de-DE" altLang="zh-HK" dirty="0">
                <a:solidFill>
                  <a:prstClr val="black"/>
                </a:solidFill>
              </a:rPr>
              <a:t>für </a:t>
            </a:r>
            <a:r>
              <a:rPr lang="de-DE" altLang="zh-HK" dirty="0" smtClean="0">
                <a:solidFill>
                  <a:prstClr val="black"/>
                </a:solidFill>
              </a:rPr>
              <a:t>export-</a:t>
            </a:r>
            <a:r>
              <a:rPr lang="de-DE" altLang="zh-HK" dirty="0" err="1" smtClean="0">
                <a:solidFill>
                  <a:prstClr val="black"/>
                </a:solidFill>
              </a:rPr>
              <a:t>oriented</a:t>
            </a:r>
            <a:r>
              <a:rPr lang="de-DE" altLang="zh-HK" dirty="0" smtClean="0">
                <a:solidFill>
                  <a:prstClr val="black"/>
                </a:solidFill>
              </a:rPr>
              <a:t> plant </a:t>
            </a:r>
            <a:r>
              <a:rPr lang="de-DE" altLang="zh-HK" dirty="0" err="1" smtClean="0">
                <a:solidFill>
                  <a:prstClr val="black"/>
                </a:solidFill>
              </a:rPr>
              <a:t>manufacturers</a:t>
            </a:r>
            <a:endParaRPr lang="de-DE" altLang="zh-HK" dirty="0">
              <a:solidFill>
                <a:prstClr val="black"/>
              </a:solidFill>
            </a:endParaRPr>
          </a:p>
          <a:p>
            <a:pPr marL="285750" lvl="7" indent="-285750" defTabSz="914400" eaLnBrk="0" hangingPunct="0">
              <a:spcAft>
                <a:spcPct val="20000"/>
              </a:spcAft>
              <a:buFont typeface="Arial" pitchFamily="34" charset="0"/>
              <a:buChar char="•"/>
              <a:defRPr/>
            </a:pPr>
            <a:r>
              <a:rPr lang="de-DE" altLang="zh-HK" b="1" dirty="0" err="1" smtClean="0">
                <a:solidFill>
                  <a:srgbClr val="FF0000"/>
                </a:solidFill>
              </a:rPr>
              <a:t>Cost</a:t>
            </a:r>
            <a:r>
              <a:rPr lang="de-DE" altLang="zh-HK" b="1" dirty="0" smtClean="0">
                <a:solidFill>
                  <a:srgbClr val="FF0000"/>
                </a:solidFill>
              </a:rPr>
              <a:t> </a:t>
            </a:r>
            <a:r>
              <a:rPr lang="de-DE" altLang="zh-HK" b="1" dirty="0" err="1" smtClean="0">
                <a:solidFill>
                  <a:srgbClr val="FF0000"/>
                </a:solidFill>
              </a:rPr>
              <a:t>share</a:t>
            </a:r>
            <a:r>
              <a:rPr lang="de-DE" altLang="zh-HK" b="1" dirty="0" smtClean="0">
                <a:solidFill>
                  <a:srgbClr val="FF0000"/>
                </a:solidFill>
              </a:rPr>
              <a:t>: </a:t>
            </a:r>
            <a:r>
              <a:rPr lang="de-DE" altLang="zh-HK" b="1" dirty="0">
                <a:solidFill>
                  <a:srgbClr val="FF0000"/>
                </a:solidFill>
              </a:rPr>
              <a:t>ca. </a:t>
            </a:r>
            <a:r>
              <a:rPr lang="de-DE" altLang="zh-HK" b="1" dirty="0" smtClean="0">
                <a:solidFill>
                  <a:srgbClr val="FF0000"/>
                </a:solidFill>
              </a:rPr>
              <a:t>€ 600 </a:t>
            </a:r>
            <a:r>
              <a:rPr lang="de-DE" altLang="zh-HK" b="1" dirty="0">
                <a:solidFill>
                  <a:srgbClr val="FF0000"/>
                </a:solidFill>
              </a:rPr>
              <a:t>Mio. </a:t>
            </a:r>
            <a:r>
              <a:rPr lang="de-DE" altLang="zh-HK" b="1" dirty="0" err="1" smtClean="0">
                <a:solidFill>
                  <a:srgbClr val="FF0000"/>
                </a:solidFill>
              </a:rPr>
              <a:t>for</a:t>
            </a:r>
            <a:r>
              <a:rPr lang="de-DE" altLang="zh-HK" b="1" dirty="0" smtClean="0">
                <a:solidFill>
                  <a:srgbClr val="FF0000"/>
                </a:solidFill>
              </a:rPr>
              <a:t> 2 </a:t>
            </a:r>
            <a:r>
              <a:rPr lang="de-DE" altLang="zh-HK" b="1" dirty="0" err="1" smtClean="0">
                <a:solidFill>
                  <a:srgbClr val="FF0000"/>
                </a:solidFill>
              </a:rPr>
              <a:t>plants</a:t>
            </a:r>
            <a:endParaRPr lang="de-DE" altLang="zh-HK" b="1" dirty="0">
              <a:solidFill>
                <a:srgbClr val="FF0000"/>
              </a:solidFill>
            </a:endParaRPr>
          </a:p>
          <a:p>
            <a:pPr marL="285750" lvl="7" indent="-285750" defTabSz="914400" eaLnBrk="0" hangingPunct="0">
              <a:spcAft>
                <a:spcPct val="20000"/>
              </a:spcAft>
              <a:buFont typeface="Arial" pitchFamily="34" charset="0"/>
              <a:buChar char="•"/>
              <a:defRPr/>
            </a:pPr>
            <a:r>
              <a:rPr lang="de-DE" altLang="zh-HK" dirty="0" smtClean="0">
                <a:solidFill>
                  <a:prstClr val="black"/>
                </a:solidFill>
              </a:rPr>
              <a:t>Example: Environmental Innovation Program </a:t>
            </a:r>
          </a:p>
          <a:p>
            <a:pPr marL="0" lvl="7" defTabSz="914400" eaLnBrk="0" hangingPunct="0">
              <a:spcAft>
                <a:spcPct val="20000"/>
              </a:spcAft>
              <a:defRPr/>
            </a:pPr>
            <a:r>
              <a:rPr lang="de-DE" altLang="zh-HK" dirty="0">
                <a:solidFill>
                  <a:prstClr val="black"/>
                </a:solidFill>
              </a:rPr>
              <a:t>	</a:t>
            </a:r>
            <a:r>
              <a:rPr lang="de-DE" altLang="zh-HK" dirty="0" smtClean="0">
                <a:solidFill>
                  <a:prstClr val="black"/>
                </a:solidFill>
              </a:rPr>
              <a:t>(German Ministry of the Environment)</a:t>
            </a:r>
            <a:endParaRPr lang="de-DE" altLang="zh-HK" dirty="0">
              <a:solidFill>
                <a:prstClr val="black"/>
              </a:solidFill>
            </a:endParaRPr>
          </a:p>
        </p:txBody>
      </p:sp>
      <p:pic>
        <p:nvPicPr>
          <p:cNvPr id="7175" name="Picture 12" descr="http://3.bp.blogspot.com/-FZiIRetGtXo/T3TMRFNtKqI/AAAAAAAAEto/gL_pQIJExh4/s1600/KFW+logo+201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2240" y="4371950"/>
            <a:ext cx="2082800" cy="531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2927250"/>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3"/>
          <p:cNvPicPr>
            <a:picLocks noChangeAspect="1" noChangeArrowheads="1"/>
          </p:cNvPicPr>
          <p:nvPr/>
        </p:nvPicPr>
        <p:blipFill rotWithShape="1">
          <a:blip r:embed="rId2" cstate="print"/>
          <a:srcRect r="13380" b="27979"/>
          <a:stretch/>
        </p:blipFill>
        <p:spPr bwMode="auto">
          <a:xfrm>
            <a:off x="0" y="904191"/>
            <a:ext cx="9144000" cy="5518863"/>
          </a:xfrm>
          <a:prstGeom prst="rect">
            <a:avLst/>
          </a:prstGeom>
          <a:noFill/>
          <a:ln w="9525">
            <a:noFill/>
            <a:miter lim="800000"/>
            <a:headEnd/>
            <a:tailEnd/>
          </a:ln>
        </p:spPr>
      </p:pic>
      <p:sp>
        <p:nvSpPr>
          <p:cNvPr id="17" name="Text Box 7"/>
          <p:cNvSpPr txBox="1">
            <a:spLocks noChangeArrowheads="1"/>
          </p:cNvSpPr>
          <p:nvPr/>
        </p:nvSpPr>
        <p:spPr bwMode="auto">
          <a:xfrm>
            <a:off x="228600" y="4048125"/>
            <a:ext cx="1357312" cy="257175"/>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r>
              <a:rPr lang="en-US" sz="900" dirty="0">
                <a:solidFill>
                  <a:srgbClr val="000000"/>
                </a:solidFill>
                <a:latin typeface="Arial" pitchFamily="34" charset="0"/>
                <a:cs typeface="Arial" pitchFamily="34" charset="0"/>
              </a:rPr>
              <a:t>Produced by</a:t>
            </a:r>
            <a:endParaRPr lang="en-US" dirty="0">
              <a:solidFill>
                <a:prstClr val="black"/>
              </a:solidFill>
              <a:latin typeface="Arial" pitchFamily="34" charset="0"/>
              <a:cs typeface="Arial" pitchFamily="34" charset="0"/>
            </a:endParaRPr>
          </a:p>
        </p:txBody>
      </p:sp>
      <p:pic>
        <p:nvPicPr>
          <p:cNvPr id="18" name="Picture 8" descr="Kwclear"/>
          <p:cNvPicPr>
            <a:picLocks noChangeAspect="1" noChangeArrowheads="1"/>
          </p:cNvPicPr>
          <p:nvPr/>
        </p:nvPicPr>
        <p:blipFill>
          <a:blip r:embed="rId3" cstate="print">
            <a:clrChange>
              <a:clrFrom>
                <a:srgbClr val="FDFDFD"/>
              </a:clrFrom>
              <a:clrTo>
                <a:srgbClr val="FDFDFD">
                  <a:alpha val="0"/>
                </a:srgbClr>
              </a:clrTo>
            </a:clrChange>
          </a:blip>
          <a:srcRect/>
          <a:stretch>
            <a:fillRect/>
          </a:stretch>
        </p:blipFill>
        <p:spPr bwMode="auto">
          <a:xfrm>
            <a:off x="228604" y="4250149"/>
            <a:ext cx="1279525" cy="226603"/>
          </a:xfrm>
          <a:prstGeom prst="rect">
            <a:avLst/>
          </a:prstGeom>
          <a:noFill/>
          <a:ln w="9525" algn="in">
            <a:noFill/>
            <a:miter lim="800000"/>
            <a:headEnd/>
            <a:tailEnd/>
          </a:ln>
          <a:effectLst/>
        </p:spPr>
      </p:pic>
      <p:sp>
        <p:nvSpPr>
          <p:cNvPr id="20" name="Text Box 9"/>
          <p:cNvSpPr txBox="1">
            <a:spLocks noChangeArrowheads="1"/>
          </p:cNvSpPr>
          <p:nvPr/>
        </p:nvSpPr>
        <p:spPr bwMode="auto">
          <a:xfrm>
            <a:off x="2362200" y="133350"/>
            <a:ext cx="2667000" cy="971550"/>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endParaRPr lang="en-US" sz="800" b="1" dirty="0">
              <a:solidFill>
                <a:srgbClr val="00CCFF"/>
              </a:solidFill>
              <a:latin typeface="Arial" pitchFamily="34" charset="0"/>
              <a:cs typeface="Arial" pitchFamily="34" charset="0"/>
            </a:endParaRPr>
          </a:p>
          <a:p>
            <a:pPr fontAlgn="base">
              <a:spcBef>
                <a:spcPct val="0"/>
              </a:spcBef>
              <a:spcAft>
                <a:spcPct val="0"/>
              </a:spcAft>
            </a:pPr>
            <a:r>
              <a:rPr lang="en-US" sz="2400" b="1" dirty="0">
                <a:solidFill>
                  <a:prstClr val="black"/>
                </a:solidFill>
                <a:latin typeface="Arial" pitchFamily="34" charset="0"/>
                <a:cs typeface="Arial" pitchFamily="34" charset="0"/>
              </a:rPr>
              <a:t>CAAFI 2014</a:t>
            </a:r>
          </a:p>
          <a:p>
            <a:pPr fontAlgn="base">
              <a:spcBef>
                <a:spcPct val="0"/>
              </a:spcBef>
              <a:spcAft>
                <a:spcPct val="0"/>
              </a:spcAft>
            </a:pPr>
            <a:r>
              <a:rPr lang="en-US" sz="2400" b="1" dirty="0">
                <a:solidFill>
                  <a:prstClr val="black"/>
                </a:solidFill>
                <a:latin typeface="Arial" pitchFamily="34" charset="0"/>
                <a:cs typeface="Arial" pitchFamily="34" charset="0"/>
              </a:rPr>
              <a:t>General Meeting</a:t>
            </a:r>
          </a:p>
          <a:p>
            <a:pPr fontAlgn="base">
              <a:spcBef>
                <a:spcPct val="0"/>
              </a:spcBef>
              <a:spcAft>
                <a:spcPct val="0"/>
              </a:spcAft>
            </a:pPr>
            <a:r>
              <a:rPr lang="en-US" sz="2400" b="1" dirty="0">
                <a:solidFill>
                  <a:prstClr val="black"/>
                </a:solidFill>
                <a:latin typeface="Arial" pitchFamily="34" charset="0"/>
                <a:cs typeface="Arial" pitchFamily="34" charset="0"/>
              </a:rPr>
              <a:t>&amp; Expo</a:t>
            </a:r>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801" y="66179"/>
            <a:ext cx="1981200" cy="1286372"/>
          </a:xfrm>
          <a:prstGeom prst="rect">
            <a:avLst/>
          </a:prstGeom>
        </p:spPr>
      </p:pic>
      <p:sp>
        <p:nvSpPr>
          <p:cNvPr id="2" name="TextBox 1"/>
          <p:cNvSpPr txBox="1"/>
          <p:nvPr/>
        </p:nvSpPr>
        <p:spPr>
          <a:xfrm>
            <a:off x="228604" y="1270160"/>
            <a:ext cx="5333999" cy="1908203"/>
          </a:xfrm>
          <a:prstGeom prst="rect">
            <a:avLst/>
          </a:prstGeom>
          <a:noFill/>
        </p:spPr>
        <p:txBody>
          <a:bodyPr wrap="square" lIns="91428" tIns="45714" rIns="91428" bIns="45714" rtlCol="0">
            <a:spAutoFit/>
          </a:bodyPr>
          <a:lstStyle/>
          <a:p>
            <a:r>
              <a:rPr lang="en-US" sz="4200" dirty="0">
                <a:solidFill>
                  <a:prstClr val="black"/>
                </a:solidFill>
              </a:rPr>
              <a:t>International Initiatives</a:t>
            </a:r>
          </a:p>
          <a:p>
            <a:r>
              <a:rPr lang="en-US" sz="2800" dirty="0" smtClean="0">
                <a:solidFill>
                  <a:prstClr val="black"/>
                </a:solidFill>
              </a:rPr>
              <a:t>Jane </a:t>
            </a:r>
            <a:r>
              <a:rPr lang="en-US" sz="2800" dirty="0" err="1">
                <a:solidFill>
                  <a:prstClr val="black"/>
                </a:solidFill>
              </a:rPr>
              <a:t>Hupe</a:t>
            </a:r>
            <a:r>
              <a:rPr lang="en-US" sz="2800" dirty="0">
                <a:solidFill>
                  <a:prstClr val="black"/>
                </a:solidFill>
              </a:rPr>
              <a:t>, </a:t>
            </a:r>
          </a:p>
          <a:p>
            <a:r>
              <a:rPr lang="en-US" sz="2400" dirty="0">
                <a:solidFill>
                  <a:prstClr val="black"/>
                </a:solidFill>
              </a:rPr>
              <a:t>Chief of ICAO Environment Branch</a:t>
            </a:r>
          </a:p>
          <a:p>
            <a:endParaRPr lang="en-US" sz="2400" dirty="0">
              <a:solidFill>
                <a:prstClr val="black"/>
              </a:solidFill>
            </a:endParaRPr>
          </a:p>
        </p:txBody>
      </p:sp>
    </p:spTree>
    <p:extLst>
      <p:ext uri="{BB962C8B-B14F-4D97-AF65-F5344CB8AC3E}">
        <p14:creationId xmlns:p14="http://schemas.microsoft.com/office/powerpoint/2010/main" val="128455577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972" y="1877589"/>
            <a:ext cx="6696273" cy="3002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Grafik 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29551" y="51470"/>
            <a:ext cx="1114425" cy="40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p:nvSpPr>
        <p:spPr bwMode="auto">
          <a:xfrm>
            <a:off x="539751" y="-20538"/>
            <a:ext cx="6696075" cy="573881"/>
          </a:xfrm>
          <a:prstGeom prst="rect">
            <a:avLst/>
          </a:prstGeom>
          <a:noFill/>
          <a:ln w="9525">
            <a:noFill/>
            <a:miter lim="800000"/>
            <a:headEnd/>
            <a:tailEnd/>
          </a:ln>
        </p:spPr>
        <p:txBody>
          <a:bodyPr anchor="ctr"/>
          <a:lstStyle/>
          <a:p>
            <a:pPr defTabSz="914400" fontAlgn="base">
              <a:spcBef>
                <a:spcPct val="0"/>
              </a:spcBef>
              <a:spcAft>
                <a:spcPct val="0"/>
              </a:spcAft>
              <a:defRPr/>
            </a:pPr>
            <a:r>
              <a:rPr lang="de-DE" sz="2400" b="1" dirty="0" smtClean="0">
                <a:solidFill>
                  <a:srgbClr val="0064AE"/>
                </a:solidFill>
                <a:cs typeface="Arial" pitchFamily="34" charset="0"/>
              </a:rPr>
              <a:t>Market </a:t>
            </a:r>
            <a:r>
              <a:rPr lang="de-DE" sz="2400" b="1" dirty="0" err="1" smtClean="0">
                <a:solidFill>
                  <a:srgbClr val="0064AE"/>
                </a:solidFill>
                <a:cs typeface="Arial" pitchFamily="34" charset="0"/>
              </a:rPr>
              <a:t>readiness</a:t>
            </a:r>
            <a:r>
              <a:rPr lang="de-DE" sz="2400" b="1" dirty="0" smtClean="0">
                <a:solidFill>
                  <a:srgbClr val="0064AE"/>
                </a:solidFill>
                <a:cs typeface="Arial" pitchFamily="34" charset="0"/>
              </a:rPr>
              <a:t> </a:t>
            </a:r>
            <a:r>
              <a:rPr lang="de-DE" sz="2400" b="1" dirty="0">
                <a:solidFill>
                  <a:srgbClr val="0064AE"/>
                </a:solidFill>
                <a:cs typeface="Arial" pitchFamily="34" charset="0"/>
              </a:rPr>
              <a:t>– </a:t>
            </a:r>
            <a:r>
              <a:rPr lang="de-DE" sz="2400" b="1" dirty="0" err="1" smtClean="0">
                <a:solidFill>
                  <a:srgbClr val="0064AE"/>
                </a:solidFill>
                <a:cs typeface="Arial" pitchFamily="34" charset="0"/>
              </a:rPr>
              <a:t>enhancing</a:t>
            </a:r>
            <a:r>
              <a:rPr lang="de-DE" sz="2400" b="1" dirty="0" smtClean="0">
                <a:solidFill>
                  <a:srgbClr val="0064AE"/>
                </a:solidFill>
                <a:cs typeface="Arial" pitchFamily="34" charset="0"/>
              </a:rPr>
              <a:t> </a:t>
            </a:r>
            <a:r>
              <a:rPr lang="de-DE" sz="2400" b="1" dirty="0" err="1" smtClean="0">
                <a:solidFill>
                  <a:srgbClr val="0064AE"/>
                </a:solidFill>
                <a:cs typeface="Arial" pitchFamily="34" charset="0"/>
              </a:rPr>
              <a:t>compatitiveness</a:t>
            </a:r>
            <a:endParaRPr lang="de-DE" sz="2400" b="1" dirty="0">
              <a:solidFill>
                <a:srgbClr val="0064AE"/>
              </a:solidFill>
              <a:cs typeface="Arial" pitchFamily="34" charset="0"/>
            </a:endParaRPr>
          </a:p>
        </p:txBody>
      </p:sp>
      <p:cxnSp>
        <p:nvCxnSpPr>
          <p:cNvPr id="30" name="Gerade Verbindung 29"/>
          <p:cNvCxnSpPr/>
          <p:nvPr/>
        </p:nvCxnSpPr>
        <p:spPr>
          <a:xfrm>
            <a:off x="0" y="555526"/>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sp>
        <p:nvSpPr>
          <p:cNvPr id="17" name="Rechteck 30"/>
          <p:cNvSpPr>
            <a:spLocks noChangeArrowheads="1"/>
          </p:cNvSpPr>
          <p:nvPr/>
        </p:nvSpPr>
        <p:spPr bwMode="auto">
          <a:xfrm>
            <a:off x="375023" y="555526"/>
            <a:ext cx="8568952" cy="1311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588" lvl="6" defTabSz="914400" eaLnBrk="0" hangingPunct="0">
              <a:spcAft>
                <a:spcPct val="20000"/>
              </a:spcAft>
              <a:defRPr/>
            </a:pPr>
            <a:r>
              <a:rPr lang="de-DE" altLang="zh-HK" b="1" u="sng" dirty="0" err="1" smtClean="0">
                <a:solidFill>
                  <a:srgbClr val="0064AE"/>
                </a:solidFill>
              </a:rPr>
              <a:t>Current</a:t>
            </a:r>
            <a:r>
              <a:rPr lang="de-DE" altLang="zh-HK" b="1" u="sng" dirty="0" smtClean="0">
                <a:solidFill>
                  <a:srgbClr val="0064AE"/>
                </a:solidFill>
              </a:rPr>
              <a:t> </a:t>
            </a:r>
            <a:r>
              <a:rPr lang="de-DE" altLang="zh-HK" b="1" u="sng" dirty="0" err="1" smtClean="0">
                <a:solidFill>
                  <a:srgbClr val="0064AE"/>
                </a:solidFill>
              </a:rPr>
              <a:t>price</a:t>
            </a:r>
            <a:r>
              <a:rPr lang="de-DE" altLang="zh-HK" b="1" u="sng" dirty="0" smtClean="0">
                <a:solidFill>
                  <a:srgbClr val="0064AE"/>
                </a:solidFill>
              </a:rPr>
              <a:t> </a:t>
            </a:r>
            <a:r>
              <a:rPr lang="de-DE" altLang="zh-HK" b="1" u="sng" dirty="0" err="1" smtClean="0">
                <a:solidFill>
                  <a:srgbClr val="0064AE"/>
                </a:solidFill>
              </a:rPr>
              <a:t>differences</a:t>
            </a:r>
            <a:r>
              <a:rPr lang="de-DE" altLang="zh-HK" b="1" u="sng" dirty="0" smtClean="0">
                <a:solidFill>
                  <a:srgbClr val="0064AE"/>
                </a:solidFill>
              </a:rPr>
              <a:t> </a:t>
            </a:r>
            <a:r>
              <a:rPr lang="de-DE" altLang="zh-HK" b="1" u="sng" dirty="0" err="1" smtClean="0">
                <a:solidFill>
                  <a:srgbClr val="0064AE"/>
                </a:solidFill>
              </a:rPr>
              <a:t>prohibit</a:t>
            </a:r>
            <a:r>
              <a:rPr lang="de-DE" altLang="zh-HK" b="1" u="sng" dirty="0" smtClean="0">
                <a:solidFill>
                  <a:srgbClr val="0064AE"/>
                </a:solidFill>
              </a:rPr>
              <a:t> an </a:t>
            </a:r>
            <a:r>
              <a:rPr lang="de-DE" altLang="zh-HK" b="1" u="sng" dirty="0" err="1" smtClean="0">
                <a:solidFill>
                  <a:srgbClr val="0064AE"/>
                </a:solidFill>
              </a:rPr>
              <a:t>increased</a:t>
            </a:r>
            <a:r>
              <a:rPr lang="de-DE" altLang="zh-HK" b="1" u="sng" dirty="0" smtClean="0">
                <a:solidFill>
                  <a:srgbClr val="0064AE"/>
                </a:solidFill>
              </a:rPr>
              <a:t> </a:t>
            </a:r>
            <a:r>
              <a:rPr lang="de-DE" altLang="zh-HK" b="1" u="sng" dirty="0" err="1" smtClean="0">
                <a:solidFill>
                  <a:srgbClr val="0064AE"/>
                </a:solidFill>
              </a:rPr>
              <a:t>usage</a:t>
            </a:r>
            <a:r>
              <a:rPr lang="de-DE" altLang="zh-HK" b="1" u="sng" dirty="0" smtClean="0">
                <a:solidFill>
                  <a:srgbClr val="0064AE"/>
                </a:solidFill>
              </a:rPr>
              <a:t> </a:t>
            </a:r>
            <a:r>
              <a:rPr lang="de-DE" altLang="zh-HK" b="1" u="sng" dirty="0" err="1" smtClean="0">
                <a:solidFill>
                  <a:srgbClr val="0064AE"/>
                </a:solidFill>
              </a:rPr>
              <a:t>of</a:t>
            </a:r>
            <a:r>
              <a:rPr lang="de-DE" altLang="zh-HK" b="1" u="sng" dirty="0" smtClean="0">
                <a:solidFill>
                  <a:srgbClr val="0064AE"/>
                </a:solidFill>
              </a:rPr>
              <a:t> alternative </a:t>
            </a:r>
            <a:r>
              <a:rPr lang="de-DE" altLang="zh-HK" b="1" u="sng" dirty="0" err="1" smtClean="0">
                <a:solidFill>
                  <a:srgbClr val="0064AE"/>
                </a:solidFill>
              </a:rPr>
              <a:t>aviation</a:t>
            </a:r>
            <a:r>
              <a:rPr lang="de-DE" altLang="zh-HK" b="1" u="sng" dirty="0" smtClean="0">
                <a:solidFill>
                  <a:srgbClr val="0064AE"/>
                </a:solidFill>
              </a:rPr>
              <a:t> </a:t>
            </a:r>
            <a:r>
              <a:rPr lang="de-DE" altLang="zh-HK" b="1" u="sng" dirty="0" err="1" smtClean="0">
                <a:solidFill>
                  <a:srgbClr val="0064AE"/>
                </a:solidFill>
              </a:rPr>
              <a:t>fuel</a:t>
            </a:r>
            <a:r>
              <a:rPr lang="de-DE" altLang="zh-HK" b="1" u="sng" dirty="0" smtClean="0">
                <a:solidFill>
                  <a:srgbClr val="0064AE"/>
                </a:solidFill>
              </a:rPr>
              <a:t> </a:t>
            </a:r>
            <a:endParaRPr lang="de-DE" altLang="zh-HK" b="1" u="sng" dirty="0">
              <a:solidFill>
                <a:srgbClr val="0064AE"/>
              </a:solidFill>
            </a:endParaRPr>
          </a:p>
          <a:p>
            <a:pPr marL="287338" lvl="6" indent="-285750" defTabSz="914400" eaLnBrk="0" hangingPunct="0">
              <a:spcAft>
                <a:spcPct val="20000"/>
              </a:spcAft>
              <a:buFont typeface="Arial" pitchFamily="34" charset="0"/>
              <a:buChar char="•"/>
              <a:defRPr/>
            </a:pPr>
            <a:r>
              <a:rPr lang="de-DE" altLang="zh-HK" dirty="0" smtClean="0">
                <a:solidFill>
                  <a:prstClr val="black"/>
                </a:solidFill>
              </a:rPr>
              <a:t>The </a:t>
            </a:r>
            <a:r>
              <a:rPr lang="de-DE" altLang="zh-HK" dirty="0" err="1" smtClean="0">
                <a:solidFill>
                  <a:prstClr val="black"/>
                </a:solidFill>
              </a:rPr>
              <a:t>aforementioned</a:t>
            </a:r>
            <a:r>
              <a:rPr lang="de-DE" altLang="zh-HK" dirty="0" smtClean="0">
                <a:solidFill>
                  <a:prstClr val="black"/>
                </a:solidFill>
              </a:rPr>
              <a:t> </a:t>
            </a:r>
            <a:r>
              <a:rPr lang="de-DE" altLang="zh-HK" dirty="0" err="1" smtClean="0">
                <a:solidFill>
                  <a:prstClr val="black"/>
                </a:solidFill>
              </a:rPr>
              <a:t>measures</a:t>
            </a:r>
            <a:r>
              <a:rPr lang="de-DE" altLang="zh-HK" dirty="0" smtClean="0">
                <a:solidFill>
                  <a:prstClr val="black"/>
                </a:solidFill>
              </a:rPr>
              <a:t> </a:t>
            </a:r>
            <a:r>
              <a:rPr lang="de-DE" altLang="zh-HK" dirty="0" err="1" smtClean="0">
                <a:solidFill>
                  <a:prstClr val="black"/>
                </a:solidFill>
              </a:rPr>
              <a:t>contribute</a:t>
            </a:r>
            <a:r>
              <a:rPr lang="de-DE" altLang="zh-HK" dirty="0" smtClean="0">
                <a:solidFill>
                  <a:prstClr val="black"/>
                </a:solidFill>
              </a:rPr>
              <a:t> </a:t>
            </a:r>
            <a:r>
              <a:rPr lang="de-DE" altLang="zh-HK" dirty="0" err="1" smtClean="0">
                <a:solidFill>
                  <a:prstClr val="black"/>
                </a:solidFill>
              </a:rPr>
              <a:t>to</a:t>
            </a:r>
            <a:r>
              <a:rPr lang="de-DE" altLang="zh-HK" dirty="0" smtClean="0">
                <a:solidFill>
                  <a:prstClr val="black"/>
                </a:solidFill>
              </a:rPr>
              <a:t> </a:t>
            </a:r>
            <a:r>
              <a:rPr lang="de-DE" altLang="zh-HK" dirty="0" err="1" smtClean="0">
                <a:solidFill>
                  <a:prstClr val="black"/>
                </a:solidFill>
              </a:rPr>
              <a:t>lowering</a:t>
            </a:r>
            <a:r>
              <a:rPr lang="de-DE" altLang="zh-HK" dirty="0" smtClean="0">
                <a:solidFill>
                  <a:prstClr val="black"/>
                </a:solidFill>
              </a:rPr>
              <a:t> </a:t>
            </a:r>
            <a:r>
              <a:rPr lang="de-DE" altLang="zh-HK" dirty="0" err="1" smtClean="0">
                <a:solidFill>
                  <a:prstClr val="black"/>
                </a:solidFill>
              </a:rPr>
              <a:t>the</a:t>
            </a:r>
            <a:r>
              <a:rPr lang="de-DE" altLang="zh-HK" dirty="0" smtClean="0">
                <a:solidFill>
                  <a:prstClr val="black"/>
                </a:solidFill>
              </a:rPr>
              <a:t> high </a:t>
            </a:r>
            <a:r>
              <a:rPr lang="de-DE" altLang="zh-HK" dirty="0" err="1" smtClean="0">
                <a:solidFill>
                  <a:prstClr val="black"/>
                </a:solidFill>
              </a:rPr>
              <a:t>price</a:t>
            </a:r>
            <a:r>
              <a:rPr lang="de-DE" altLang="zh-HK" dirty="0" smtClean="0">
                <a:solidFill>
                  <a:prstClr val="black"/>
                </a:solidFill>
              </a:rPr>
              <a:t> </a:t>
            </a:r>
            <a:r>
              <a:rPr lang="de-DE" altLang="zh-HK" dirty="0" err="1" smtClean="0">
                <a:solidFill>
                  <a:prstClr val="black"/>
                </a:solidFill>
              </a:rPr>
              <a:t>of</a:t>
            </a:r>
            <a:r>
              <a:rPr lang="de-DE" altLang="zh-HK" dirty="0" smtClean="0">
                <a:solidFill>
                  <a:prstClr val="black"/>
                </a:solidFill>
              </a:rPr>
              <a:t> alternative </a:t>
            </a:r>
            <a:r>
              <a:rPr lang="de-DE" altLang="zh-HK" dirty="0" err="1" smtClean="0">
                <a:solidFill>
                  <a:prstClr val="black"/>
                </a:solidFill>
              </a:rPr>
              <a:t>aviation</a:t>
            </a:r>
            <a:r>
              <a:rPr lang="de-DE" altLang="zh-HK" dirty="0" smtClean="0">
                <a:solidFill>
                  <a:prstClr val="black"/>
                </a:solidFill>
              </a:rPr>
              <a:t> </a:t>
            </a:r>
            <a:r>
              <a:rPr lang="de-DE" altLang="zh-HK" dirty="0" err="1" smtClean="0">
                <a:solidFill>
                  <a:prstClr val="black"/>
                </a:solidFill>
              </a:rPr>
              <a:t>fuel</a:t>
            </a:r>
            <a:endParaRPr lang="de-DE" altLang="zh-HK" dirty="0">
              <a:solidFill>
                <a:prstClr val="black"/>
              </a:solidFill>
            </a:endParaRPr>
          </a:p>
          <a:p>
            <a:pPr marL="287338" lvl="6" indent="-285750" defTabSz="914400" eaLnBrk="0" hangingPunct="0">
              <a:spcAft>
                <a:spcPct val="20000"/>
              </a:spcAft>
              <a:buFont typeface="Arial" pitchFamily="34" charset="0"/>
              <a:buChar char="•"/>
              <a:defRPr/>
            </a:pPr>
            <a:r>
              <a:rPr lang="de-DE" altLang="zh-HK" dirty="0" smtClean="0">
                <a:solidFill>
                  <a:prstClr val="black"/>
                </a:solidFill>
              </a:rPr>
              <a:t>The </a:t>
            </a:r>
            <a:r>
              <a:rPr lang="de-DE" altLang="zh-HK" dirty="0" err="1" smtClean="0">
                <a:solidFill>
                  <a:prstClr val="black"/>
                </a:solidFill>
              </a:rPr>
              <a:t>most</a:t>
            </a:r>
            <a:r>
              <a:rPr lang="de-DE" altLang="zh-HK" dirty="0" smtClean="0">
                <a:solidFill>
                  <a:prstClr val="black"/>
                </a:solidFill>
              </a:rPr>
              <a:t> </a:t>
            </a:r>
            <a:r>
              <a:rPr lang="de-DE" altLang="zh-HK" dirty="0" err="1" smtClean="0">
                <a:solidFill>
                  <a:prstClr val="black"/>
                </a:solidFill>
              </a:rPr>
              <a:t>important</a:t>
            </a:r>
            <a:r>
              <a:rPr lang="de-DE" altLang="zh-HK" dirty="0" smtClean="0">
                <a:solidFill>
                  <a:prstClr val="black"/>
                </a:solidFill>
              </a:rPr>
              <a:t> </a:t>
            </a:r>
            <a:r>
              <a:rPr lang="de-DE" altLang="zh-HK" dirty="0" err="1" smtClean="0">
                <a:solidFill>
                  <a:prstClr val="black"/>
                </a:solidFill>
              </a:rPr>
              <a:t>lever</a:t>
            </a:r>
            <a:r>
              <a:rPr lang="de-DE" altLang="zh-HK" dirty="0" smtClean="0">
                <a:solidFill>
                  <a:prstClr val="black"/>
                </a:solidFill>
              </a:rPr>
              <a:t> </a:t>
            </a:r>
            <a:r>
              <a:rPr lang="de-DE" altLang="zh-HK" dirty="0" err="1" smtClean="0">
                <a:solidFill>
                  <a:prstClr val="black"/>
                </a:solidFill>
              </a:rPr>
              <a:t>is</a:t>
            </a:r>
            <a:r>
              <a:rPr lang="de-DE" altLang="zh-HK" dirty="0" smtClean="0">
                <a:solidFill>
                  <a:prstClr val="black"/>
                </a:solidFill>
              </a:rPr>
              <a:t> </a:t>
            </a:r>
            <a:r>
              <a:rPr lang="de-DE" altLang="zh-HK" dirty="0" err="1" smtClean="0">
                <a:solidFill>
                  <a:prstClr val="black"/>
                </a:solidFill>
              </a:rPr>
              <a:t>the</a:t>
            </a:r>
            <a:r>
              <a:rPr lang="de-DE" altLang="zh-HK" dirty="0" smtClean="0">
                <a:solidFill>
                  <a:prstClr val="black"/>
                </a:solidFill>
              </a:rPr>
              <a:t> </a:t>
            </a:r>
            <a:r>
              <a:rPr lang="de-DE" altLang="zh-HK" dirty="0" err="1" smtClean="0">
                <a:solidFill>
                  <a:prstClr val="black"/>
                </a:solidFill>
              </a:rPr>
              <a:t>price</a:t>
            </a:r>
            <a:r>
              <a:rPr lang="de-DE" altLang="zh-HK" dirty="0" smtClean="0">
                <a:solidFill>
                  <a:prstClr val="black"/>
                </a:solidFill>
              </a:rPr>
              <a:t> </a:t>
            </a:r>
            <a:r>
              <a:rPr lang="de-DE" altLang="zh-HK" dirty="0" err="1" smtClean="0">
                <a:solidFill>
                  <a:prstClr val="black"/>
                </a:solidFill>
              </a:rPr>
              <a:t>of</a:t>
            </a:r>
            <a:r>
              <a:rPr lang="de-DE" altLang="zh-HK" dirty="0" smtClean="0">
                <a:solidFill>
                  <a:prstClr val="black"/>
                </a:solidFill>
              </a:rPr>
              <a:t> </a:t>
            </a:r>
            <a:r>
              <a:rPr lang="de-DE" altLang="zh-HK" dirty="0" err="1" smtClean="0">
                <a:solidFill>
                  <a:prstClr val="black"/>
                </a:solidFill>
              </a:rPr>
              <a:t>feedstock</a:t>
            </a:r>
            <a:endParaRPr lang="de-DE" altLang="zh-HK" dirty="0">
              <a:solidFill>
                <a:prstClr val="black"/>
              </a:solidFill>
            </a:endParaRPr>
          </a:p>
        </p:txBody>
      </p:sp>
      <p:sp>
        <p:nvSpPr>
          <p:cNvPr id="3" name="Ellipse 2"/>
          <p:cNvSpPr/>
          <p:nvPr/>
        </p:nvSpPr>
        <p:spPr>
          <a:xfrm>
            <a:off x="3492500" y="4137422"/>
            <a:ext cx="215900" cy="1619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de-DE" sz="1400" b="1" dirty="0">
                <a:solidFill>
                  <a:prstClr val="black"/>
                </a:solidFill>
              </a:rPr>
              <a:t>1</a:t>
            </a:r>
          </a:p>
        </p:txBody>
      </p:sp>
      <p:sp>
        <p:nvSpPr>
          <p:cNvPr id="18" name="Ellipse 17"/>
          <p:cNvSpPr/>
          <p:nvPr/>
        </p:nvSpPr>
        <p:spPr>
          <a:xfrm>
            <a:off x="5508625" y="3112294"/>
            <a:ext cx="215900" cy="1619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de-DE" sz="1400" b="1" dirty="0">
                <a:solidFill>
                  <a:prstClr val="black"/>
                </a:solidFill>
              </a:rPr>
              <a:t>2</a:t>
            </a:r>
          </a:p>
        </p:txBody>
      </p:sp>
      <p:sp>
        <p:nvSpPr>
          <p:cNvPr id="19" name="Ellipse 18"/>
          <p:cNvSpPr/>
          <p:nvPr/>
        </p:nvSpPr>
        <p:spPr>
          <a:xfrm>
            <a:off x="5508625" y="4137422"/>
            <a:ext cx="215900" cy="1619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de-DE" sz="1400" b="1" dirty="0">
                <a:solidFill>
                  <a:prstClr val="black"/>
                </a:solidFill>
              </a:rPr>
              <a:t>3</a:t>
            </a:r>
          </a:p>
        </p:txBody>
      </p:sp>
      <p:sp>
        <p:nvSpPr>
          <p:cNvPr id="4" name="Rechteckige Legende 3"/>
          <p:cNvSpPr/>
          <p:nvPr/>
        </p:nvSpPr>
        <p:spPr>
          <a:xfrm>
            <a:off x="3348039" y="2466975"/>
            <a:ext cx="1176337" cy="536972"/>
          </a:xfrm>
          <a:prstGeom prst="wedgeRectCallout">
            <a:avLst>
              <a:gd name="adj1" fmla="val -20833"/>
              <a:gd name="adj2" fmla="val 70474"/>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85725" indent="-85725" defTabSz="914400" fontAlgn="base">
              <a:spcBef>
                <a:spcPct val="0"/>
              </a:spcBef>
              <a:spcAft>
                <a:spcPct val="0"/>
              </a:spcAft>
              <a:defRPr/>
            </a:pPr>
            <a:r>
              <a:rPr lang="de-DE" altLang="zh-HK" sz="800" dirty="0">
                <a:solidFill>
                  <a:prstClr val="black"/>
                </a:solidFill>
              </a:rPr>
              <a:t>    </a:t>
            </a:r>
            <a:r>
              <a:rPr lang="de-DE" altLang="zh-HK" sz="800" dirty="0" smtClean="0">
                <a:solidFill>
                  <a:prstClr val="black"/>
                </a:solidFill>
              </a:rPr>
              <a:t>Long-term </a:t>
            </a:r>
            <a:r>
              <a:rPr lang="de-DE" altLang="zh-HK" sz="800" dirty="0" err="1" smtClean="0">
                <a:solidFill>
                  <a:prstClr val="black"/>
                </a:solidFill>
              </a:rPr>
              <a:t>supply</a:t>
            </a:r>
            <a:r>
              <a:rPr lang="de-DE" altLang="zh-HK" sz="800" dirty="0" smtClean="0">
                <a:solidFill>
                  <a:prstClr val="black"/>
                </a:solidFill>
              </a:rPr>
              <a:t> </a:t>
            </a:r>
            <a:r>
              <a:rPr lang="de-DE" altLang="zh-HK" sz="800" dirty="0" err="1" smtClean="0">
                <a:solidFill>
                  <a:prstClr val="black"/>
                </a:solidFill>
              </a:rPr>
              <a:t>agreements</a:t>
            </a:r>
            <a:r>
              <a:rPr lang="de-DE" altLang="zh-HK" sz="800" dirty="0" smtClean="0">
                <a:solidFill>
                  <a:prstClr val="black"/>
                </a:solidFill>
              </a:rPr>
              <a:t> </a:t>
            </a:r>
            <a:r>
              <a:rPr lang="de-DE" altLang="zh-HK" sz="800" dirty="0" err="1" smtClean="0">
                <a:solidFill>
                  <a:prstClr val="black"/>
                </a:solidFill>
              </a:rPr>
              <a:t>lower</a:t>
            </a:r>
            <a:r>
              <a:rPr lang="de-DE" altLang="zh-HK" sz="800" dirty="0" smtClean="0">
                <a:solidFill>
                  <a:prstClr val="black"/>
                </a:solidFill>
              </a:rPr>
              <a:t> </a:t>
            </a:r>
            <a:r>
              <a:rPr lang="de-DE" altLang="zh-HK" sz="800" dirty="0" err="1" smtClean="0">
                <a:solidFill>
                  <a:prstClr val="black"/>
                </a:solidFill>
              </a:rPr>
              <a:t>and</a:t>
            </a:r>
            <a:r>
              <a:rPr lang="de-DE" altLang="zh-HK" sz="800" dirty="0" smtClean="0">
                <a:solidFill>
                  <a:prstClr val="black"/>
                </a:solidFill>
              </a:rPr>
              <a:t> fix </a:t>
            </a:r>
            <a:r>
              <a:rPr lang="de-DE" altLang="zh-HK" sz="800" dirty="0" err="1" smtClean="0">
                <a:solidFill>
                  <a:prstClr val="black"/>
                </a:solidFill>
              </a:rPr>
              <a:t>the</a:t>
            </a:r>
            <a:r>
              <a:rPr lang="de-DE" altLang="zh-HK" sz="800" dirty="0" smtClean="0">
                <a:solidFill>
                  <a:prstClr val="black"/>
                </a:solidFill>
              </a:rPr>
              <a:t> plant </a:t>
            </a:r>
            <a:r>
              <a:rPr lang="de-DE" altLang="zh-HK" sz="800" dirty="0" err="1" smtClean="0">
                <a:solidFill>
                  <a:prstClr val="black"/>
                </a:solidFill>
              </a:rPr>
              <a:t>oil</a:t>
            </a:r>
            <a:r>
              <a:rPr lang="de-DE" altLang="zh-HK" sz="800" dirty="0" smtClean="0">
                <a:solidFill>
                  <a:prstClr val="black"/>
                </a:solidFill>
              </a:rPr>
              <a:t> </a:t>
            </a:r>
            <a:r>
              <a:rPr lang="de-DE" altLang="zh-HK" sz="800" dirty="0" err="1" smtClean="0">
                <a:solidFill>
                  <a:prstClr val="black"/>
                </a:solidFill>
              </a:rPr>
              <a:t>price</a:t>
            </a:r>
            <a:endParaRPr lang="de-DE" sz="800" dirty="0">
              <a:solidFill>
                <a:prstClr val="black"/>
              </a:solidFill>
            </a:endParaRPr>
          </a:p>
        </p:txBody>
      </p:sp>
      <p:sp>
        <p:nvSpPr>
          <p:cNvPr id="20" name="Rechteckige Legende 19"/>
          <p:cNvSpPr/>
          <p:nvPr/>
        </p:nvSpPr>
        <p:spPr>
          <a:xfrm>
            <a:off x="5479132" y="1655695"/>
            <a:ext cx="1397125" cy="810090"/>
          </a:xfrm>
          <a:prstGeom prst="wedgeRectCallou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114300" lvl="6" indent="-112713" defTabSz="914400" eaLnBrk="0" hangingPunct="0">
              <a:spcAft>
                <a:spcPct val="20000"/>
              </a:spcAft>
              <a:defRPr/>
            </a:pPr>
            <a:r>
              <a:rPr lang="de-DE" altLang="zh-HK" sz="800" dirty="0">
                <a:solidFill>
                  <a:prstClr val="black"/>
                </a:solidFill>
              </a:rPr>
              <a:t>	</a:t>
            </a:r>
            <a:r>
              <a:rPr lang="de-DE" altLang="zh-HK" sz="800" dirty="0" smtClean="0">
                <a:solidFill>
                  <a:prstClr val="black"/>
                </a:solidFill>
              </a:rPr>
              <a:t>The </a:t>
            </a:r>
            <a:r>
              <a:rPr lang="de-DE" altLang="zh-HK" sz="800" dirty="0" err="1" smtClean="0">
                <a:solidFill>
                  <a:prstClr val="black"/>
                </a:solidFill>
              </a:rPr>
              <a:t>increase</a:t>
            </a:r>
            <a:r>
              <a:rPr lang="de-DE" altLang="zh-HK" sz="800" dirty="0" smtClean="0">
                <a:solidFill>
                  <a:prstClr val="black"/>
                </a:solidFill>
              </a:rPr>
              <a:t> </a:t>
            </a:r>
            <a:r>
              <a:rPr lang="de-DE" altLang="zh-HK" sz="800" dirty="0" err="1" smtClean="0">
                <a:solidFill>
                  <a:prstClr val="black"/>
                </a:solidFill>
              </a:rPr>
              <a:t>of</a:t>
            </a:r>
            <a:r>
              <a:rPr lang="de-DE" altLang="zh-HK" sz="800" dirty="0" smtClean="0">
                <a:solidFill>
                  <a:prstClr val="black"/>
                </a:solidFill>
              </a:rPr>
              <a:t> </a:t>
            </a:r>
            <a:r>
              <a:rPr lang="de-DE" altLang="zh-HK" sz="800" dirty="0" err="1" smtClean="0">
                <a:solidFill>
                  <a:prstClr val="black"/>
                </a:solidFill>
              </a:rPr>
              <a:t>biomethane</a:t>
            </a:r>
            <a:r>
              <a:rPr lang="de-DE" altLang="zh-HK" sz="800" dirty="0" smtClean="0">
                <a:solidFill>
                  <a:prstClr val="black"/>
                </a:solidFill>
              </a:rPr>
              <a:t> </a:t>
            </a:r>
            <a:r>
              <a:rPr lang="de-DE" altLang="zh-HK" sz="800" dirty="0" err="1" smtClean="0">
                <a:solidFill>
                  <a:prstClr val="black"/>
                </a:solidFill>
              </a:rPr>
              <a:t>production</a:t>
            </a:r>
            <a:r>
              <a:rPr lang="de-DE" altLang="zh-HK" sz="800" dirty="0" smtClean="0">
                <a:solidFill>
                  <a:prstClr val="black"/>
                </a:solidFill>
              </a:rPr>
              <a:t> </a:t>
            </a:r>
            <a:r>
              <a:rPr lang="de-DE" altLang="zh-HK" sz="800" dirty="0" err="1" smtClean="0">
                <a:solidFill>
                  <a:prstClr val="black"/>
                </a:solidFill>
              </a:rPr>
              <a:t>lowers</a:t>
            </a:r>
            <a:r>
              <a:rPr lang="de-DE" altLang="zh-HK" sz="800" dirty="0" smtClean="0">
                <a:solidFill>
                  <a:prstClr val="black"/>
                </a:solidFill>
              </a:rPr>
              <a:t> </a:t>
            </a:r>
            <a:r>
              <a:rPr lang="de-DE" altLang="zh-HK" sz="800" dirty="0" err="1" smtClean="0">
                <a:solidFill>
                  <a:prstClr val="black"/>
                </a:solidFill>
              </a:rPr>
              <a:t>costs</a:t>
            </a:r>
            <a:r>
              <a:rPr lang="de-DE" altLang="zh-HK" sz="800" dirty="0" smtClean="0">
                <a:solidFill>
                  <a:prstClr val="black"/>
                </a:solidFill>
              </a:rPr>
              <a:t> </a:t>
            </a:r>
            <a:r>
              <a:rPr lang="de-DE" altLang="zh-HK" sz="800" dirty="0" err="1" smtClean="0">
                <a:solidFill>
                  <a:prstClr val="black"/>
                </a:solidFill>
              </a:rPr>
              <a:t>towards</a:t>
            </a:r>
            <a:r>
              <a:rPr lang="de-DE" altLang="zh-HK" sz="800" dirty="0" smtClean="0">
                <a:solidFill>
                  <a:prstClr val="black"/>
                </a:solidFill>
              </a:rPr>
              <a:t> </a:t>
            </a:r>
            <a:r>
              <a:rPr lang="de-DE" altLang="zh-HK" sz="800" dirty="0" err="1" smtClean="0">
                <a:solidFill>
                  <a:prstClr val="black"/>
                </a:solidFill>
              </a:rPr>
              <a:t>the</a:t>
            </a:r>
            <a:r>
              <a:rPr lang="de-DE" altLang="zh-HK" sz="800" dirty="0" smtClean="0">
                <a:solidFill>
                  <a:prstClr val="black"/>
                </a:solidFill>
              </a:rPr>
              <a:t> </a:t>
            </a:r>
            <a:r>
              <a:rPr lang="de-DE" altLang="zh-HK" sz="800" dirty="0" err="1" smtClean="0">
                <a:solidFill>
                  <a:prstClr val="black"/>
                </a:solidFill>
              </a:rPr>
              <a:t>price</a:t>
            </a:r>
            <a:r>
              <a:rPr lang="de-DE" altLang="zh-HK" sz="800" dirty="0" smtClean="0">
                <a:solidFill>
                  <a:prstClr val="black"/>
                </a:solidFill>
              </a:rPr>
              <a:t> </a:t>
            </a:r>
            <a:r>
              <a:rPr lang="de-DE" altLang="zh-HK" sz="800" dirty="0" err="1" smtClean="0">
                <a:solidFill>
                  <a:prstClr val="black"/>
                </a:solidFill>
              </a:rPr>
              <a:t>range</a:t>
            </a:r>
            <a:r>
              <a:rPr lang="de-DE" altLang="zh-HK" sz="800" dirty="0" smtClean="0">
                <a:solidFill>
                  <a:prstClr val="black"/>
                </a:solidFill>
              </a:rPr>
              <a:t> </a:t>
            </a:r>
            <a:r>
              <a:rPr lang="de-DE" altLang="zh-HK" sz="800" dirty="0" err="1" smtClean="0">
                <a:solidFill>
                  <a:prstClr val="black"/>
                </a:solidFill>
              </a:rPr>
              <a:t>of</a:t>
            </a:r>
            <a:r>
              <a:rPr lang="de-DE" altLang="zh-HK" sz="800" dirty="0" smtClean="0">
                <a:solidFill>
                  <a:prstClr val="black"/>
                </a:solidFill>
              </a:rPr>
              <a:t> </a:t>
            </a:r>
            <a:r>
              <a:rPr lang="de-DE" altLang="zh-HK" sz="800" dirty="0" err="1" smtClean="0">
                <a:solidFill>
                  <a:prstClr val="black"/>
                </a:solidFill>
              </a:rPr>
              <a:t>natural</a:t>
            </a:r>
            <a:r>
              <a:rPr lang="de-DE" altLang="zh-HK" sz="800" dirty="0" smtClean="0">
                <a:solidFill>
                  <a:prstClr val="black"/>
                </a:solidFill>
              </a:rPr>
              <a:t> gas</a:t>
            </a:r>
            <a:endParaRPr lang="de-DE" altLang="zh-HK" sz="800" dirty="0">
              <a:solidFill>
                <a:prstClr val="black"/>
              </a:solidFill>
            </a:endParaRPr>
          </a:p>
          <a:p>
            <a:pPr marL="114300" lvl="6" indent="-112713" defTabSz="914400" eaLnBrk="0" hangingPunct="0">
              <a:spcAft>
                <a:spcPct val="20000"/>
              </a:spcAft>
              <a:defRPr/>
            </a:pPr>
            <a:r>
              <a:rPr lang="de-DE" altLang="zh-HK" sz="800" dirty="0">
                <a:solidFill>
                  <a:prstClr val="black"/>
                </a:solidFill>
              </a:rPr>
              <a:t>	</a:t>
            </a:r>
            <a:r>
              <a:rPr lang="de-DE" altLang="zh-HK" sz="800" dirty="0" smtClean="0">
                <a:solidFill>
                  <a:prstClr val="black"/>
                </a:solidFill>
              </a:rPr>
              <a:t>The </a:t>
            </a:r>
            <a:r>
              <a:rPr lang="de-DE" altLang="zh-HK" sz="800" dirty="0" err="1" smtClean="0">
                <a:solidFill>
                  <a:prstClr val="black"/>
                </a:solidFill>
              </a:rPr>
              <a:t>up-scaling</a:t>
            </a:r>
            <a:r>
              <a:rPr lang="de-DE" altLang="zh-HK" sz="800" dirty="0" smtClean="0">
                <a:solidFill>
                  <a:prstClr val="black"/>
                </a:solidFill>
              </a:rPr>
              <a:t> </a:t>
            </a:r>
            <a:r>
              <a:rPr lang="de-DE" altLang="zh-HK" sz="800" dirty="0" err="1" smtClean="0">
                <a:solidFill>
                  <a:prstClr val="black"/>
                </a:solidFill>
              </a:rPr>
              <a:t>of</a:t>
            </a:r>
            <a:r>
              <a:rPr lang="de-DE" altLang="zh-HK" sz="800" dirty="0" smtClean="0">
                <a:solidFill>
                  <a:prstClr val="black"/>
                </a:solidFill>
              </a:rPr>
              <a:t> FT-</a:t>
            </a:r>
            <a:r>
              <a:rPr lang="de-DE" altLang="zh-HK" sz="800" dirty="0" err="1" smtClean="0">
                <a:solidFill>
                  <a:prstClr val="black"/>
                </a:solidFill>
              </a:rPr>
              <a:t>production</a:t>
            </a:r>
            <a:r>
              <a:rPr lang="de-DE" altLang="zh-HK" sz="800" dirty="0" smtClean="0">
                <a:solidFill>
                  <a:prstClr val="black"/>
                </a:solidFill>
              </a:rPr>
              <a:t> </a:t>
            </a:r>
            <a:r>
              <a:rPr lang="de-DE" altLang="zh-HK" sz="800" dirty="0" err="1" smtClean="0">
                <a:solidFill>
                  <a:prstClr val="black"/>
                </a:solidFill>
              </a:rPr>
              <a:t>lowers</a:t>
            </a:r>
            <a:r>
              <a:rPr lang="de-DE" altLang="zh-HK" sz="800" dirty="0" smtClean="0">
                <a:solidFill>
                  <a:prstClr val="black"/>
                </a:solidFill>
              </a:rPr>
              <a:t> </a:t>
            </a:r>
            <a:r>
              <a:rPr lang="de-DE" altLang="zh-HK" sz="800" dirty="0" err="1" smtClean="0">
                <a:solidFill>
                  <a:prstClr val="black"/>
                </a:solidFill>
              </a:rPr>
              <a:t>unit</a:t>
            </a:r>
            <a:r>
              <a:rPr lang="de-DE" altLang="zh-HK" sz="800" dirty="0" smtClean="0">
                <a:solidFill>
                  <a:prstClr val="black"/>
                </a:solidFill>
              </a:rPr>
              <a:t> </a:t>
            </a:r>
            <a:r>
              <a:rPr lang="de-DE" altLang="zh-HK" sz="800" dirty="0" err="1" smtClean="0">
                <a:solidFill>
                  <a:prstClr val="black"/>
                </a:solidFill>
              </a:rPr>
              <a:t>costs</a:t>
            </a:r>
            <a:endParaRPr lang="de-DE" altLang="zh-HK" sz="800" dirty="0" smtClean="0">
              <a:solidFill>
                <a:prstClr val="black"/>
              </a:solidFill>
            </a:endParaRPr>
          </a:p>
        </p:txBody>
      </p:sp>
      <p:sp>
        <p:nvSpPr>
          <p:cNvPr id="5" name="Textfeld 4"/>
          <p:cNvSpPr txBox="1"/>
          <p:nvPr/>
        </p:nvSpPr>
        <p:spPr>
          <a:xfrm>
            <a:off x="6228184" y="3795886"/>
            <a:ext cx="2592288" cy="1397306"/>
          </a:xfrm>
          <a:prstGeom prst="rect">
            <a:avLst/>
          </a:prstGeom>
          <a:noFill/>
        </p:spPr>
        <p:txBody>
          <a:bodyPr>
            <a:spAutoFit/>
          </a:bodyPr>
          <a:lstStyle/>
          <a:p>
            <a:pPr marL="1588" lvl="6" defTabSz="914400" eaLnBrk="0" hangingPunct="0">
              <a:spcAft>
                <a:spcPct val="20000"/>
              </a:spcAft>
              <a:defRPr/>
            </a:pPr>
            <a:r>
              <a:rPr lang="de-DE" altLang="zh-HK" sz="800" u="sng" dirty="0" smtClean="0">
                <a:solidFill>
                  <a:prstClr val="black"/>
                </a:solidFill>
              </a:rPr>
              <a:t>Legend</a:t>
            </a:r>
            <a:endParaRPr lang="de-DE" altLang="zh-HK" sz="800" u="sng" dirty="0">
              <a:solidFill>
                <a:prstClr val="black"/>
              </a:solidFill>
            </a:endParaRPr>
          </a:p>
          <a:p>
            <a:pPr marL="173038" lvl="6" indent="-171450" defTabSz="914400" eaLnBrk="0" hangingPunct="0">
              <a:spcAft>
                <a:spcPct val="20000"/>
              </a:spcAft>
              <a:buFont typeface="Arial" charset="0"/>
              <a:buChar char="•"/>
              <a:defRPr/>
            </a:pPr>
            <a:r>
              <a:rPr lang="de-DE" altLang="zh-HK" sz="800" dirty="0" smtClean="0">
                <a:solidFill>
                  <a:prstClr val="black"/>
                </a:solidFill>
              </a:rPr>
              <a:t>The </a:t>
            </a:r>
            <a:r>
              <a:rPr lang="de-DE" altLang="zh-HK" sz="800" dirty="0" err="1" smtClean="0">
                <a:solidFill>
                  <a:prstClr val="black"/>
                </a:solidFill>
              </a:rPr>
              <a:t>increasing</a:t>
            </a:r>
            <a:r>
              <a:rPr lang="de-DE" altLang="zh-HK" sz="800" dirty="0" smtClean="0">
                <a:solidFill>
                  <a:prstClr val="black"/>
                </a:solidFill>
              </a:rPr>
              <a:t> </a:t>
            </a:r>
            <a:r>
              <a:rPr lang="de-DE" altLang="zh-HK" sz="800" dirty="0" err="1" smtClean="0">
                <a:solidFill>
                  <a:prstClr val="black"/>
                </a:solidFill>
              </a:rPr>
              <a:t>demand</a:t>
            </a:r>
            <a:r>
              <a:rPr lang="de-DE" altLang="zh-HK" sz="800" dirty="0" smtClean="0">
                <a:solidFill>
                  <a:prstClr val="black"/>
                </a:solidFill>
              </a:rPr>
              <a:t>, </a:t>
            </a:r>
            <a:r>
              <a:rPr lang="de-DE" altLang="zh-HK" sz="800" dirty="0" err="1" smtClean="0">
                <a:solidFill>
                  <a:prstClr val="black"/>
                </a:solidFill>
              </a:rPr>
              <a:t>especially</a:t>
            </a:r>
            <a:r>
              <a:rPr lang="de-DE" altLang="zh-HK" sz="800" dirty="0" smtClean="0">
                <a:solidFill>
                  <a:prstClr val="black"/>
                </a:solidFill>
              </a:rPr>
              <a:t> </a:t>
            </a:r>
            <a:r>
              <a:rPr lang="de-DE" altLang="zh-HK" sz="800" dirty="0" err="1" smtClean="0">
                <a:solidFill>
                  <a:prstClr val="black"/>
                </a:solidFill>
              </a:rPr>
              <a:t>for</a:t>
            </a:r>
            <a:r>
              <a:rPr lang="de-DE" altLang="zh-HK" sz="800" dirty="0" smtClean="0">
                <a:solidFill>
                  <a:prstClr val="black"/>
                </a:solidFill>
              </a:rPr>
              <a:t> </a:t>
            </a:r>
            <a:r>
              <a:rPr lang="de-DE" altLang="zh-HK" sz="800" dirty="0" err="1" smtClean="0">
                <a:solidFill>
                  <a:prstClr val="black"/>
                </a:solidFill>
              </a:rPr>
              <a:t>middle</a:t>
            </a:r>
            <a:r>
              <a:rPr lang="de-DE" altLang="zh-HK" sz="800" dirty="0" smtClean="0">
                <a:solidFill>
                  <a:prstClr val="black"/>
                </a:solidFill>
              </a:rPr>
              <a:t> </a:t>
            </a:r>
            <a:r>
              <a:rPr lang="de-DE" altLang="zh-HK" sz="800" dirty="0" err="1" smtClean="0">
                <a:solidFill>
                  <a:prstClr val="black"/>
                </a:solidFill>
              </a:rPr>
              <a:t>distillates</a:t>
            </a:r>
            <a:r>
              <a:rPr lang="de-DE" altLang="zh-HK" sz="800" dirty="0" smtClean="0">
                <a:solidFill>
                  <a:prstClr val="black"/>
                </a:solidFill>
              </a:rPr>
              <a:t> (</a:t>
            </a:r>
            <a:r>
              <a:rPr lang="de-DE" altLang="zh-HK" sz="800" dirty="0" err="1" smtClean="0">
                <a:solidFill>
                  <a:prstClr val="black"/>
                </a:solidFill>
              </a:rPr>
              <a:t>diesel</a:t>
            </a:r>
            <a:r>
              <a:rPr lang="de-DE" altLang="zh-HK" sz="800" dirty="0" smtClean="0">
                <a:solidFill>
                  <a:prstClr val="black"/>
                </a:solidFill>
              </a:rPr>
              <a:t>, </a:t>
            </a:r>
            <a:r>
              <a:rPr lang="de-DE" altLang="zh-HK" sz="800" dirty="0" err="1" smtClean="0">
                <a:solidFill>
                  <a:prstClr val="black"/>
                </a:solidFill>
              </a:rPr>
              <a:t>jet</a:t>
            </a:r>
            <a:r>
              <a:rPr lang="de-DE" altLang="zh-HK" sz="800" dirty="0" smtClean="0">
                <a:solidFill>
                  <a:prstClr val="black"/>
                </a:solidFill>
              </a:rPr>
              <a:t> </a:t>
            </a:r>
            <a:r>
              <a:rPr lang="de-DE" altLang="zh-HK" sz="800" dirty="0" err="1" smtClean="0">
                <a:solidFill>
                  <a:prstClr val="black"/>
                </a:solidFill>
              </a:rPr>
              <a:t>fuel</a:t>
            </a:r>
            <a:r>
              <a:rPr lang="de-DE" altLang="zh-HK" sz="800" dirty="0" smtClean="0">
                <a:solidFill>
                  <a:prstClr val="black"/>
                </a:solidFill>
              </a:rPr>
              <a:t>) </a:t>
            </a:r>
            <a:r>
              <a:rPr lang="de-DE" altLang="zh-HK" sz="800" dirty="0" err="1" smtClean="0">
                <a:solidFill>
                  <a:prstClr val="black"/>
                </a:solidFill>
              </a:rPr>
              <a:t>is</a:t>
            </a:r>
            <a:r>
              <a:rPr lang="de-DE" altLang="zh-HK" sz="800" dirty="0" smtClean="0">
                <a:solidFill>
                  <a:prstClr val="black"/>
                </a:solidFill>
              </a:rPr>
              <a:t> probable </a:t>
            </a:r>
            <a:r>
              <a:rPr lang="de-DE" altLang="zh-HK" sz="800" dirty="0" err="1" smtClean="0">
                <a:solidFill>
                  <a:prstClr val="black"/>
                </a:solidFill>
              </a:rPr>
              <a:t>cause</a:t>
            </a:r>
            <a:r>
              <a:rPr lang="de-DE" altLang="zh-HK" sz="800" dirty="0" smtClean="0">
                <a:solidFill>
                  <a:prstClr val="black"/>
                </a:solidFill>
              </a:rPr>
              <a:t> </a:t>
            </a:r>
            <a:r>
              <a:rPr lang="de-DE" altLang="zh-HK" sz="800" dirty="0" err="1" smtClean="0">
                <a:solidFill>
                  <a:prstClr val="black"/>
                </a:solidFill>
              </a:rPr>
              <a:t>for</a:t>
            </a:r>
            <a:r>
              <a:rPr lang="de-DE" altLang="zh-HK" sz="800" dirty="0" smtClean="0">
                <a:solidFill>
                  <a:prstClr val="black"/>
                </a:solidFill>
              </a:rPr>
              <a:t> a </a:t>
            </a:r>
            <a:r>
              <a:rPr lang="de-DE" altLang="zh-HK" sz="800" dirty="0" err="1" smtClean="0">
                <a:solidFill>
                  <a:prstClr val="black"/>
                </a:solidFill>
              </a:rPr>
              <a:t>further</a:t>
            </a:r>
            <a:r>
              <a:rPr lang="de-DE" altLang="zh-HK" sz="800" dirty="0" smtClean="0">
                <a:solidFill>
                  <a:prstClr val="black"/>
                </a:solidFill>
              </a:rPr>
              <a:t> </a:t>
            </a:r>
            <a:r>
              <a:rPr lang="de-DE" altLang="zh-HK" sz="800" dirty="0" err="1" smtClean="0">
                <a:solidFill>
                  <a:prstClr val="black"/>
                </a:solidFill>
              </a:rPr>
              <a:t>price</a:t>
            </a:r>
            <a:r>
              <a:rPr lang="de-DE" altLang="zh-HK" sz="800" dirty="0" smtClean="0">
                <a:solidFill>
                  <a:prstClr val="black"/>
                </a:solidFill>
              </a:rPr>
              <a:t> </a:t>
            </a:r>
            <a:r>
              <a:rPr lang="de-DE" altLang="zh-HK" sz="800" dirty="0" err="1" smtClean="0">
                <a:solidFill>
                  <a:prstClr val="black"/>
                </a:solidFill>
              </a:rPr>
              <a:t>increase</a:t>
            </a:r>
            <a:r>
              <a:rPr lang="de-DE" altLang="zh-HK" sz="800" dirty="0" smtClean="0">
                <a:solidFill>
                  <a:prstClr val="black"/>
                </a:solidFill>
              </a:rPr>
              <a:t> </a:t>
            </a:r>
            <a:r>
              <a:rPr lang="de-DE" altLang="zh-HK" sz="800" dirty="0" err="1" smtClean="0">
                <a:solidFill>
                  <a:prstClr val="black"/>
                </a:solidFill>
              </a:rPr>
              <a:t>of</a:t>
            </a:r>
            <a:r>
              <a:rPr lang="de-DE" altLang="zh-HK" sz="800" dirty="0" smtClean="0">
                <a:solidFill>
                  <a:prstClr val="black"/>
                </a:solidFill>
              </a:rPr>
              <a:t> fossil </a:t>
            </a:r>
            <a:r>
              <a:rPr lang="de-DE" altLang="zh-HK" sz="800" dirty="0" err="1" smtClean="0">
                <a:solidFill>
                  <a:prstClr val="black"/>
                </a:solidFill>
              </a:rPr>
              <a:t>fuel</a:t>
            </a:r>
            <a:r>
              <a:rPr lang="de-DE" altLang="zh-HK" sz="800" dirty="0" smtClean="0">
                <a:solidFill>
                  <a:prstClr val="black"/>
                </a:solidFill>
              </a:rPr>
              <a:t>. </a:t>
            </a:r>
            <a:r>
              <a:rPr lang="de-DE" altLang="zh-HK" sz="800" dirty="0" err="1" smtClean="0">
                <a:solidFill>
                  <a:prstClr val="black"/>
                </a:solidFill>
              </a:rPr>
              <a:t>Therefore</a:t>
            </a:r>
            <a:r>
              <a:rPr lang="de-DE" altLang="zh-HK" sz="800" dirty="0" smtClean="0">
                <a:solidFill>
                  <a:prstClr val="black"/>
                </a:solidFill>
              </a:rPr>
              <a:t> </a:t>
            </a:r>
            <a:r>
              <a:rPr lang="de-DE" altLang="zh-HK" sz="800" dirty="0" err="1" smtClean="0">
                <a:solidFill>
                  <a:prstClr val="black"/>
                </a:solidFill>
              </a:rPr>
              <a:t>price</a:t>
            </a:r>
            <a:r>
              <a:rPr lang="de-DE" altLang="zh-HK" sz="800" dirty="0" smtClean="0">
                <a:solidFill>
                  <a:prstClr val="black"/>
                </a:solidFill>
              </a:rPr>
              <a:t> </a:t>
            </a:r>
            <a:r>
              <a:rPr lang="de-DE" altLang="zh-HK" sz="800" dirty="0" err="1" smtClean="0">
                <a:solidFill>
                  <a:prstClr val="black"/>
                </a:solidFill>
              </a:rPr>
              <a:t>parity</a:t>
            </a:r>
            <a:r>
              <a:rPr lang="de-DE" altLang="zh-HK" sz="800" dirty="0" smtClean="0">
                <a:solidFill>
                  <a:prstClr val="black"/>
                </a:solidFill>
              </a:rPr>
              <a:t> </a:t>
            </a:r>
            <a:r>
              <a:rPr lang="de-DE" altLang="zh-HK" sz="800" dirty="0" err="1" smtClean="0">
                <a:solidFill>
                  <a:prstClr val="black"/>
                </a:solidFill>
              </a:rPr>
              <a:t>is</a:t>
            </a:r>
            <a:r>
              <a:rPr lang="de-DE" altLang="zh-HK" sz="800" dirty="0" smtClean="0">
                <a:solidFill>
                  <a:prstClr val="black"/>
                </a:solidFill>
              </a:rPr>
              <a:t> just a matter </a:t>
            </a:r>
            <a:r>
              <a:rPr lang="de-DE" altLang="zh-HK" sz="800" dirty="0" err="1" smtClean="0">
                <a:solidFill>
                  <a:prstClr val="black"/>
                </a:solidFill>
              </a:rPr>
              <a:t>of</a:t>
            </a:r>
            <a:r>
              <a:rPr lang="de-DE" altLang="zh-HK" sz="800" dirty="0" smtClean="0">
                <a:solidFill>
                  <a:prstClr val="black"/>
                </a:solidFill>
              </a:rPr>
              <a:t> time. </a:t>
            </a:r>
          </a:p>
          <a:p>
            <a:pPr marL="173038" lvl="6" indent="-171450" defTabSz="914400" eaLnBrk="0" hangingPunct="0">
              <a:spcAft>
                <a:spcPct val="20000"/>
              </a:spcAft>
              <a:buFont typeface="Arial" charset="0"/>
              <a:buChar char="•"/>
              <a:defRPr/>
            </a:pPr>
            <a:r>
              <a:rPr lang="de-DE" altLang="zh-HK" sz="800" dirty="0" smtClean="0">
                <a:solidFill>
                  <a:prstClr val="black"/>
                </a:solidFill>
              </a:rPr>
              <a:t>The </a:t>
            </a:r>
            <a:r>
              <a:rPr lang="de-DE" altLang="zh-HK" sz="800" dirty="0" err="1" smtClean="0">
                <a:solidFill>
                  <a:prstClr val="black"/>
                </a:solidFill>
              </a:rPr>
              <a:t>arrow</a:t>
            </a:r>
            <a:r>
              <a:rPr lang="de-DE" altLang="zh-HK" sz="800" dirty="0" smtClean="0">
                <a:solidFill>
                  <a:prstClr val="black"/>
                </a:solidFill>
              </a:rPr>
              <a:t> </a:t>
            </a:r>
            <a:r>
              <a:rPr lang="de-DE" altLang="zh-HK" sz="800" dirty="0" err="1" smtClean="0">
                <a:solidFill>
                  <a:prstClr val="black"/>
                </a:solidFill>
              </a:rPr>
              <a:t>sign</a:t>
            </a:r>
            <a:r>
              <a:rPr lang="de-DE" altLang="zh-HK" sz="800" dirty="0" smtClean="0">
                <a:solidFill>
                  <a:prstClr val="black"/>
                </a:solidFill>
              </a:rPr>
              <a:t> </a:t>
            </a:r>
            <a:r>
              <a:rPr lang="de-DE" altLang="zh-HK" sz="800" dirty="0" err="1" smtClean="0">
                <a:solidFill>
                  <a:prstClr val="black"/>
                </a:solidFill>
              </a:rPr>
              <a:t>shows</a:t>
            </a:r>
            <a:r>
              <a:rPr lang="de-DE" altLang="zh-HK" sz="800" dirty="0" smtClean="0">
                <a:solidFill>
                  <a:prstClr val="black"/>
                </a:solidFill>
              </a:rPr>
              <a:t> </a:t>
            </a:r>
            <a:r>
              <a:rPr lang="de-DE" altLang="zh-HK" sz="800" dirty="0" err="1" smtClean="0">
                <a:solidFill>
                  <a:prstClr val="black"/>
                </a:solidFill>
              </a:rPr>
              <a:t>the</a:t>
            </a:r>
            <a:r>
              <a:rPr lang="de-DE" altLang="zh-HK" sz="800" dirty="0" smtClean="0">
                <a:solidFill>
                  <a:prstClr val="black"/>
                </a:solidFill>
              </a:rPr>
              <a:t> </a:t>
            </a:r>
            <a:r>
              <a:rPr lang="de-DE" altLang="zh-HK" sz="800" dirty="0" err="1" smtClean="0">
                <a:solidFill>
                  <a:prstClr val="black"/>
                </a:solidFill>
              </a:rPr>
              <a:t>price</a:t>
            </a:r>
            <a:r>
              <a:rPr lang="de-DE" altLang="zh-HK" sz="800" dirty="0" smtClean="0">
                <a:solidFill>
                  <a:prstClr val="black"/>
                </a:solidFill>
              </a:rPr>
              <a:t> </a:t>
            </a:r>
            <a:r>
              <a:rPr lang="de-DE" altLang="zh-HK" sz="800" dirty="0" err="1" smtClean="0">
                <a:solidFill>
                  <a:prstClr val="black"/>
                </a:solidFill>
              </a:rPr>
              <a:t>range</a:t>
            </a:r>
            <a:r>
              <a:rPr lang="de-DE" altLang="zh-HK" sz="800" dirty="0" smtClean="0">
                <a:solidFill>
                  <a:prstClr val="black"/>
                </a:solidFill>
              </a:rPr>
              <a:t> </a:t>
            </a:r>
            <a:r>
              <a:rPr lang="de-DE" altLang="zh-HK" sz="800" dirty="0" err="1" smtClean="0">
                <a:solidFill>
                  <a:prstClr val="black"/>
                </a:solidFill>
              </a:rPr>
              <a:t>of</a:t>
            </a:r>
            <a:r>
              <a:rPr lang="de-DE" altLang="zh-HK" sz="800" dirty="0" smtClean="0">
                <a:solidFill>
                  <a:prstClr val="black"/>
                </a:solidFill>
              </a:rPr>
              <a:t> Jet A1 in </a:t>
            </a:r>
            <a:r>
              <a:rPr lang="de-DE" altLang="zh-HK" sz="800" dirty="0" err="1" smtClean="0">
                <a:solidFill>
                  <a:prstClr val="black"/>
                </a:solidFill>
              </a:rPr>
              <a:t>the</a:t>
            </a:r>
            <a:r>
              <a:rPr lang="de-DE" altLang="zh-HK" sz="800" dirty="0" smtClean="0">
                <a:solidFill>
                  <a:prstClr val="black"/>
                </a:solidFill>
              </a:rPr>
              <a:t> last </a:t>
            </a:r>
            <a:r>
              <a:rPr lang="de-DE" altLang="zh-HK" sz="800" dirty="0" err="1" smtClean="0">
                <a:solidFill>
                  <a:prstClr val="black"/>
                </a:solidFill>
              </a:rPr>
              <a:t>five</a:t>
            </a:r>
            <a:r>
              <a:rPr lang="de-DE" altLang="zh-HK" sz="800" dirty="0" smtClean="0">
                <a:solidFill>
                  <a:prstClr val="black"/>
                </a:solidFill>
              </a:rPr>
              <a:t> </a:t>
            </a:r>
            <a:r>
              <a:rPr lang="de-DE" altLang="zh-HK" sz="800" dirty="0" err="1" smtClean="0">
                <a:solidFill>
                  <a:prstClr val="black"/>
                </a:solidFill>
              </a:rPr>
              <a:t>years</a:t>
            </a:r>
            <a:r>
              <a:rPr lang="de-DE" altLang="zh-HK" sz="800" dirty="0" smtClean="0">
                <a:solidFill>
                  <a:prstClr val="black"/>
                </a:solidFill>
              </a:rPr>
              <a:t>. The </a:t>
            </a:r>
            <a:r>
              <a:rPr lang="de-DE" altLang="zh-HK" sz="800" dirty="0" err="1" smtClean="0">
                <a:solidFill>
                  <a:prstClr val="black"/>
                </a:solidFill>
              </a:rPr>
              <a:t>costs</a:t>
            </a:r>
            <a:r>
              <a:rPr lang="de-DE" altLang="zh-HK" sz="800" dirty="0" smtClean="0">
                <a:solidFill>
                  <a:prstClr val="black"/>
                </a:solidFill>
              </a:rPr>
              <a:t> </a:t>
            </a:r>
            <a:r>
              <a:rPr lang="de-DE" altLang="zh-HK" sz="800" dirty="0" err="1" smtClean="0">
                <a:solidFill>
                  <a:prstClr val="black"/>
                </a:solidFill>
              </a:rPr>
              <a:t>of</a:t>
            </a:r>
            <a:r>
              <a:rPr lang="de-DE" altLang="zh-HK" sz="800" dirty="0" smtClean="0">
                <a:solidFill>
                  <a:prstClr val="black"/>
                </a:solidFill>
              </a:rPr>
              <a:t> </a:t>
            </a:r>
            <a:r>
              <a:rPr lang="de-DE" altLang="zh-HK" sz="800" dirty="0" err="1" smtClean="0">
                <a:solidFill>
                  <a:prstClr val="black"/>
                </a:solidFill>
              </a:rPr>
              <a:t>biogenic</a:t>
            </a:r>
            <a:r>
              <a:rPr lang="de-DE" altLang="zh-HK" sz="800" dirty="0" smtClean="0">
                <a:solidFill>
                  <a:prstClr val="black"/>
                </a:solidFill>
              </a:rPr>
              <a:t> </a:t>
            </a:r>
            <a:r>
              <a:rPr lang="de-DE" altLang="zh-HK" sz="800" dirty="0" err="1" smtClean="0">
                <a:solidFill>
                  <a:prstClr val="black"/>
                </a:solidFill>
              </a:rPr>
              <a:t>jet</a:t>
            </a:r>
            <a:r>
              <a:rPr lang="de-DE" altLang="zh-HK" sz="800" dirty="0" smtClean="0">
                <a:solidFill>
                  <a:prstClr val="black"/>
                </a:solidFill>
              </a:rPr>
              <a:t> </a:t>
            </a:r>
            <a:r>
              <a:rPr lang="de-DE" altLang="zh-HK" sz="800" dirty="0" err="1" smtClean="0">
                <a:solidFill>
                  <a:prstClr val="black"/>
                </a:solidFill>
              </a:rPr>
              <a:t>fuel</a:t>
            </a:r>
            <a:r>
              <a:rPr lang="de-DE" altLang="zh-HK" sz="800" dirty="0" smtClean="0">
                <a:solidFill>
                  <a:prstClr val="black"/>
                </a:solidFill>
              </a:rPr>
              <a:t> on </a:t>
            </a:r>
            <a:r>
              <a:rPr lang="de-DE" altLang="zh-HK" sz="800" dirty="0" err="1" smtClean="0">
                <a:solidFill>
                  <a:prstClr val="black"/>
                </a:solidFill>
              </a:rPr>
              <a:t>the</a:t>
            </a:r>
            <a:r>
              <a:rPr lang="de-DE" altLang="zh-HK" sz="800" dirty="0" smtClean="0">
                <a:solidFill>
                  <a:prstClr val="black"/>
                </a:solidFill>
              </a:rPr>
              <a:t> </a:t>
            </a:r>
            <a:r>
              <a:rPr lang="de-DE" altLang="zh-HK" sz="800" dirty="0" err="1" smtClean="0">
                <a:solidFill>
                  <a:prstClr val="black"/>
                </a:solidFill>
              </a:rPr>
              <a:t>basis</a:t>
            </a:r>
            <a:r>
              <a:rPr lang="de-DE" altLang="zh-HK" sz="800" dirty="0" smtClean="0">
                <a:solidFill>
                  <a:prstClr val="black"/>
                </a:solidFill>
              </a:rPr>
              <a:t> </a:t>
            </a:r>
            <a:r>
              <a:rPr lang="de-DE" altLang="zh-HK" sz="800" dirty="0" err="1" smtClean="0">
                <a:solidFill>
                  <a:prstClr val="black"/>
                </a:solidFill>
              </a:rPr>
              <a:t>of</a:t>
            </a:r>
            <a:r>
              <a:rPr lang="de-DE" altLang="zh-HK" sz="800" dirty="0" smtClean="0">
                <a:solidFill>
                  <a:prstClr val="black"/>
                </a:solidFill>
              </a:rPr>
              <a:t> HEFA </a:t>
            </a:r>
            <a:r>
              <a:rPr lang="de-DE" altLang="zh-HK" sz="800" dirty="0" err="1" smtClean="0">
                <a:solidFill>
                  <a:prstClr val="black"/>
                </a:solidFill>
              </a:rPr>
              <a:t>and</a:t>
            </a:r>
            <a:r>
              <a:rPr lang="de-DE" altLang="zh-HK" sz="800" dirty="0" smtClean="0">
                <a:solidFill>
                  <a:prstClr val="black"/>
                </a:solidFill>
              </a:rPr>
              <a:t> Bio-GtL </a:t>
            </a:r>
            <a:r>
              <a:rPr lang="de-DE" altLang="zh-HK" sz="800" dirty="0" err="1" smtClean="0">
                <a:solidFill>
                  <a:prstClr val="black"/>
                </a:solidFill>
              </a:rPr>
              <a:t>is</a:t>
            </a:r>
            <a:r>
              <a:rPr lang="de-DE" altLang="zh-HK" sz="800" dirty="0" smtClean="0">
                <a:solidFill>
                  <a:prstClr val="black"/>
                </a:solidFill>
              </a:rPr>
              <a:t> </a:t>
            </a:r>
            <a:r>
              <a:rPr lang="de-DE" altLang="zh-HK" sz="800" dirty="0" err="1" smtClean="0">
                <a:solidFill>
                  <a:prstClr val="black"/>
                </a:solidFill>
              </a:rPr>
              <a:t>given</a:t>
            </a:r>
            <a:r>
              <a:rPr lang="de-DE" altLang="zh-HK" sz="800" dirty="0" smtClean="0">
                <a:solidFill>
                  <a:prstClr val="black"/>
                </a:solidFill>
              </a:rPr>
              <a:t> a </a:t>
            </a:r>
            <a:r>
              <a:rPr lang="de-DE" altLang="zh-HK" sz="800" dirty="0" err="1" smtClean="0">
                <a:solidFill>
                  <a:prstClr val="black"/>
                </a:solidFill>
              </a:rPr>
              <a:t>bandwith</a:t>
            </a:r>
            <a:r>
              <a:rPr lang="de-DE" altLang="zh-HK" sz="800" dirty="0" smtClean="0">
                <a:solidFill>
                  <a:prstClr val="black"/>
                </a:solidFill>
              </a:rPr>
              <a:t> </a:t>
            </a:r>
            <a:r>
              <a:rPr lang="de-DE" altLang="zh-HK" sz="800" dirty="0" err="1" smtClean="0">
                <a:solidFill>
                  <a:prstClr val="black"/>
                </a:solidFill>
              </a:rPr>
              <a:t>of</a:t>
            </a:r>
            <a:r>
              <a:rPr lang="de-DE" altLang="zh-HK" sz="800" dirty="0" smtClean="0">
                <a:solidFill>
                  <a:prstClr val="black"/>
                </a:solidFill>
              </a:rPr>
              <a:t> +/- 10% on </a:t>
            </a:r>
            <a:r>
              <a:rPr lang="de-DE" altLang="zh-HK" sz="800" dirty="0" err="1" smtClean="0">
                <a:solidFill>
                  <a:prstClr val="black"/>
                </a:solidFill>
              </a:rPr>
              <a:t>the</a:t>
            </a:r>
            <a:r>
              <a:rPr lang="de-DE" altLang="zh-HK" sz="800" dirty="0" smtClean="0">
                <a:solidFill>
                  <a:prstClr val="black"/>
                </a:solidFill>
              </a:rPr>
              <a:t> </a:t>
            </a:r>
            <a:r>
              <a:rPr lang="de-DE" altLang="zh-HK" sz="800" dirty="0" err="1" smtClean="0">
                <a:solidFill>
                  <a:prstClr val="black"/>
                </a:solidFill>
              </a:rPr>
              <a:t>basis</a:t>
            </a:r>
            <a:r>
              <a:rPr lang="de-DE" altLang="zh-HK" sz="800" dirty="0" smtClean="0">
                <a:solidFill>
                  <a:prstClr val="black"/>
                </a:solidFill>
              </a:rPr>
              <a:t> </a:t>
            </a:r>
            <a:r>
              <a:rPr lang="de-DE" altLang="zh-HK" sz="800" dirty="0" err="1" smtClean="0">
                <a:solidFill>
                  <a:prstClr val="black"/>
                </a:solidFill>
              </a:rPr>
              <a:t>of</a:t>
            </a:r>
            <a:r>
              <a:rPr lang="de-DE" altLang="zh-HK" sz="800" dirty="0" smtClean="0">
                <a:solidFill>
                  <a:prstClr val="black"/>
                </a:solidFill>
              </a:rPr>
              <a:t> aireg‘s </a:t>
            </a:r>
            <a:r>
              <a:rPr lang="de-DE" altLang="zh-HK" sz="800" dirty="0" err="1" smtClean="0">
                <a:solidFill>
                  <a:prstClr val="black"/>
                </a:solidFill>
              </a:rPr>
              <a:t>cost</a:t>
            </a:r>
            <a:r>
              <a:rPr lang="de-DE" altLang="zh-HK" sz="800" dirty="0" smtClean="0">
                <a:solidFill>
                  <a:prstClr val="black"/>
                </a:solidFill>
              </a:rPr>
              <a:t> </a:t>
            </a:r>
            <a:r>
              <a:rPr lang="de-DE" altLang="zh-HK" sz="800" dirty="0" err="1" smtClean="0">
                <a:solidFill>
                  <a:prstClr val="black"/>
                </a:solidFill>
              </a:rPr>
              <a:t>calculations</a:t>
            </a:r>
            <a:r>
              <a:rPr lang="de-DE" altLang="zh-HK" sz="800" dirty="0" smtClean="0">
                <a:solidFill>
                  <a:prstClr val="black"/>
                </a:solidFill>
              </a:rPr>
              <a:t>.</a:t>
            </a:r>
            <a:endParaRPr lang="de-DE" altLang="zh-HK" sz="800" dirty="0">
              <a:solidFill>
                <a:prstClr val="black"/>
              </a:solidFill>
            </a:endParaRPr>
          </a:p>
          <a:p>
            <a:pPr marL="1588" lvl="6" defTabSz="914400" eaLnBrk="0" hangingPunct="0">
              <a:spcAft>
                <a:spcPct val="20000"/>
              </a:spcAft>
              <a:defRPr/>
            </a:pPr>
            <a:endParaRPr lang="de-DE" altLang="zh-HK" sz="800" dirty="0">
              <a:solidFill>
                <a:prstClr val="black"/>
              </a:solidFill>
            </a:endParaRPr>
          </a:p>
        </p:txBody>
      </p:sp>
      <p:sp>
        <p:nvSpPr>
          <p:cNvPr id="16" name="Ellipse 15"/>
          <p:cNvSpPr/>
          <p:nvPr/>
        </p:nvSpPr>
        <p:spPr>
          <a:xfrm>
            <a:off x="3367088" y="2490788"/>
            <a:ext cx="144462" cy="11311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de-DE" sz="800" b="1" dirty="0">
                <a:solidFill>
                  <a:prstClr val="black"/>
                </a:solidFill>
              </a:rPr>
              <a:t>1</a:t>
            </a:r>
          </a:p>
        </p:txBody>
      </p:sp>
      <p:sp>
        <p:nvSpPr>
          <p:cNvPr id="22" name="Ellipse 21"/>
          <p:cNvSpPr/>
          <p:nvPr/>
        </p:nvSpPr>
        <p:spPr>
          <a:xfrm>
            <a:off x="5510214" y="1707654"/>
            <a:ext cx="142875" cy="11430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de-DE" sz="800" b="1" dirty="0">
                <a:solidFill>
                  <a:prstClr val="black"/>
                </a:solidFill>
              </a:rPr>
              <a:t>2</a:t>
            </a:r>
          </a:p>
        </p:txBody>
      </p:sp>
      <p:sp>
        <p:nvSpPr>
          <p:cNvPr id="23" name="Ellipse 22"/>
          <p:cNvSpPr/>
          <p:nvPr/>
        </p:nvSpPr>
        <p:spPr>
          <a:xfrm>
            <a:off x="5510214" y="2111421"/>
            <a:ext cx="142875" cy="113109"/>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r>
              <a:rPr lang="de-DE" sz="800" b="1" dirty="0">
                <a:solidFill>
                  <a:prstClr val="black"/>
                </a:solidFill>
              </a:rPr>
              <a:t>3</a:t>
            </a:r>
          </a:p>
        </p:txBody>
      </p:sp>
      <p:sp>
        <p:nvSpPr>
          <p:cNvPr id="8209" name="Textfeld 5"/>
          <p:cNvSpPr txBox="1">
            <a:spLocks noChangeArrowheads="1"/>
          </p:cNvSpPr>
          <p:nvPr/>
        </p:nvSpPr>
        <p:spPr bwMode="auto">
          <a:xfrm>
            <a:off x="1802050" y="3111811"/>
            <a:ext cx="2744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defTabSz="914400" eaLnBrk="1" fontAlgn="base" hangingPunct="1">
              <a:spcBef>
                <a:spcPct val="0"/>
              </a:spcBef>
              <a:spcAft>
                <a:spcPct val="0"/>
              </a:spcAft>
            </a:pPr>
            <a:r>
              <a:rPr lang="de-DE" altLang="de-DE" sz="1400" dirty="0">
                <a:solidFill>
                  <a:prstClr val="black"/>
                </a:solidFill>
              </a:rPr>
              <a:t>*</a:t>
            </a:r>
          </a:p>
        </p:txBody>
      </p:sp>
      <p:sp>
        <p:nvSpPr>
          <p:cNvPr id="10" name="Pfeil nach oben und unten 9"/>
          <p:cNvSpPr/>
          <p:nvPr/>
        </p:nvSpPr>
        <p:spPr>
          <a:xfrm>
            <a:off x="6326189" y="4512469"/>
            <a:ext cx="46037" cy="67866"/>
          </a:xfrm>
          <a:prstGeom prst="upDownArrow">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de-DE">
              <a:solidFill>
                <a:prstClr val="white"/>
              </a:solidFill>
            </a:endParaRPr>
          </a:p>
        </p:txBody>
      </p:sp>
    </p:spTree>
    <p:extLst>
      <p:ext uri="{BB962C8B-B14F-4D97-AF65-F5344CB8AC3E}">
        <p14:creationId xmlns:p14="http://schemas.microsoft.com/office/powerpoint/2010/main" val="1634445463"/>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Grafik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29551" y="141685"/>
            <a:ext cx="1114425" cy="40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5"/>
          <p:cNvSpPr txBox="1">
            <a:spLocks noChangeArrowheads="1"/>
          </p:cNvSpPr>
          <p:nvPr/>
        </p:nvSpPr>
        <p:spPr bwMode="auto">
          <a:xfrm>
            <a:off x="539750" y="107157"/>
            <a:ext cx="6985000" cy="573881"/>
          </a:xfrm>
          <a:prstGeom prst="rect">
            <a:avLst/>
          </a:prstGeom>
          <a:noFill/>
          <a:ln w="9525">
            <a:noFill/>
            <a:miter lim="800000"/>
            <a:headEnd/>
            <a:tailEnd/>
          </a:ln>
        </p:spPr>
        <p:txBody>
          <a:bodyPr anchor="ctr"/>
          <a:lstStyle/>
          <a:p>
            <a:pPr defTabSz="914400" fontAlgn="base">
              <a:spcBef>
                <a:spcPct val="0"/>
              </a:spcBef>
              <a:spcAft>
                <a:spcPct val="0"/>
              </a:spcAft>
              <a:defRPr/>
            </a:pPr>
            <a:r>
              <a:rPr lang="de-DE" sz="2400" b="1" dirty="0" err="1" smtClean="0">
                <a:solidFill>
                  <a:srgbClr val="0064AE"/>
                </a:solidFill>
                <a:cs typeface="Arial" pitchFamily="34" charset="0"/>
              </a:rPr>
              <a:t>Thank</a:t>
            </a:r>
            <a:r>
              <a:rPr lang="de-DE" sz="2400" b="1" dirty="0">
                <a:solidFill>
                  <a:srgbClr val="0064AE"/>
                </a:solidFill>
                <a:cs typeface="Arial" pitchFamily="34" charset="0"/>
              </a:rPr>
              <a:t> </a:t>
            </a:r>
            <a:r>
              <a:rPr lang="de-DE" sz="2400" b="1" dirty="0" err="1" smtClean="0">
                <a:solidFill>
                  <a:srgbClr val="0064AE"/>
                </a:solidFill>
                <a:cs typeface="Arial" pitchFamily="34" charset="0"/>
              </a:rPr>
              <a:t>you</a:t>
            </a:r>
            <a:r>
              <a:rPr lang="de-DE" sz="2400" b="1" dirty="0">
                <a:solidFill>
                  <a:srgbClr val="0064AE"/>
                </a:solidFill>
                <a:cs typeface="Arial" pitchFamily="34" charset="0"/>
              </a:rPr>
              <a:t>!</a:t>
            </a:r>
          </a:p>
        </p:txBody>
      </p:sp>
      <p:cxnSp>
        <p:nvCxnSpPr>
          <p:cNvPr id="9" name="Gerade Verbindung 8"/>
          <p:cNvCxnSpPr/>
          <p:nvPr/>
        </p:nvCxnSpPr>
        <p:spPr>
          <a:xfrm>
            <a:off x="0" y="681038"/>
            <a:ext cx="9144000" cy="0"/>
          </a:xfrm>
          <a:prstGeom prst="line">
            <a:avLst/>
          </a:prstGeom>
          <a:ln w="6350">
            <a:solidFill>
              <a:srgbClr val="3E4042"/>
            </a:solidFill>
          </a:ln>
        </p:spPr>
        <p:style>
          <a:lnRef idx="1">
            <a:schemeClr val="accent1"/>
          </a:lnRef>
          <a:fillRef idx="0">
            <a:schemeClr val="accent1"/>
          </a:fillRef>
          <a:effectRef idx="0">
            <a:schemeClr val="accent1"/>
          </a:effectRef>
          <a:fontRef idx="minor">
            <a:schemeClr val="tx1"/>
          </a:fontRef>
        </p:style>
      </p:cxnSp>
      <p:sp>
        <p:nvSpPr>
          <p:cNvPr id="26631" name="Textfeld 8"/>
          <p:cNvSpPr txBox="1">
            <a:spLocks noChangeArrowheads="1"/>
          </p:cNvSpPr>
          <p:nvPr/>
        </p:nvSpPr>
        <p:spPr bwMode="auto">
          <a:xfrm>
            <a:off x="468314" y="-448529"/>
            <a:ext cx="2808287" cy="5324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defTabSz="914400" eaLnBrk="1" fontAlgn="base" hangingPunct="1">
              <a:spcBef>
                <a:spcPct val="0"/>
              </a:spcBef>
              <a:spcAft>
                <a:spcPct val="0"/>
              </a:spcAft>
            </a:pPr>
            <a:endParaRPr lang="en-US" sz="2000" b="1" dirty="0">
              <a:solidFill>
                <a:prstClr val="black"/>
              </a:solidFill>
            </a:endParaRPr>
          </a:p>
          <a:p>
            <a:pPr defTabSz="914400" eaLnBrk="1" fontAlgn="base" hangingPunct="1">
              <a:spcBef>
                <a:spcPct val="0"/>
              </a:spcBef>
              <a:spcAft>
                <a:spcPct val="0"/>
              </a:spcAft>
            </a:pPr>
            <a:endParaRPr lang="en-US" sz="2000" b="1" dirty="0">
              <a:solidFill>
                <a:prstClr val="black"/>
              </a:solidFill>
            </a:endParaRPr>
          </a:p>
          <a:p>
            <a:pPr defTabSz="914400" eaLnBrk="1" fontAlgn="base" hangingPunct="1">
              <a:spcBef>
                <a:spcPct val="0"/>
              </a:spcBef>
              <a:spcAft>
                <a:spcPct val="0"/>
              </a:spcAft>
            </a:pPr>
            <a:endParaRPr lang="en-US" sz="2000" b="1" dirty="0">
              <a:solidFill>
                <a:prstClr val="black"/>
              </a:solidFill>
            </a:endParaRPr>
          </a:p>
          <a:p>
            <a:pPr defTabSz="914400" eaLnBrk="1" fontAlgn="base" hangingPunct="1">
              <a:spcBef>
                <a:spcPct val="0"/>
              </a:spcBef>
              <a:spcAft>
                <a:spcPct val="0"/>
              </a:spcAft>
            </a:pPr>
            <a:endParaRPr lang="en-US" sz="2000" b="1" dirty="0">
              <a:solidFill>
                <a:prstClr val="black"/>
              </a:solidFill>
            </a:endParaRPr>
          </a:p>
          <a:p>
            <a:pPr defTabSz="914400" eaLnBrk="1" fontAlgn="base" hangingPunct="1">
              <a:spcBef>
                <a:spcPct val="0"/>
              </a:spcBef>
              <a:spcAft>
                <a:spcPct val="0"/>
              </a:spcAft>
            </a:pPr>
            <a:endParaRPr lang="en-US" sz="2000" b="1" dirty="0">
              <a:solidFill>
                <a:prstClr val="black"/>
              </a:solidFill>
            </a:endParaRPr>
          </a:p>
          <a:p>
            <a:pPr defTabSz="914400" eaLnBrk="1" fontAlgn="base" hangingPunct="1">
              <a:spcBef>
                <a:spcPct val="0"/>
              </a:spcBef>
              <a:spcAft>
                <a:spcPct val="0"/>
              </a:spcAft>
            </a:pPr>
            <a:endParaRPr lang="en-US" sz="2000" b="1" dirty="0">
              <a:solidFill>
                <a:prstClr val="black"/>
              </a:solidFill>
            </a:endParaRPr>
          </a:p>
          <a:p>
            <a:pPr defTabSz="914400" eaLnBrk="1" fontAlgn="base" hangingPunct="1">
              <a:spcBef>
                <a:spcPct val="0"/>
              </a:spcBef>
              <a:spcAft>
                <a:spcPct val="0"/>
              </a:spcAft>
            </a:pPr>
            <a:endParaRPr lang="en-US" sz="2000" b="1" dirty="0">
              <a:solidFill>
                <a:prstClr val="black"/>
              </a:solidFill>
            </a:endParaRPr>
          </a:p>
          <a:p>
            <a:pPr defTabSz="914400" eaLnBrk="1" fontAlgn="base" hangingPunct="1">
              <a:spcBef>
                <a:spcPct val="0"/>
              </a:spcBef>
              <a:spcAft>
                <a:spcPct val="0"/>
              </a:spcAft>
            </a:pPr>
            <a:endParaRPr lang="en-US" sz="2000" b="1" dirty="0">
              <a:solidFill>
                <a:prstClr val="black"/>
              </a:solidFill>
            </a:endParaRPr>
          </a:p>
          <a:p>
            <a:pPr defTabSz="914400" eaLnBrk="1" fontAlgn="base" hangingPunct="1">
              <a:spcBef>
                <a:spcPct val="0"/>
              </a:spcBef>
              <a:spcAft>
                <a:spcPct val="0"/>
              </a:spcAft>
            </a:pPr>
            <a:r>
              <a:rPr lang="en-US" sz="2000" b="1" dirty="0" smtClean="0">
                <a:solidFill>
                  <a:prstClr val="black"/>
                </a:solidFill>
              </a:rPr>
              <a:t>Contact</a:t>
            </a:r>
            <a:r>
              <a:rPr lang="en-US" sz="2000" b="1" dirty="0">
                <a:solidFill>
                  <a:prstClr val="black"/>
                </a:solidFill>
              </a:rPr>
              <a:t>:</a:t>
            </a:r>
          </a:p>
          <a:p>
            <a:pPr defTabSz="914400" eaLnBrk="1" fontAlgn="base" hangingPunct="1">
              <a:spcBef>
                <a:spcPct val="0"/>
              </a:spcBef>
              <a:spcAft>
                <a:spcPct val="0"/>
              </a:spcAft>
            </a:pPr>
            <a:endParaRPr lang="en-US" sz="2000" b="1" dirty="0">
              <a:solidFill>
                <a:prstClr val="black"/>
              </a:solidFill>
            </a:endParaRPr>
          </a:p>
          <a:p>
            <a:pPr defTabSz="914400" eaLnBrk="1" fontAlgn="base" hangingPunct="1">
              <a:spcBef>
                <a:spcPct val="0"/>
              </a:spcBef>
              <a:spcAft>
                <a:spcPct val="0"/>
              </a:spcAft>
            </a:pPr>
            <a:r>
              <a:rPr lang="en-US" sz="2000" dirty="0">
                <a:solidFill>
                  <a:prstClr val="black"/>
                </a:solidFill>
              </a:rPr>
              <a:t>aireg e.V.</a:t>
            </a:r>
          </a:p>
          <a:p>
            <a:pPr defTabSz="914400" eaLnBrk="1" fontAlgn="base" hangingPunct="1">
              <a:spcBef>
                <a:spcPct val="0"/>
              </a:spcBef>
              <a:spcAft>
                <a:spcPct val="0"/>
              </a:spcAft>
            </a:pPr>
            <a:r>
              <a:rPr lang="en-US" sz="2000" dirty="0" err="1">
                <a:solidFill>
                  <a:prstClr val="black"/>
                </a:solidFill>
              </a:rPr>
              <a:t>Georgenstr</a:t>
            </a:r>
            <a:r>
              <a:rPr lang="en-US" sz="2000" dirty="0">
                <a:solidFill>
                  <a:prstClr val="black"/>
                </a:solidFill>
              </a:rPr>
              <a:t>. 25</a:t>
            </a:r>
          </a:p>
          <a:p>
            <a:pPr defTabSz="914400" eaLnBrk="1" fontAlgn="base" hangingPunct="1">
              <a:spcBef>
                <a:spcPct val="0"/>
              </a:spcBef>
              <a:spcAft>
                <a:spcPct val="0"/>
              </a:spcAft>
            </a:pPr>
            <a:r>
              <a:rPr lang="en-US" sz="2000" dirty="0">
                <a:solidFill>
                  <a:prstClr val="black"/>
                </a:solidFill>
              </a:rPr>
              <a:t>10117 </a:t>
            </a:r>
            <a:r>
              <a:rPr lang="en-US" sz="2000" dirty="0" smtClean="0">
                <a:solidFill>
                  <a:prstClr val="black"/>
                </a:solidFill>
              </a:rPr>
              <a:t>Berlin</a:t>
            </a:r>
          </a:p>
          <a:p>
            <a:pPr defTabSz="914400" eaLnBrk="1" fontAlgn="base" hangingPunct="1">
              <a:spcBef>
                <a:spcPct val="0"/>
              </a:spcBef>
              <a:spcAft>
                <a:spcPct val="0"/>
              </a:spcAft>
            </a:pPr>
            <a:r>
              <a:rPr lang="en-US" sz="2000" dirty="0" smtClean="0">
                <a:solidFill>
                  <a:prstClr val="black"/>
                </a:solidFill>
              </a:rPr>
              <a:t>Germany</a:t>
            </a:r>
            <a:endParaRPr lang="en-US" sz="2000" dirty="0">
              <a:solidFill>
                <a:prstClr val="black"/>
              </a:solidFill>
            </a:endParaRPr>
          </a:p>
          <a:p>
            <a:pPr defTabSz="914400" eaLnBrk="1" fontAlgn="base" hangingPunct="1">
              <a:spcBef>
                <a:spcPct val="0"/>
              </a:spcBef>
              <a:spcAft>
                <a:spcPct val="0"/>
              </a:spcAft>
            </a:pPr>
            <a:endParaRPr lang="en-US" sz="2000" dirty="0">
              <a:solidFill>
                <a:prstClr val="black"/>
              </a:solidFill>
            </a:endParaRPr>
          </a:p>
          <a:p>
            <a:pPr defTabSz="914400" eaLnBrk="1" fontAlgn="base" hangingPunct="1">
              <a:spcBef>
                <a:spcPct val="0"/>
              </a:spcBef>
              <a:spcAft>
                <a:spcPct val="0"/>
              </a:spcAft>
            </a:pPr>
            <a:r>
              <a:rPr lang="en-US" sz="2000" dirty="0">
                <a:solidFill>
                  <a:prstClr val="black"/>
                </a:solidFill>
              </a:rPr>
              <a:t>kontakt@aireg.de</a:t>
            </a:r>
          </a:p>
          <a:p>
            <a:pPr defTabSz="914400" eaLnBrk="1" fontAlgn="base" hangingPunct="1">
              <a:spcBef>
                <a:spcPct val="0"/>
              </a:spcBef>
              <a:spcAft>
                <a:spcPct val="0"/>
              </a:spcAft>
            </a:pPr>
            <a:r>
              <a:rPr lang="en-US" sz="2000" dirty="0">
                <a:solidFill>
                  <a:prstClr val="black"/>
                </a:solidFill>
              </a:rPr>
              <a:t>www.aireg.de </a:t>
            </a:r>
          </a:p>
        </p:txBody>
      </p:sp>
      <p:sp>
        <p:nvSpPr>
          <p:cNvPr id="2" name="Textfeld 1"/>
          <p:cNvSpPr txBox="1"/>
          <p:nvPr/>
        </p:nvSpPr>
        <p:spPr>
          <a:xfrm>
            <a:off x="3573931" y="1113588"/>
            <a:ext cx="4251420" cy="830997"/>
          </a:xfrm>
          <a:prstGeom prst="rect">
            <a:avLst/>
          </a:prstGeom>
          <a:noFill/>
        </p:spPr>
        <p:txBody>
          <a:bodyPr wrap="none" rtlCol="0">
            <a:spAutoFit/>
          </a:bodyPr>
          <a:lstStyle/>
          <a:p>
            <a:pPr defTabSz="914400" fontAlgn="base">
              <a:spcBef>
                <a:spcPct val="0"/>
              </a:spcBef>
              <a:spcAft>
                <a:spcPct val="0"/>
              </a:spcAft>
            </a:pPr>
            <a:r>
              <a:rPr lang="de-DE" sz="2400" b="1" dirty="0" smtClean="0">
                <a:solidFill>
                  <a:prstClr val="black"/>
                </a:solidFill>
              </a:rPr>
              <a:t>Hope </a:t>
            </a:r>
            <a:r>
              <a:rPr lang="de-DE" sz="2400" b="1" dirty="0" err="1" smtClean="0">
                <a:solidFill>
                  <a:prstClr val="black"/>
                </a:solidFill>
              </a:rPr>
              <a:t>to</a:t>
            </a:r>
            <a:r>
              <a:rPr lang="de-DE" sz="2400" b="1" dirty="0" smtClean="0">
                <a:solidFill>
                  <a:prstClr val="black"/>
                </a:solidFill>
              </a:rPr>
              <a:t> </a:t>
            </a:r>
            <a:r>
              <a:rPr lang="de-DE" sz="2400" b="1" dirty="0" err="1" smtClean="0">
                <a:solidFill>
                  <a:prstClr val="black"/>
                </a:solidFill>
              </a:rPr>
              <a:t>see</a:t>
            </a:r>
            <a:r>
              <a:rPr lang="de-DE" sz="2400" b="1" dirty="0" smtClean="0">
                <a:solidFill>
                  <a:prstClr val="black"/>
                </a:solidFill>
              </a:rPr>
              <a:t> </a:t>
            </a:r>
            <a:r>
              <a:rPr lang="de-DE" sz="2400" b="1" dirty="0" err="1" smtClean="0">
                <a:solidFill>
                  <a:prstClr val="black"/>
                </a:solidFill>
              </a:rPr>
              <a:t>you</a:t>
            </a:r>
            <a:r>
              <a:rPr lang="de-DE" sz="2400" b="1" dirty="0" smtClean="0">
                <a:solidFill>
                  <a:prstClr val="black"/>
                </a:solidFill>
              </a:rPr>
              <a:t> </a:t>
            </a:r>
            <a:r>
              <a:rPr lang="de-DE" sz="2400" b="1" dirty="0" err="1" smtClean="0">
                <a:solidFill>
                  <a:prstClr val="black"/>
                </a:solidFill>
              </a:rPr>
              <a:t>again</a:t>
            </a:r>
            <a:r>
              <a:rPr lang="de-DE" sz="2400" b="1" dirty="0" smtClean="0">
                <a:solidFill>
                  <a:prstClr val="black"/>
                </a:solidFill>
              </a:rPr>
              <a:t> at Berlin!</a:t>
            </a:r>
          </a:p>
          <a:p>
            <a:pPr defTabSz="914400" fontAlgn="base">
              <a:spcBef>
                <a:spcPct val="0"/>
              </a:spcBef>
              <a:spcAft>
                <a:spcPct val="0"/>
              </a:spcAft>
            </a:pPr>
            <a:r>
              <a:rPr lang="de-DE" sz="2400" b="1" dirty="0" smtClean="0">
                <a:solidFill>
                  <a:prstClr val="black"/>
                </a:solidFill>
              </a:rPr>
              <a:t>May 20-25, 2014</a:t>
            </a:r>
            <a:endParaRPr lang="de-DE" sz="2400" b="1" dirty="0">
              <a:solidFill>
                <a:prstClr val="black"/>
              </a:solidFill>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07905" y="2031690"/>
            <a:ext cx="5011315" cy="912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84573876"/>
      </p:ext>
    </p:extLst>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3"/>
          <p:cNvPicPr>
            <a:picLocks noChangeAspect="1" noChangeArrowheads="1"/>
          </p:cNvPicPr>
          <p:nvPr/>
        </p:nvPicPr>
        <p:blipFill rotWithShape="1">
          <a:blip r:embed="rId2" cstate="print"/>
          <a:srcRect r="13380" b="27979"/>
          <a:stretch/>
        </p:blipFill>
        <p:spPr bwMode="auto">
          <a:xfrm>
            <a:off x="0" y="904191"/>
            <a:ext cx="9144000" cy="5518863"/>
          </a:xfrm>
          <a:prstGeom prst="rect">
            <a:avLst/>
          </a:prstGeom>
          <a:noFill/>
          <a:ln w="9525">
            <a:noFill/>
            <a:miter lim="800000"/>
            <a:headEnd/>
            <a:tailEnd/>
          </a:ln>
        </p:spPr>
      </p:pic>
      <p:sp>
        <p:nvSpPr>
          <p:cNvPr id="17" name="Text Box 7"/>
          <p:cNvSpPr txBox="1">
            <a:spLocks noChangeArrowheads="1"/>
          </p:cNvSpPr>
          <p:nvPr/>
        </p:nvSpPr>
        <p:spPr bwMode="auto">
          <a:xfrm>
            <a:off x="228600" y="4048125"/>
            <a:ext cx="1357312" cy="257175"/>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r>
              <a:rPr lang="en-US" sz="900" dirty="0">
                <a:solidFill>
                  <a:srgbClr val="000000"/>
                </a:solidFill>
                <a:latin typeface="Arial" pitchFamily="34" charset="0"/>
                <a:cs typeface="Arial" pitchFamily="34" charset="0"/>
              </a:rPr>
              <a:t>Produced by</a:t>
            </a:r>
            <a:endParaRPr lang="en-US" dirty="0">
              <a:latin typeface="Arial" pitchFamily="34" charset="0"/>
              <a:cs typeface="Arial" pitchFamily="34" charset="0"/>
            </a:endParaRPr>
          </a:p>
        </p:txBody>
      </p:sp>
      <p:pic>
        <p:nvPicPr>
          <p:cNvPr id="18" name="Picture 8" descr="Kwclear"/>
          <p:cNvPicPr>
            <a:picLocks noChangeAspect="1" noChangeArrowheads="1"/>
          </p:cNvPicPr>
          <p:nvPr/>
        </p:nvPicPr>
        <p:blipFill>
          <a:blip r:embed="rId3" cstate="print">
            <a:clrChange>
              <a:clrFrom>
                <a:srgbClr val="FDFDFD"/>
              </a:clrFrom>
              <a:clrTo>
                <a:srgbClr val="FDFDFD">
                  <a:alpha val="0"/>
                </a:srgbClr>
              </a:clrTo>
            </a:clrChange>
          </a:blip>
          <a:srcRect/>
          <a:stretch>
            <a:fillRect/>
          </a:stretch>
        </p:blipFill>
        <p:spPr bwMode="auto">
          <a:xfrm>
            <a:off x="228604" y="4250149"/>
            <a:ext cx="1279525" cy="226603"/>
          </a:xfrm>
          <a:prstGeom prst="rect">
            <a:avLst/>
          </a:prstGeom>
          <a:noFill/>
          <a:ln w="9525" algn="in">
            <a:noFill/>
            <a:miter lim="800000"/>
            <a:headEnd/>
            <a:tailEnd/>
          </a:ln>
          <a:effectLst/>
        </p:spPr>
      </p:pic>
      <p:sp>
        <p:nvSpPr>
          <p:cNvPr id="20" name="Text Box 9"/>
          <p:cNvSpPr txBox="1">
            <a:spLocks noChangeArrowheads="1"/>
          </p:cNvSpPr>
          <p:nvPr/>
        </p:nvSpPr>
        <p:spPr bwMode="auto">
          <a:xfrm>
            <a:off x="2362200" y="133350"/>
            <a:ext cx="2667000" cy="971550"/>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endParaRPr lang="en-US" sz="800" b="1" dirty="0">
              <a:solidFill>
                <a:srgbClr val="00CCFF"/>
              </a:solidFill>
              <a:latin typeface="Arial" pitchFamily="34" charset="0"/>
              <a:cs typeface="Arial" pitchFamily="34" charset="0"/>
            </a:endParaRPr>
          </a:p>
          <a:p>
            <a:pPr fontAlgn="base">
              <a:spcBef>
                <a:spcPct val="0"/>
              </a:spcBef>
              <a:spcAft>
                <a:spcPct val="0"/>
              </a:spcAft>
            </a:pPr>
            <a:r>
              <a:rPr lang="en-US" sz="2400" b="1" dirty="0">
                <a:latin typeface="Arial" pitchFamily="34" charset="0"/>
                <a:cs typeface="Arial" pitchFamily="34" charset="0"/>
              </a:rPr>
              <a:t>CAAFI 2014</a:t>
            </a:r>
          </a:p>
          <a:p>
            <a:pPr fontAlgn="base">
              <a:spcBef>
                <a:spcPct val="0"/>
              </a:spcBef>
              <a:spcAft>
                <a:spcPct val="0"/>
              </a:spcAft>
            </a:pPr>
            <a:r>
              <a:rPr lang="en-US" sz="2400" b="1" dirty="0">
                <a:latin typeface="Arial" pitchFamily="34" charset="0"/>
                <a:cs typeface="Arial" pitchFamily="34" charset="0"/>
              </a:rPr>
              <a:t>General Meeting</a:t>
            </a:r>
          </a:p>
          <a:p>
            <a:pPr fontAlgn="base">
              <a:spcBef>
                <a:spcPct val="0"/>
              </a:spcBef>
              <a:spcAft>
                <a:spcPct val="0"/>
              </a:spcAft>
            </a:pPr>
            <a:r>
              <a:rPr lang="en-US" sz="2400" b="1" dirty="0">
                <a:latin typeface="Arial" pitchFamily="34" charset="0"/>
                <a:cs typeface="Arial" pitchFamily="34" charset="0"/>
              </a:rPr>
              <a:t>&amp; Expo</a:t>
            </a:r>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801" y="66179"/>
            <a:ext cx="1981200" cy="1286372"/>
          </a:xfrm>
          <a:prstGeom prst="rect">
            <a:avLst/>
          </a:prstGeom>
        </p:spPr>
      </p:pic>
      <p:sp>
        <p:nvSpPr>
          <p:cNvPr id="2" name="TextBox 1"/>
          <p:cNvSpPr txBox="1"/>
          <p:nvPr/>
        </p:nvSpPr>
        <p:spPr>
          <a:xfrm>
            <a:off x="457200" y="1562101"/>
            <a:ext cx="5105400" cy="1508093"/>
          </a:xfrm>
          <a:prstGeom prst="rect">
            <a:avLst/>
          </a:prstGeom>
          <a:noFill/>
        </p:spPr>
        <p:txBody>
          <a:bodyPr wrap="square" lIns="91428" tIns="45714" rIns="91428" bIns="45714" rtlCol="0">
            <a:spAutoFit/>
          </a:bodyPr>
          <a:lstStyle/>
          <a:p>
            <a:r>
              <a:rPr lang="en-US" sz="4400"/>
              <a:t>Susan Pond, </a:t>
            </a:r>
          </a:p>
          <a:p>
            <a:r>
              <a:rPr lang="en-US" sz="2400"/>
              <a:t>Chair, Australian Initiative for Sustainable Aviation Fuels, AISAF</a:t>
            </a:r>
          </a:p>
        </p:txBody>
      </p:sp>
    </p:spTree>
    <p:extLst>
      <p:ext uri="{BB962C8B-B14F-4D97-AF65-F5344CB8AC3E}">
        <p14:creationId xmlns:p14="http://schemas.microsoft.com/office/powerpoint/2010/main" val="35448759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645571" y="2266950"/>
            <a:ext cx="5852860" cy="2862310"/>
          </a:xfrm>
          <a:prstGeom prst="rect">
            <a:avLst/>
          </a:prstGeom>
          <a:noFill/>
        </p:spPr>
        <p:txBody>
          <a:bodyPr wrap="none" lIns="91428" tIns="45714" rIns="91428" bIns="45714" rtlCol="0">
            <a:spAutoFit/>
          </a:bodyPr>
          <a:lstStyle/>
          <a:p>
            <a:pPr algn="ctr" fontAlgn="base">
              <a:spcBef>
                <a:spcPct val="0"/>
              </a:spcBef>
              <a:spcAft>
                <a:spcPct val="0"/>
              </a:spcAft>
            </a:pPr>
            <a:r>
              <a:rPr lang="en-US" sz="3600" b="1" i="1" dirty="0">
                <a:solidFill>
                  <a:srgbClr val="143E83"/>
                </a:solidFill>
              </a:rPr>
              <a:t>Dr. Susan M Pond</a:t>
            </a:r>
          </a:p>
          <a:p>
            <a:pPr algn="ctr" fontAlgn="base">
              <a:spcBef>
                <a:spcPct val="0"/>
              </a:spcBef>
              <a:spcAft>
                <a:spcPct val="0"/>
              </a:spcAft>
            </a:pPr>
            <a:r>
              <a:rPr lang="en-US" sz="3600" b="1" i="1" dirty="0">
                <a:solidFill>
                  <a:srgbClr val="143E83"/>
                </a:solidFill>
              </a:rPr>
              <a:t>AISAF Chair</a:t>
            </a:r>
          </a:p>
          <a:p>
            <a:pPr algn="ctr" fontAlgn="base">
              <a:spcBef>
                <a:spcPct val="0"/>
              </a:spcBef>
              <a:spcAft>
                <a:spcPct val="0"/>
              </a:spcAft>
            </a:pPr>
            <a:endParaRPr lang="en-US" sz="3600" b="1" i="1" dirty="0">
              <a:solidFill>
                <a:srgbClr val="143E83"/>
              </a:solidFill>
            </a:endParaRPr>
          </a:p>
          <a:p>
            <a:pPr algn="ctr" fontAlgn="base">
              <a:spcBef>
                <a:spcPct val="0"/>
              </a:spcBef>
              <a:spcAft>
                <a:spcPct val="0"/>
              </a:spcAft>
            </a:pPr>
            <a:r>
              <a:rPr lang="en-US" sz="3600" b="1" i="1" dirty="0">
                <a:solidFill>
                  <a:srgbClr val="143E83"/>
                </a:solidFill>
              </a:rPr>
              <a:t>CAAFI International Panel</a:t>
            </a:r>
          </a:p>
          <a:p>
            <a:pPr algn="ctr" fontAlgn="base">
              <a:spcBef>
                <a:spcPct val="0"/>
              </a:spcBef>
              <a:spcAft>
                <a:spcPct val="0"/>
              </a:spcAft>
            </a:pPr>
            <a:r>
              <a:rPr lang="en-US" sz="3600" b="1" i="1" dirty="0">
                <a:solidFill>
                  <a:srgbClr val="143E83"/>
                </a:solidFill>
              </a:rPr>
              <a:t>29 Jan 2014</a:t>
            </a:r>
          </a:p>
        </p:txBody>
      </p:sp>
      <p:pic>
        <p:nvPicPr>
          <p:cNvPr id="10" name="Picture 9" descr="AAA_Logo_AISAF.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7785" y="681543"/>
            <a:ext cx="3888432" cy="1293067"/>
          </a:xfrm>
          <a:prstGeom prst="rect">
            <a:avLst/>
          </a:prstGeom>
        </p:spPr>
      </p:pic>
    </p:spTree>
    <p:extLst>
      <p:ext uri="{BB962C8B-B14F-4D97-AF65-F5344CB8AC3E}">
        <p14:creationId xmlns:p14="http://schemas.microsoft.com/office/powerpoint/2010/main" val="403828836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752" y="1167595"/>
            <a:ext cx="9036496" cy="3394472"/>
          </a:xfrm>
        </p:spPr>
        <p:txBody>
          <a:bodyPr/>
          <a:lstStyle/>
          <a:p>
            <a:r>
              <a:rPr lang="en-US" sz="2000" dirty="0"/>
              <a:t>Founded in August 2012 within The United States Studies Centre at the University of Sydney by consortium of leaders in the public and private sectors</a:t>
            </a:r>
          </a:p>
          <a:p>
            <a:r>
              <a:rPr lang="en-US" sz="2000" dirty="0"/>
              <a:t>Strategic direction-setting group aiming to </a:t>
            </a:r>
          </a:p>
          <a:p>
            <a:pPr lvl="1"/>
            <a:r>
              <a:rPr lang="en-US" sz="2000" dirty="0"/>
              <a:t>facilitate the development and growth of SAF industry in Australia</a:t>
            </a:r>
          </a:p>
          <a:p>
            <a:pPr lvl="1"/>
            <a:r>
              <a:rPr lang="en-US" sz="2000" dirty="0"/>
              <a:t>create a platform of robust collaborations throughout the entire SAF value chain, including civil and military aviation</a:t>
            </a:r>
          </a:p>
          <a:p>
            <a:pPr lvl="1"/>
            <a:r>
              <a:rPr lang="en-US" sz="2000" dirty="0"/>
              <a:t>work collaboratively with international partners, including CAAFI under the US Australia MOU signed in Sep 2011</a:t>
            </a:r>
          </a:p>
          <a:p>
            <a:r>
              <a:rPr lang="en-US" sz="2000" dirty="0"/>
              <a:t>Joined forces with Aviation Aerospace Austral</a:t>
            </a:r>
            <a:r>
              <a:rPr lang="en-US" sz="2400" dirty="0"/>
              <a:t>ia August 2013</a:t>
            </a:r>
          </a:p>
        </p:txBody>
      </p:sp>
      <p:pic>
        <p:nvPicPr>
          <p:cNvPr id="5" name="Picture 4" descr="AAA_Logo_AISAF.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512" y="87474"/>
            <a:ext cx="2864868" cy="770998"/>
          </a:xfrm>
          <a:prstGeom prst="rect">
            <a:avLst/>
          </a:prstGeom>
        </p:spPr>
      </p:pic>
    </p:spTree>
    <p:extLst>
      <p:ext uri="{BB962C8B-B14F-4D97-AF65-F5344CB8AC3E}">
        <p14:creationId xmlns:p14="http://schemas.microsoft.com/office/powerpoint/2010/main" val="2230353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653985" y="1599642"/>
            <a:ext cx="1836032" cy="351000"/>
          </a:xfrm>
          <a:prstGeom prst="rect">
            <a:avLst/>
          </a:prstGeom>
          <a:solidFill>
            <a:srgbClr val="FFFFFF"/>
          </a:solidFill>
          <a:ln w="6350" cmpd="sng">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lIns="53993" tIns="45714" rIns="53993" bIns="45714" rtlCol="0" anchor="ctr"/>
          <a:lstStyle/>
          <a:p>
            <a:pPr algn="ctr" fontAlgn="base">
              <a:spcBef>
                <a:spcPct val="0"/>
              </a:spcBef>
              <a:spcAft>
                <a:spcPct val="0"/>
              </a:spcAft>
            </a:pPr>
            <a:endParaRPr lang="en-AU" sz="1200" b="1" dirty="0">
              <a:solidFill>
                <a:srgbClr val="FFFFFF"/>
              </a:solidFill>
              <a:latin typeface="AkkuratStd"/>
              <a:cs typeface="AkkuratStd"/>
            </a:endParaRPr>
          </a:p>
        </p:txBody>
      </p:sp>
      <p:sp>
        <p:nvSpPr>
          <p:cNvPr id="28" name="Rectangle 27"/>
          <p:cNvSpPr/>
          <p:nvPr/>
        </p:nvSpPr>
        <p:spPr>
          <a:xfrm>
            <a:off x="3654000" y="1032618"/>
            <a:ext cx="1836000" cy="351000"/>
          </a:xfrm>
          <a:prstGeom prst="rect">
            <a:avLst/>
          </a:prstGeom>
          <a:noFill/>
          <a:ln w="6350" cmpd="sng">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lIns="53993" tIns="45714" rIns="53993" bIns="45714" rtlCol="0" anchor="ctr"/>
          <a:lstStyle/>
          <a:p>
            <a:pPr algn="ctr" fontAlgn="base">
              <a:spcBef>
                <a:spcPct val="0"/>
              </a:spcBef>
              <a:spcAft>
                <a:spcPct val="0"/>
              </a:spcAft>
            </a:pPr>
            <a:endParaRPr lang="en-AU" sz="1200" b="1" dirty="0">
              <a:solidFill>
                <a:srgbClr val="FFFFFF"/>
              </a:solidFill>
              <a:latin typeface="AkkuratStd"/>
              <a:cs typeface="AkkuratStd"/>
            </a:endParaRPr>
          </a:p>
        </p:txBody>
      </p:sp>
      <p:pic>
        <p:nvPicPr>
          <p:cNvPr id="33" name="Picture 32" descr="AAA_Logo_tagline_pos.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22152" y="4860316"/>
            <a:ext cx="3242336" cy="249716"/>
          </a:xfrm>
          <a:prstGeom prst="rect">
            <a:avLst/>
          </a:prstGeom>
        </p:spPr>
      </p:pic>
      <p:pic>
        <p:nvPicPr>
          <p:cNvPr id="42" name="Picture 41" descr="AAA_Logo_AISAF.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505" y="4840032"/>
            <a:ext cx="1127442" cy="270000"/>
          </a:xfrm>
          <a:prstGeom prst="rect">
            <a:avLst/>
          </a:prstGeom>
        </p:spPr>
      </p:pic>
      <p:sp>
        <p:nvSpPr>
          <p:cNvPr id="50" name="Title 1"/>
          <p:cNvSpPr txBox="1">
            <a:spLocks/>
          </p:cNvSpPr>
          <p:nvPr/>
        </p:nvSpPr>
        <p:spPr>
          <a:xfrm>
            <a:off x="179513" y="33468"/>
            <a:ext cx="8181156" cy="857250"/>
          </a:xfrm>
          <a:prstGeom prst="rect">
            <a:avLst/>
          </a:prstGeom>
          <a:noFill/>
        </p:spPr>
        <p:txBody>
          <a:bodyPr vert="horz" lIns="91428" tIns="45714" rIns="91428" bIns="45714" rtlCol="0" anchor="ctr">
            <a:normAutofit fontScale="97500"/>
          </a:bodyPr>
          <a:lstStyle>
            <a:lvl1pPr algn="ctr" defTabSz="914400" rtl="0" eaLnBrk="1" latinLnBrk="0" hangingPunct="1">
              <a:spcBef>
                <a:spcPct val="0"/>
              </a:spcBef>
              <a:buNone/>
              <a:defRPr sz="4400" b="1" kern="1200">
                <a:solidFill>
                  <a:srgbClr val="13308C"/>
                </a:solidFill>
                <a:latin typeface="+mj-lt"/>
                <a:ea typeface="+mj-ea"/>
                <a:cs typeface="+mj-cs"/>
              </a:defRPr>
            </a:lvl1pPr>
          </a:lstStyle>
          <a:p>
            <a:pPr algn="l" fontAlgn="base">
              <a:spcAft>
                <a:spcPct val="0"/>
              </a:spcAft>
            </a:pPr>
            <a:r>
              <a:rPr lang="en-US" sz="3600" dirty="0">
                <a:solidFill>
                  <a:srgbClr val="143E83"/>
                </a:solidFill>
                <a:cs typeface="Replica Std Bold"/>
              </a:rPr>
              <a:t>AISAF Structure &amp; Governance</a:t>
            </a:r>
          </a:p>
        </p:txBody>
      </p:sp>
      <p:pic>
        <p:nvPicPr>
          <p:cNvPr id="51" name="Picture 50" descr="AAAAI_logo_SML_pos.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97287" y="1050057"/>
            <a:ext cx="1149439" cy="269944"/>
          </a:xfrm>
          <a:prstGeom prst="rect">
            <a:avLst/>
          </a:prstGeom>
        </p:spPr>
      </p:pic>
      <p:pic>
        <p:nvPicPr>
          <p:cNvPr id="52" name="Picture 51" descr="AAA_Logo_AISAF.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08279" y="1644123"/>
            <a:ext cx="1127444" cy="270000"/>
          </a:xfrm>
          <a:prstGeom prst="rect">
            <a:avLst/>
          </a:prstGeom>
        </p:spPr>
      </p:pic>
      <p:sp>
        <p:nvSpPr>
          <p:cNvPr id="57" name="Rectangle 56"/>
          <p:cNvSpPr/>
          <p:nvPr/>
        </p:nvSpPr>
        <p:spPr>
          <a:xfrm>
            <a:off x="161509" y="2193708"/>
            <a:ext cx="8820984" cy="324036"/>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 tIns="45714" rIns="53993" bIns="45714" rtlCol="0" anchor="ctr"/>
          <a:lstStyle/>
          <a:p>
            <a:pPr algn="ctr" fontAlgn="base">
              <a:spcBef>
                <a:spcPct val="0"/>
              </a:spcBef>
              <a:spcAft>
                <a:spcPct val="0"/>
              </a:spcAft>
            </a:pPr>
            <a:r>
              <a:rPr lang="en-AU" sz="1200" b="1" dirty="0">
                <a:solidFill>
                  <a:srgbClr val="FFFFFF"/>
                </a:solidFill>
                <a:latin typeface="AkkuratStd"/>
                <a:cs typeface="AkkuratStd"/>
              </a:rPr>
              <a:t>Steering Committee Chair &amp; Members</a:t>
            </a:r>
          </a:p>
        </p:txBody>
      </p:sp>
      <p:grpSp>
        <p:nvGrpSpPr>
          <p:cNvPr id="11" name="Group 10"/>
          <p:cNvGrpSpPr/>
          <p:nvPr/>
        </p:nvGrpSpPr>
        <p:grpSpPr>
          <a:xfrm>
            <a:off x="323529" y="2778248"/>
            <a:ext cx="8640960" cy="1651753"/>
            <a:chOff x="323528" y="3704326"/>
            <a:chExt cx="8640960" cy="2202338"/>
          </a:xfrm>
        </p:grpSpPr>
        <p:grpSp>
          <p:nvGrpSpPr>
            <p:cNvPr id="5" name="Group 4"/>
            <p:cNvGrpSpPr/>
            <p:nvPr/>
          </p:nvGrpSpPr>
          <p:grpSpPr>
            <a:xfrm>
              <a:off x="323528" y="3704326"/>
              <a:ext cx="8583850" cy="876802"/>
              <a:chOff x="126541" y="3704326"/>
              <a:chExt cx="8583850" cy="876802"/>
            </a:xfrm>
          </p:grpSpPr>
          <p:sp>
            <p:nvSpPr>
              <p:cNvPr id="6" name="Rectangle 5"/>
              <p:cNvSpPr/>
              <p:nvPr/>
            </p:nvSpPr>
            <p:spPr>
              <a:xfrm>
                <a:off x="4722361" y="4056428"/>
                <a:ext cx="1690119" cy="52470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fontAlgn="base">
                  <a:spcBef>
                    <a:spcPct val="0"/>
                  </a:spcBef>
                  <a:spcAft>
                    <a:spcPct val="0"/>
                  </a:spcAft>
                </a:pPr>
                <a:r>
                  <a:rPr lang="en-AU" sz="1200" b="1" dirty="0">
                    <a:solidFill>
                      <a:srgbClr val="FFFFFF"/>
                    </a:solidFill>
                    <a:latin typeface="AkkuratStd"/>
                    <a:cs typeface="AkkuratStd"/>
                  </a:rPr>
                  <a:t>3. Environmental Impacts</a:t>
                </a:r>
              </a:p>
            </p:txBody>
          </p:sp>
          <p:sp>
            <p:nvSpPr>
              <p:cNvPr id="7" name="Rectangle 6"/>
              <p:cNvSpPr/>
              <p:nvPr/>
            </p:nvSpPr>
            <p:spPr>
              <a:xfrm>
                <a:off x="7020272" y="4056428"/>
                <a:ext cx="1690119" cy="52470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fontAlgn="base">
                  <a:spcBef>
                    <a:spcPct val="0"/>
                  </a:spcBef>
                  <a:spcAft>
                    <a:spcPct val="0"/>
                  </a:spcAft>
                </a:pPr>
                <a:r>
                  <a:rPr lang="en-AU" sz="1200" b="1" dirty="0">
                    <a:solidFill>
                      <a:srgbClr val="FFFFFF"/>
                    </a:solidFill>
                    <a:latin typeface="AkkuratStd"/>
                    <a:cs typeface="AkkuratStd"/>
                  </a:rPr>
                  <a:t>4. Commercialisation</a:t>
                </a:r>
              </a:p>
            </p:txBody>
          </p:sp>
          <p:sp>
            <p:nvSpPr>
              <p:cNvPr id="9" name="Rectangle 8"/>
              <p:cNvSpPr/>
              <p:nvPr/>
            </p:nvSpPr>
            <p:spPr>
              <a:xfrm>
                <a:off x="2424451" y="4056428"/>
                <a:ext cx="1690119" cy="52470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fontAlgn="base">
                  <a:spcBef>
                    <a:spcPct val="0"/>
                  </a:spcBef>
                  <a:spcAft>
                    <a:spcPct val="0"/>
                  </a:spcAft>
                </a:pPr>
                <a:r>
                  <a:rPr lang="en-AU" sz="1200" b="1" dirty="0">
                    <a:solidFill>
                      <a:srgbClr val="FFFFFF"/>
                    </a:solidFill>
                    <a:latin typeface="AkkuratStd"/>
                    <a:cs typeface="AkkuratStd"/>
                  </a:rPr>
                  <a:t>2. Certification</a:t>
                </a:r>
              </a:p>
            </p:txBody>
          </p:sp>
          <p:sp>
            <p:nvSpPr>
              <p:cNvPr id="10" name="Rectangle 9"/>
              <p:cNvSpPr/>
              <p:nvPr/>
            </p:nvSpPr>
            <p:spPr>
              <a:xfrm>
                <a:off x="126541" y="3704326"/>
                <a:ext cx="1690119" cy="876802"/>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fontAlgn="base">
                  <a:spcBef>
                    <a:spcPct val="0"/>
                  </a:spcBef>
                  <a:spcAft>
                    <a:spcPct val="0"/>
                  </a:spcAft>
                </a:pPr>
                <a:r>
                  <a:rPr lang="en-AU" sz="1200" b="1" dirty="0">
                    <a:solidFill>
                      <a:srgbClr val="FFFFFF"/>
                    </a:solidFill>
                    <a:latin typeface="AkkuratStd"/>
                    <a:cs typeface="AkkuratStd"/>
                  </a:rPr>
                  <a:t>1. Feedstocks  &amp;  Processing Technologies</a:t>
                </a:r>
              </a:p>
            </p:txBody>
          </p:sp>
        </p:grpSp>
        <p:grpSp>
          <p:nvGrpSpPr>
            <p:cNvPr id="8" name="Group 7"/>
            <p:cNvGrpSpPr/>
            <p:nvPr/>
          </p:nvGrpSpPr>
          <p:grpSpPr>
            <a:xfrm>
              <a:off x="323528" y="4593828"/>
              <a:ext cx="8640960" cy="1312836"/>
              <a:chOff x="323528" y="4593828"/>
              <a:chExt cx="8640960" cy="1312836"/>
            </a:xfrm>
          </p:grpSpPr>
          <p:sp>
            <p:nvSpPr>
              <p:cNvPr id="60" name="TextBox 59"/>
              <p:cNvSpPr txBox="1"/>
              <p:nvPr/>
            </p:nvSpPr>
            <p:spPr>
              <a:xfrm>
                <a:off x="323528" y="4593828"/>
                <a:ext cx="1692184" cy="1312836"/>
              </a:xfrm>
              <a:prstGeom prst="rect">
                <a:avLst/>
              </a:prstGeom>
              <a:noFill/>
            </p:spPr>
            <p:txBody>
              <a:bodyPr wrap="square" lIns="0" rIns="0" rtlCol="0">
                <a:spAutoFit/>
              </a:bodyPr>
              <a:lstStyle/>
              <a:p>
                <a:pPr fontAlgn="base">
                  <a:spcBef>
                    <a:spcPct val="0"/>
                  </a:spcBef>
                  <a:spcAft>
                    <a:spcPts val="200"/>
                  </a:spcAft>
                </a:pPr>
                <a:r>
                  <a:rPr lang="en-AU" sz="1000" b="1" dirty="0">
                    <a:solidFill>
                      <a:srgbClr val="4D4D4D"/>
                    </a:solidFill>
                    <a:latin typeface="AkkuratStd"/>
                    <a:cs typeface="AkkuratStd"/>
                  </a:rPr>
                  <a:t>Collaborate on R&amp;D gaps</a:t>
                </a:r>
              </a:p>
              <a:p>
                <a:pPr fontAlgn="base">
                  <a:spcBef>
                    <a:spcPct val="0"/>
                  </a:spcBef>
                  <a:spcAft>
                    <a:spcPts val="200"/>
                  </a:spcAft>
                </a:pPr>
                <a:r>
                  <a:rPr lang="en-AU" sz="1000" b="1" dirty="0">
                    <a:solidFill>
                      <a:srgbClr val="4D4D4D"/>
                    </a:solidFill>
                    <a:latin typeface="AkkuratStd"/>
                    <a:cs typeface="AkkuratStd"/>
                  </a:rPr>
                  <a:t>Support novel fuel R&amp;D</a:t>
                </a:r>
              </a:p>
              <a:p>
                <a:pPr fontAlgn="base">
                  <a:spcBef>
                    <a:spcPct val="0"/>
                  </a:spcBef>
                  <a:spcAft>
                    <a:spcPts val="200"/>
                  </a:spcAft>
                </a:pPr>
                <a:r>
                  <a:rPr lang="en-AU" sz="1000" b="1" dirty="0">
                    <a:solidFill>
                      <a:srgbClr val="4D4D4D"/>
                    </a:solidFill>
                    <a:latin typeface="AkkuratStd"/>
                    <a:cs typeface="AkkuratStd"/>
                  </a:rPr>
                  <a:t>Share technology info</a:t>
                </a:r>
              </a:p>
              <a:p>
                <a:pPr fontAlgn="base">
                  <a:spcBef>
                    <a:spcPct val="0"/>
                  </a:spcBef>
                  <a:spcAft>
                    <a:spcPts val="200"/>
                  </a:spcAft>
                </a:pPr>
                <a:r>
                  <a:rPr lang="en-AU" sz="1000" b="1" dirty="0">
                    <a:solidFill>
                      <a:srgbClr val="4D4D4D"/>
                    </a:solidFill>
                    <a:latin typeface="AkkuratStd"/>
                    <a:cs typeface="AkkuratStd"/>
                  </a:rPr>
                  <a:t>Identify feedstock issues</a:t>
                </a:r>
              </a:p>
              <a:p>
                <a:pPr fontAlgn="base">
                  <a:spcBef>
                    <a:spcPct val="0"/>
                  </a:spcBef>
                  <a:spcAft>
                    <a:spcPct val="0"/>
                  </a:spcAft>
                </a:pPr>
                <a:endParaRPr lang="en-US" sz="1000" b="1" dirty="0">
                  <a:solidFill>
                    <a:srgbClr val="4D4D4D"/>
                  </a:solidFill>
                  <a:latin typeface="AkkuratStd"/>
                  <a:cs typeface="AkkuratStd"/>
                </a:endParaRPr>
              </a:p>
            </p:txBody>
          </p:sp>
          <p:sp>
            <p:nvSpPr>
              <p:cNvPr id="61" name="TextBox 60"/>
              <p:cNvSpPr txBox="1"/>
              <p:nvPr/>
            </p:nvSpPr>
            <p:spPr>
              <a:xfrm>
                <a:off x="2663792" y="4602336"/>
                <a:ext cx="1692184" cy="1046440"/>
              </a:xfrm>
              <a:prstGeom prst="rect">
                <a:avLst/>
              </a:prstGeom>
              <a:noFill/>
            </p:spPr>
            <p:txBody>
              <a:bodyPr wrap="square" lIns="0" rIns="0" rtlCol="0">
                <a:spAutoFit/>
              </a:bodyPr>
              <a:lstStyle/>
              <a:p>
                <a:pPr fontAlgn="base">
                  <a:spcBef>
                    <a:spcPct val="0"/>
                  </a:spcBef>
                  <a:spcAft>
                    <a:spcPts val="200"/>
                  </a:spcAft>
                </a:pPr>
                <a:r>
                  <a:rPr lang="en-AU" sz="1000" b="1" dirty="0">
                    <a:solidFill>
                      <a:srgbClr val="4D4D4D"/>
                    </a:solidFill>
                    <a:latin typeface="AkkuratStd"/>
                    <a:cs typeface="AkkuratStd"/>
                  </a:rPr>
                  <a:t>Coordinate data/activities</a:t>
                </a:r>
              </a:p>
              <a:p>
                <a:pPr fontAlgn="base">
                  <a:spcBef>
                    <a:spcPct val="0"/>
                  </a:spcBef>
                  <a:spcAft>
                    <a:spcPts val="200"/>
                  </a:spcAft>
                </a:pPr>
                <a:r>
                  <a:rPr lang="en-AU" sz="1000" b="1" dirty="0">
                    <a:solidFill>
                      <a:srgbClr val="4D4D4D"/>
                    </a:solidFill>
                    <a:latin typeface="AkkuratStd"/>
                    <a:cs typeface="AkkuratStd"/>
                  </a:rPr>
                  <a:t>Advocate new certifications</a:t>
                </a:r>
              </a:p>
              <a:p>
                <a:pPr fontAlgn="base">
                  <a:spcBef>
                    <a:spcPct val="0"/>
                  </a:spcBef>
                  <a:spcAft>
                    <a:spcPts val="200"/>
                  </a:spcAft>
                </a:pPr>
                <a:r>
                  <a:rPr lang="en-AU" sz="1000" b="1" dirty="0">
                    <a:solidFill>
                      <a:srgbClr val="4D4D4D"/>
                    </a:solidFill>
                    <a:latin typeface="AkkuratStd"/>
                    <a:cs typeface="AkkuratStd"/>
                  </a:rPr>
                  <a:t>Support commercial flights</a:t>
                </a:r>
              </a:p>
              <a:p>
                <a:pPr fontAlgn="base">
                  <a:spcBef>
                    <a:spcPct val="0"/>
                  </a:spcBef>
                  <a:spcAft>
                    <a:spcPct val="0"/>
                  </a:spcAft>
                </a:pPr>
                <a:endParaRPr lang="en-US" sz="1000" b="1" dirty="0">
                  <a:solidFill>
                    <a:srgbClr val="4D4D4D"/>
                  </a:solidFill>
                  <a:latin typeface="AkkuratStd"/>
                  <a:cs typeface="AkkuratStd"/>
                </a:endParaRPr>
              </a:p>
            </p:txBody>
          </p:sp>
          <p:sp>
            <p:nvSpPr>
              <p:cNvPr id="63" name="TextBox 62"/>
              <p:cNvSpPr txBox="1"/>
              <p:nvPr/>
            </p:nvSpPr>
            <p:spPr>
              <a:xfrm>
                <a:off x="4932040" y="4596893"/>
                <a:ext cx="1692184" cy="1046440"/>
              </a:xfrm>
              <a:prstGeom prst="rect">
                <a:avLst/>
              </a:prstGeom>
              <a:noFill/>
            </p:spPr>
            <p:txBody>
              <a:bodyPr wrap="square" lIns="0" rIns="0" rtlCol="0">
                <a:spAutoFit/>
              </a:bodyPr>
              <a:lstStyle/>
              <a:p>
                <a:pPr fontAlgn="base">
                  <a:spcBef>
                    <a:spcPct val="0"/>
                  </a:spcBef>
                  <a:spcAft>
                    <a:spcPts val="200"/>
                  </a:spcAft>
                </a:pPr>
                <a:r>
                  <a:rPr lang="en-AU" sz="1000" b="1" dirty="0">
                    <a:solidFill>
                      <a:srgbClr val="4D4D4D"/>
                    </a:solidFill>
                    <a:latin typeface="AkkuratStd"/>
                    <a:cs typeface="AkkuratStd"/>
                  </a:rPr>
                  <a:t>Coordinate analysis</a:t>
                </a:r>
              </a:p>
              <a:p>
                <a:pPr fontAlgn="base">
                  <a:spcBef>
                    <a:spcPct val="0"/>
                  </a:spcBef>
                  <a:spcAft>
                    <a:spcPts val="200"/>
                  </a:spcAft>
                </a:pPr>
                <a:r>
                  <a:rPr lang="en-AU" sz="1000" b="1" dirty="0">
                    <a:solidFill>
                      <a:srgbClr val="4D4D4D"/>
                    </a:solidFill>
                    <a:latin typeface="AkkuratStd"/>
                    <a:cs typeface="AkkuratStd"/>
                  </a:rPr>
                  <a:t>Address research gaps</a:t>
                </a:r>
              </a:p>
              <a:p>
                <a:pPr fontAlgn="base">
                  <a:spcBef>
                    <a:spcPct val="0"/>
                  </a:spcBef>
                  <a:spcAft>
                    <a:spcPts val="200"/>
                  </a:spcAft>
                </a:pPr>
                <a:r>
                  <a:rPr lang="en-AU" sz="1000" b="1" dirty="0">
                    <a:solidFill>
                      <a:srgbClr val="4D4D4D"/>
                    </a:solidFill>
                    <a:latin typeface="AkkuratStd"/>
                    <a:cs typeface="AkkuratStd"/>
                  </a:rPr>
                  <a:t>Advocate standards</a:t>
                </a:r>
              </a:p>
              <a:p>
                <a:pPr fontAlgn="base">
                  <a:spcBef>
                    <a:spcPct val="0"/>
                  </a:spcBef>
                  <a:spcAft>
                    <a:spcPct val="0"/>
                  </a:spcAft>
                </a:pPr>
                <a:endParaRPr lang="en-US" sz="1000" b="1" dirty="0">
                  <a:solidFill>
                    <a:srgbClr val="4D4D4D"/>
                  </a:solidFill>
                  <a:latin typeface="AkkuratStd"/>
                  <a:cs typeface="AkkuratStd"/>
                </a:endParaRPr>
              </a:p>
            </p:txBody>
          </p:sp>
          <p:sp>
            <p:nvSpPr>
              <p:cNvPr id="64" name="TextBox 63"/>
              <p:cNvSpPr txBox="1"/>
              <p:nvPr/>
            </p:nvSpPr>
            <p:spPr>
              <a:xfrm>
                <a:off x="7272304" y="4596893"/>
                <a:ext cx="1692184" cy="1277920"/>
              </a:xfrm>
              <a:prstGeom prst="rect">
                <a:avLst/>
              </a:prstGeom>
              <a:noFill/>
            </p:spPr>
            <p:txBody>
              <a:bodyPr wrap="square" lIns="0" rIns="0" rtlCol="0">
                <a:spAutoFit/>
              </a:bodyPr>
              <a:lstStyle/>
              <a:p>
                <a:pPr fontAlgn="base">
                  <a:spcBef>
                    <a:spcPct val="0"/>
                  </a:spcBef>
                  <a:spcAft>
                    <a:spcPts val="200"/>
                  </a:spcAft>
                </a:pPr>
                <a:r>
                  <a:rPr lang="en-AU" sz="1000" b="1" dirty="0">
                    <a:solidFill>
                      <a:srgbClr val="4D4D4D"/>
                    </a:solidFill>
                    <a:latin typeface="AkkuratStd"/>
                    <a:cs typeface="AkkuratStd"/>
                  </a:rPr>
                  <a:t>Share commercial analyses</a:t>
                </a:r>
              </a:p>
              <a:p>
                <a:pPr fontAlgn="base">
                  <a:spcBef>
                    <a:spcPct val="0"/>
                  </a:spcBef>
                  <a:spcAft>
                    <a:spcPts val="200"/>
                  </a:spcAft>
                </a:pPr>
                <a:r>
                  <a:rPr lang="en-AU" sz="1000" b="1" dirty="0">
                    <a:solidFill>
                      <a:srgbClr val="4D4D4D"/>
                    </a:solidFill>
                    <a:latin typeface="AkkuratStd"/>
                    <a:cs typeface="AkkuratStd"/>
                  </a:rPr>
                  <a:t>Share methodologies</a:t>
                </a:r>
              </a:p>
              <a:p>
                <a:pPr fontAlgn="base">
                  <a:spcBef>
                    <a:spcPct val="0"/>
                  </a:spcBef>
                  <a:spcAft>
                    <a:spcPts val="200"/>
                  </a:spcAft>
                </a:pPr>
                <a:r>
                  <a:rPr lang="en-AU" sz="1000" b="1" dirty="0">
                    <a:solidFill>
                      <a:srgbClr val="4D4D4D"/>
                    </a:solidFill>
                    <a:latin typeface="AkkuratStd"/>
                    <a:cs typeface="AkkuratStd"/>
                  </a:rPr>
                  <a:t>Share supply chain best practice</a:t>
                </a:r>
              </a:p>
              <a:p>
                <a:pPr fontAlgn="base">
                  <a:spcBef>
                    <a:spcPct val="0"/>
                  </a:spcBef>
                  <a:spcAft>
                    <a:spcPct val="0"/>
                  </a:spcAft>
                </a:pPr>
                <a:endParaRPr lang="en-US" sz="1000" b="1" dirty="0">
                  <a:solidFill>
                    <a:srgbClr val="4D4D4D"/>
                  </a:solidFill>
                  <a:latin typeface="AkkuratStd"/>
                  <a:cs typeface="AkkuratStd"/>
                </a:endParaRPr>
              </a:p>
            </p:txBody>
          </p:sp>
        </p:grpSp>
      </p:grpSp>
      <p:sp>
        <p:nvSpPr>
          <p:cNvPr id="66" name="Left Brace 65"/>
          <p:cNvSpPr/>
          <p:nvPr/>
        </p:nvSpPr>
        <p:spPr bwMode="auto">
          <a:xfrm rot="16200000">
            <a:off x="4355976" y="-310403"/>
            <a:ext cx="432048" cy="9000984"/>
          </a:xfrm>
          <a:prstGeom prst="leftBrace">
            <a:avLst/>
          </a:prstGeom>
          <a:noFill/>
          <a:ln w="38100" cap="flat" cmpd="sng" algn="ctr">
            <a:solidFill>
              <a:srgbClr val="ABCB2A"/>
            </a:solidFill>
            <a:prstDash val="solid"/>
            <a:round/>
            <a:headEnd type="none" w="med" len="med"/>
            <a:tailEnd type="none" w="med" len="med"/>
          </a:ln>
          <a:effectLst/>
          <a:extLst/>
        </p:spPr>
        <p:txBody>
          <a:bodyPr vert="vert270" lIns="91428" tIns="45714" rIns="91428" bIns="45714"/>
          <a:lstStyle/>
          <a:p>
            <a:pPr algn="ctr" fontAlgn="base">
              <a:spcBef>
                <a:spcPct val="0"/>
              </a:spcBef>
              <a:spcAft>
                <a:spcPct val="0"/>
              </a:spcAft>
              <a:defRPr/>
            </a:pPr>
            <a:endParaRPr lang="en-US" sz="1200" b="1" dirty="0">
              <a:solidFill>
                <a:srgbClr val="505050"/>
              </a:solidFill>
              <a:latin typeface="AkkuratStd"/>
              <a:cs typeface="AkkuratStd"/>
            </a:endParaRPr>
          </a:p>
        </p:txBody>
      </p:sp>
      <p:sp>
        <p:nvSpPr>
          <p:cNvPr id="68" name="Rectangle 67"/>
          <p:cNvSpPr/>
          <p:nvPr/>
        </p:nvSpPr>
        <p:spPr>
          <a:xfrm>
            <a:off x="2590800" y="4476750"/>
            <a:ext cx="3960440" cy="324036"/>
          </a:xfrm>
          <a:prstGeom prst="rect">
            <a:avLst/>
          </a:prstGeom>
          <a:solidFill>
            <a:schemeClr val="bg2">
              <a:lumMod val="5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53993" tIns="45714" rIns="53993" bIns="45714" rtlCol="0" anchor="ctr"/>
          <a:lstStyle/>
          <a:p>
            <a:pPr algn="ctr" fontAlgn="base">
              <a:spcBef>
                <a:spcPct val="0"/>
              </a:spcBef>
              <a:spcAft>
                <a:spcPct val="0"/>
              </a:spcAft>
            </a:pPr>
            <a:r>
              <a:rPr lang="en-AU" sz="1200" b="1" dirty="0">
                <a:solidFill>
                  <a:srgbClr val="FFFFFF"/>
                </a:solidFill>
                <a:latin typeface="AkkuratStd"/>
                <a:cs typeface="AkkuratStd"/>
              </a:rPr>
              <a:t>Industry &amp; Government Stakeholders</a:t>
            </a:r>
          </a:p>
        </p:txBody>
      </p:sp>
      <p:sp>
        <p:nvSpPr>
          <p:cNvPr id="69" name="Rectangle 68"/>
          <p:cNvSpPr/>
          <p:nvPr/>
        </p:nvSpPr>
        <p:spPr>
          <a:xfrm>
            <a:off x="3221851" y="2625756"/>
            <a:ext cx="2700300" cy="304986"/>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lIns="53993" tIns="45714" rIns="53993" bIns="45714" rtlCol="0" anchor="ctr"/>
          <a:lstStyle/>
          <a:p>
            <a:pPr algn="ctr" fontAlgn="base">
              <a:spcBef>
                <a:spcPct val="0"/>
              </a:spcBef>
              <a:spcAft>
                <a:spcPct val="0"/>
              </a:spcAft>
            </a:pPr>
            <a:r>
              <a:rPr lang="en-AU" sz="1200" b="1" dirty="0">
                <a:solidFill>
                  <a:srgbClr val="FFFFFF"/>
                </a:solidFill>
                <a:latin typeface="AkkuratStd"/>
                <a:cs typeface="AkkuratStd"/>
              </a:rPr>
              <a:t>Working Groups</a:t>
            </a:r>
          </a:p>
        </p:txBody>
      </p:sp>
    </p:spTree>
    <p:extLst>
      <p:ext uri="{BB962C8B-B14F-4D97-AF65-F5344CB8AC3E}">
        <p14:creationId xmlns:p14="http://schemas.microsoft.com/office/powerpoint/2010/main" val="69497182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02840" y="33468"/>
            <a:ext cx="8229600" cy="857250"/>
          </a:xfrm>
        </p:spPr>
        <p:txBody>
          <a:bodyPr/>
          <a:lstStyle/>
          <a:p>
            <a:r>
              <a:rPr lang="en-US" dirty="0" smtClean="0"/>
              <a:t>AISAF Steering Committee</a:t>
            </a:r>
            <a:endParaRPr lang="en-US" dirty="0"/>
          </a:p>
        </p:txBody>
      </p:sp>
      <p:grpSp>
        <p:nvGrpSpPr>
          <p:cNvPr id="2" name="Group 1"/>
          <p:cNvGrpSpPr/>
          <p:nvPr/>
        </p:nvGrpSpPr>
        <p:grpSpPr>
          <a:xfrm>
            <a:off x="107504" y="1167594"/>
            <a:ext cx="8928992" cy="2646294"/>
            <a:chOff x="905933" y="3098785"/>
            <a:chExt cx="7603067" cy="2482056"/>
          </a:xfrm>
        </p:grpSpPr>
        <p:pic>
          <p:nvPicPr>
            <p:cNvPr id="8" name="Picture 7"/>
            <p:cNvPicPr/>
            <p:nvPr/>
          </p:nvPicPr>
          <p:blipFill>
            <a:blip r:embed="rId3">
              <a:extLst>
                <a:ext uri="{28A0092B-C50C-407E-A947-70E740481C1C}">
                  <a14:useLocalDpi xmlns:a14="http://schemas.microsoft.com/office/drawing/2010/main" val="0"/>
                </a:ext>
              </a:extLst>
            </a:blip>
            <a:srcRect/>
            <a:stretch>
              <a:fillRect/>
            </a:stretch>
          </p:blipFill>
          <p:spPr bwMode="auto">
            <a:xfrm>
              <a:off x="905933" y="3098785"/>
              <a:ext cx="7603067" cy="2482056"/>
            </a:xfrm>
            <a:prstGeom prst="rect">
              <a:avLst/>
            </a:prstGeom>
            <a:noFill/>
            <a:ln>
              <a:solidFill>
                <a:srgbClr val="3366FF"/>
              </a:solidFill>
            </a:ln>
          </p:spPr>
        </p:pic>
        <p:pic>
          <p:nvPicPr>
            <p:cNvPr id="10" name="Picture 9"/>
            <p:cNvPicPr>
              <a:picLocks noChangeAspect="1"/>
            </p:cNvPicPr>
            <p:nvPr/>
          </p:nvPicPr>
          <p:blipFill>
            <a:blip r:embed="rId4"/>
            <a:stretch>
              <a:fillRect/>
            </a:stretch>
          </p:blipFill>
          <p:spPr>
            <a:xfrm>
              <a:off x="5943596" y="4047173"/>
              <a:ext cx="1618290" cy="522536"/>
            </a:xfrm>
            <a:prstGeom prst="rect">
              <a:avLst/>
            </a:prstGeom>
          </p:spPr>
        </p:pic>
      </p:grpSp>
      <p:sp>
        <p:nvSpPr>
          <p:cNvPr id="14" name="TextBox 13"/>
          <p:cNvSpPr txBox="1"/>
          <p:nvPr/>
        </p:nvSpPr>
        <p:spPr>
          <a:xfrm>
            <a:off x="1465235" y="4162751"/>
            <a:ext cx="6213535" cy="830985"/>
          </a:xfrm>
          <a:prstGeom prst="rect">
            <a:avLst/>
          </a:prstGeom>
          <a:noFill/>
        </p:spPr>
        <p:txBody>
          <a:bodyPr wrap="none" lIns="91428" tIns="45714" rIns="91428" bIns="45714" rtlCol="0">
            <a:spAutoFit/>
          </a:bodyPr>
          <a:lstStyle/>
          <a:p>
            <a:pPr algn="ctr" fontAlgn="base">
              <a:spcBef>
                <a:spcPct val="0"/>
              </a:spcBef>
              <a:spcAft>
                <a:spcPct val="0"/>
              </a:spcAft>
            </a:pPr>
            <a:r>
              <a:rPr lang="en-US" sz="2400" b="1" dirty="0">
                <a:solidFill>
                  <a:srgbClr val="143E83"/>
                </a:solidFill>
                <a:hlinkClick r:id="rId5" action="ppaction://hlinkfile"/>
              </a:rPr>
              <a:t>W: </a:t>
            </a:r>
            <a:r>
              <a:rPr lang="en-US" sz="2400" b="1" dirty="0" err="1">
                <a:solidFill>
                  <a:srgbClr val="143E83"/>
                </a:solidFill>
                <a:hlinkClick r:id="rId5" action="ppaction://hlinkfile"/>
              </a:rPr>
              <a:t>aisaf.org.au</a:t>
            </a:r>
            <a:endParaRPr lang="en-US" sz="2400" b="1" dirty="0">
              <a:solidFill>
                <a:srgbClr val="143E83"/>
              </a:solidFill>
              <a:hlinkClick r:id="" action="ppaction://hlinkfile"/>
            </a:endParaRPr>
          </a:p>
          <a:p>
            <a:pPr algn="ctr" fontAlgn="base">
              <a:spcBef>
                <a:spcPct val="0"/>
              </a:spcBef>
              <a:spcAft>
                <a:spcPct val="0"/>
              </a:spcAft>
            </a:pPr>
            <a:r>
              <a:rPr lang="en-US" sz="2400" b="1" dirty="0">
                <a:solidFill>
                  <a:srgbClr val="143E83"/>
                </a:solidFill>
                <a:hlinkClick r:id="" action="ppaction://hlinkfile"/>
              </a:rPr>
              <a:t>E: </a:t>
            </a:r>
            <a:r>
              <a:rPr lang="en-US" sz="2400" b="1" dirty="0" err="1">
                <a:solidFill>
                  <a:srgbClr val="143E83"/>
                </a:solidFill>
                <a:hlinkClick r:id="rId5" action="ppaction://hlinkfile"/>
              </a:rPr>
              <a:t>aisaf-chair@aviationaerospace.org.au</a:t>
            </a:r>
            <a:r>
              <a:rPr lang="en-US" sz="2400" b="1" dirty="0">
                <a:solidFill>
                  <a:srgbClr val="143E83"/>
                </a:solidFill>
                <a:hlinkClick r:id="rId5" action="ppaction://hlinkfile"/>
              </a:rPr>
              <a:t> </a:t>
            </a:r>
            <a:endParaRPr lang="en-US" sz="2400" b="1" dirty="0">
              <a:solidFill>
                <a:srgbClr val="143E83"/>
              </a:solidFill>
            </a:endParaRPr>
          </a:p>
        </p:txBody>
      </p:sp>
    </p:spTree>
    <p:extLst>
      <p:ext uri="{BB962C8B-B14F-4D97-AF65-F5344CB8AC3E}">
        <p14:creationId xmlns:p14="http://schemas.microsoft.com/office/powerpoint/2010/main" val="20643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994260557"/>
              </p:ext>
            </p:extLst>
          </p:nvPr>
        </p:nvGraphicFramePr>
        <p:xfrm>
          <a:off x="323528" y="1221602"/>
          <a:ext cx="8568952" cy="3024339"/>
        </p:xfrm>
        <a:graphic>
          <a:graphicData uri="http://schemas.openxmlformats.org/drawingml/2006/table">
            <a:tbl>
              <a:tblPr firstRow="1" bandRow="1">
                <a:tableStyleId>{5C22544A-7EE6-4342-B048-85BDC9FD1C3A}</a:tableStyleId>
              </a:tblPr>
              <a:tblGrid>
                <a:gridCol w="7219838"/>
                <a:gridCol w="1349114"/>
              </a:tblGrid>
              <a:tr h="421307">
                <a:tc>
                  <a:txBody>
                    <a:bodyPr/>
                    <a:lstStyle/>
                    <a:p>
                      <a:r>
                        <a:rPr lang="en-US" sz="1800" dirty="0" smtClean="0">
                          <a:solidFill>
                            <a:srgbClr val="000000"/>
                          </a:solidFill>
                        </a:rPr>
                        <a:t>Criteria</a:t>
                      </a:r>
                      <a:endParaRPr lang="en-US" sz="1800" dirty="0">
                        <a:solidFill>
                          <a:srgbClr val="000000"/>
                        </a:solidFill>
                      </a:endParaRPr>
                    </a:p>
                  </a:txBody>
                  <a:tcPr marT="34290" marB="34290"/>
                </a:tc>
                <a:tc>
                  <a:txBody>
                    <a:bodyPr/>
                    <a:lstStyle/>
                    <a:p>
                      <a:r>
                        <a:rPr lang="en-US" sz="1800" dirty="0" smtClean="0">
                          <a:solidFill>
                            <a:srgbClr val="000000"/>
                          </a:solidFill>
                        </a:rPr>
                        <a:t>Score</a:t>
                      </a:r>
                      <a:endParaRPr lang="en-US" sz="1800" dirty="0">
                        <a:solidFill>
                          <a:srgbClr val="000000"/>
                        </a:solidFill>
                      </a:endParaRPr>
                    </a:p>
                  </a:txBody>
                  <a:tcPr marT="34290" marB="34290"/>
                </a:tc>
              </a:tr>
              <a:tr h="4964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Market Need/Leading Edge Customers</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latin typeface="Zapf Dingbats"/>
                          <a:ea typeface="Zapf Dingbats"/>
                          <a:cs typeface="Zapf Dingbats"/>
                          <a:sym typeface="Zapf Dingbats"/>
                        </a:rPr>
                        <a:t>✓✓✓</a:t>
                      </a:r>
                      <a:endParaRPr lang="en-US" sz="1800" dirty="0"/>
                    </a:p>
                  </a:txBody>
                  <a:tcPr marT="34290" marB="34290"/>
                </a:tc>
              </a:tr>
              <a:tr h="421307">
                <a:tc>
                  <a:txBody>
                    <a:bodyPr/>
                    <a:lstStyle/>
                    <a:p>
                      <a:r>
                        <a:rPr lang="en-US" sz="1800" dirty="0" smtClean="0"/>
                        <a:t>In</a:t>
                      </a:r>
                      <a:r>
                        <a:rPr lang="en-US" sz="1800" baseline="0" dirty="0" smtClean="0"/>
                        <a:t> Australia’s national Interest – security, economy</a:t>
                      </a:r>
                      <a:endParaRPr lang="en-US" sz="1800" dirty="0"/>
                    </a:p>
                  </a:txBody>
                  <a:tcPr marT="34290" marB="34290"/>
                </a:tc>
                <a:tc>
                  <a:txBody>
                    <a:bodyPr/>
                    <a:lstStyle/>
                    <a:p>
                      <a:r>
                        <a:rPr lang="en-US" sz="1800" dirty="0" smtClean="0">
                          <a:latin typeface="Zapf Dingbats"/>
                          <a:ea typeface="Zapf Dingbats"/>
                          <a:cs typeface="Zapf Dingbats"/>
                          <a:sym typeface="Zapf Dingbats"/>
                        </a:rPr>
                        <a:t>✓✓</a:t>
                      </a:r>
                      <a:endParaRPr lang="en-US" sz="1800" dirty="0"/>
                    </a:p>
                  </a:txBody>
                  <a:tcPr marT="34290" marB="34290"/>
                </a:tc>
              </a:tr>
              <a:tr h="421307">
                <a:tc>
                  <a:txBody>
                    <a:bodyPr/>
                    <a:lstStyle/>
                    <a:p>
                      <a:r>
                        <a:rPr lang="en-US" sz="1800" dirty="0" smtClean="0"/>
                        <a:t>Competitive</a:t>
                      </a:r>
                      <a:r>
                        <a:rPr lang="en-US" sz="1800" baseline="0" dirty="0" smtClean="0"/>
                        <a:t> capacity/capability to build on</a:t>
                      </a:r>
                      <a:endParaRPr lang="en-US" sz="1800" dirty="0"/>
                    </a:p>
                  </a:txBody>
                  <a:tcPr marT="34290" marB="34290"/>
                </a:tc>
                <a:tc>
                  <a:txBody>
                    <a:bodyPr/>
                    <a:lstStyle/>
                    <a:p>
                      <a:r>
                        <a:rPr lang="en-US" sz="1800" dirty="0" smtClean="0">
                          <a:latin typeface="Zapf Dingbats"/>
                          <a:ea typeface="Zapf Dingbats"/>
                          <a:cs typeface="Zapf Dingbats"/>
                          <a:sym typeface="Zapf Dingbats"/>
                        </a:rPr>
                        <a:t>✓✓</a:t>
                      </a:r>
                      <a:endParaRPr lang="en-US" sz="1800" dirty="0"/>
                    </a:p>
                  </a:txBody>
                  <a:tcPr marT="34290" marB="34290"/>
                </a:tc>
              </a:tr>
              <a:tr h="421307">
                <a:tc>
                  <a:txBody>
                    <a:bodyPr/>
                    <a:lstStyle/>
                    <a:p>
                      <a:r>
                        <a:rPr lang="en-US" sz="1800" dirty="0" smtClean="0"/>
                        <a:t>Comparative</a:t>
                      </a:r>
                      <a:r>
                        <a:rPr lang="en-US" sz="1800" baseline="0" dirty="0" smtClean="0"/>
                        <a:t> advantage to exploit</a:t>
                      </a:r>
                      <a:endParaRPr lang="en-US" sz="1800" dirty="0"/>
                    </a:p>
                  </a:txBody>
                  <a:tcPr marT="34290" marB="34290"/>
                </a:tc>
                <a:tc>
                  <a:txBody>
                    <a:bodyPr/>
                    <a:lstStyle/>
                    <a:p>
                      <a:r>
                        <a:rPr lang="en-US" sz="1800" dirty="0" smtClean="0">
                          <a:latin typeface="Zapf Dingbats"/>
                          <a:ea typeface="Zapf Dingbats"/>
                          <a:cs typeface="Zapf Dingbats"/>
                          <a:sym typeface="Zapf Dingbats"/>
                        </a:rPr>
                        <a:t>✓✓✓</a:t>
                      </a:r>
                      <a:endParaRPr lang="en-US" sz="1800" dirty="0"/>
                    </a:p>
                  </a:txBody>
                  <a:tcPr marT="34290" marB="34290"/>
                </a:tc>
              </a:tr>
              <a:tr h="421307">
                <a:tc>
                  <a:txBody>
                    <a:bodyPr/>
                    <a:lstStyle/>
                    <a:p>
                      <a:r>
                        <a:rPr lang="en-US" sz="1800" dirty="0" smtClean="0"/>
                        <a:t>Not too late to enter field</a:t>
                      </a:r>
                      <a:endParaRPr lang="en-US" sz="1800" dirty="0"/>
                    </a:p>
                  </a:txBody>
                  <a:tcPr marT="34290" marB="34290"/>
                </a:tc>
                <a:tc>
                  <a:txBody>
                    <a:bodyPr/>
                    <a:lstStyle/>
                    <a:p>
                      <a:r>
                        <a:rPr lang="en-US" sz="1800" dirty="0" smtClean="0">
                          <a:latin typeface="Zapf Dingbats"/>
                          <a:ea typeface="Zapf Dingbats"/>
                          <a:cs typeface="Zapf Dingbats"/>
                          <a:sym typeface="Zapf Dingbats"/>
                        </a:rPr>
                        <a:t>✓✓✓</a:t>
                      </a:r>
                      <a:endParaRPr lang="en-US" sz="1800" dirty="0"/>
                    </a:p>
                  </a:txBody>
                  <a:tcPr marT="34290" marB="34290"/>
                </a:tc>
              </a:tr>
              <a:tr h="421307">
                <a:tc>
                  <a:txBody>
                    <a:bodyPr/>
                    <a:lstStyle/>
                    <a:p>
                      <a:r>
                        <a:rPr lang="en-US" sz="1800" dirty="0" smtClean="0"/>
                        <a:t>Evident</a:t>
                      </a:r>
                      <a:r>
                        <a:rPr lang="en-US" sz="1800" baseline="0" dirty="0" smtClean="0"/>
                        <a:t> overseas market opportunity</a:t>
                      </a:r>
                      <a:endParaRPr lang="en-US" sz="1800" dirty="0"/>
                    </a:p>
                  </a:txBody>
                  <a:tcPr marT="34290" marB="34290"/>
                </a:tc>
                <a:tc>
                  <a:txBody>
                    <a:bodyPr/>
                    <a:lstStyle/>
                    <a:p>
                      <a:r>
                        <a:rPr lang="en-US" sz="1800" dirty="0" smtClean="0">
                          <a:latin typeface="Zapf Dingbats"/>
                          <a:ea typeface="Zapf Dingbats"/>
                          <a:cs typeface="Zapf Dingbats"/>
                          <a:sym typeface="Zapf Dingbats"/>
                        </a:rPr>
                        <a:t>✓✓✓</a:t>
                      </a:r>
                      <a:endParaRPr lang="en-US" sz="1800" dirty="0"/>
                    </a:p>
                  </a:txBody>
                  <a:tcPr marT="34290" marB="34290"/>
                </a:tc>
              </a:tr>
            </a:tbl>
          </a:graphicData>
        </a:graphic>
      </p:graphicFrame>
      <p:sp>
        <p:nvSpPr>
          <p:cNvPr id="6" name="Title 1"/>
          <p:cNvSpPr txBox="1">
            <a:spLocks/>
          </p:cNvSpPr>
          <p:nvPr/>
        </p:nvSpPr>
        <p:spPr bwMode="auto">
          <a:xfrm>
            <a:off x="179512" y="249492"/>
            <a:ext cx="8568952" cy="594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28" tIns="45714" rIns="91428" bIns="45714" numCol="1" anchor="ctr" anchorCtr="0" compatLnSpc="1">
            <a:prstTxWarp prst="textNoShape">
              <a:avLst/>
            </a:prstTxWarp>
            <a:noAutofit/>
          </a:bodyPr>
          <a:lstStyle>
            <a:lvl1pPr algn="l" rtl="0" eaLnBrk="0" fontAlgn="base" hangingPunct="0">
              <a:spcBef>
                <a:spcPct val="0"/>
              </a:spcBef>
              <a:spcAft>
                <a:spcPct val="0"/>
              </a:spcAft>
              <a:defRPr sz="4000" b="1">
                <a:solidFill>
                  <a:srgbClr val="143E83"/>
                </a:solidFill>
                <a:latin typeface="+mj-lt"/>
                <a:ea typeface="+mj-ea"/>
                <a:cs typeface="ＭＳ Ｐゴシック" charset="0"/>
              </a:defRPr>
            </a:lvl1pPr>
            <a:lvl2pPr algn="l" rtl="0" eaLnBrk="0" fontAlgn="base" hangingPunct="0">
              <a:spcBef>
                <a:spcPct val="0"/>
              </a:spcBef>
              <a:spcAft>
                <a:spcPct val="0"/>
              </a:spcAft>
              <a:defRPr sz="3200" b="1">
                <a:solidFill>
                  <a:srgbClr val="000066"/>
                </a:solidFill>
                <a:latin typeface="Arial" charset="0"/>
                <a:ea typeface="ＭＳ Ｐゴシック" charset="0"/>
                <a:cs typeface="ＭＳ Ｐゴシック" charset="0"/>
              </a:defRPr>
            </a:lvl2pPr>
            <a:lvl3pPr algn="l" rtl="0" eaLnBrk="0" fontAlgn="base" hangingPunct="0">
              <a:spcBef>
                <a:spcPct val="0"/>
              </a:spcBef>
              <a:spcAft>
                <a:spcPct val="0"/>
              </a:spcAft>
              <a:defRPr sz="3200" b="1">
                <a:solidFill>
                  <a:srgbClr val="000066"/>
                </a:solidFill>
                <a:latin typeface="Arial" charset="0"/>
                <a:ea typeface="ＭＳ Ｐゴシック" charset="0"/>
                <a:cs typeface="ＭＳ Ｐゴシック" charset="0"/>
              </a:defRPr>
            </a:lvl3pPr>
            <a:lvl4pPr algn="l" rtl="0" eaLnBrk="0" fontAlgn="base" hangingPunct="0">
              <a:spcBef>
                <a:spcPct val="0"/>
              </a:spcBef>
              <a:spcAft>
                <a:spcPct val="0"/>
              </a:spcAft>
              <a:defRPr sz="3200" b="1">
                <a:solidFill>
                  <a:srgbClr val="000066"/>
                </a:solidFill>
                <a:latin typeface="Arial" charset="0"/>
                <a:ea typeface="ＭＳ Ｐゴシック" charset="0"/>
                <a:cs typeface="ＭＳ Ｐゴシック" charset="0"/>
              </a:defRPr>
            </a:lvl4pPr>
            <a:lvl5pPr algn="l" rtl="0" eaLnBrk="0" fontAlgn="base" hangingPunct="0">
              <a:spcBef>
                <a:spcPct val="0"/>
              </a:spcBef>
              <a:spcAft>
                <a:spcPct val="0"/>
              </a:spcAft>
              <a:defRPr sz="3200" b="1">
                <a:solidFill>
                  <a:srgbClr val="000066"/>
                </a:solidFill>
                <a:latin typeface="Arial" charset="0"/>
                <a:ea typeface="ＭＳ Ｐゴシック" charset="0"/>
                <a:cs typeface="ＭＳ Ｐゴシック" charset="0"/>
              </a:defRPr>
            </a:lvl5pPr>
            <a:lvl6pPr marL="457200" algn="l" rtl="0" fontAlgn="base">
              <a:spcBef>
                <a:spcPct val="0"/>
              </a:spcBef>
              <a:spcAft>
                <a:spcPct val="0"/>
              </a:spcAft>
              <a:defRPr sz="3200" b="1">
                <a:solidFill>
                  <a:srgbClr val="000066"/>
                </a:solidFill>
                <a:latin typeface="Arial" charset="0"/>
                <a:ea typeface="ＭＳ Ｐゴシック" charset="0"/>
              </a:defRPr>
            </a:lvl6pPr>
            <a:lvl7pPr marL="914400" algn="l" rtl="0" fontAlgn="base">
              <a:spcBef>
                <a:spcPct val="0"/>
              </a:spcBef>
              <a:spcAft>
                <a:spcPct val="0"/>
              </a:spcAft>
              <a:defRPr sz="3200" b="1">
                <a:solidFill>
                  <a:srgbClr val="000066"/>
                </a:solidFill>
                <a:latin typeface="Arial" charset="0"/>
                <a:ea typeface="ＭＳ Ｐゴシック" charset="0"/>
              </a:defRPr>
            </a:lvl7pPr>
            <a:lvl8pPr marL="1371600" algn="l" rtl="0" fontAlgn="base">
              <a:spcBef>
                <a:spcPct val="0"/>
              </a:spcBef>
              <a:spcAft>
                <a:spcPct val="0"/>
              </a:spcAft>
              <a:defRPr sz="3200" b="1">
                <a:solidFill>
                  <a:srgbClr val="000066"/>
                </a:solidFill>
                <a:latin typeface="Arial" charset="0"/>
                <a:ea typeface="ＭＳ Ｐゴシック" charset="0"/>
              </a:defRPr>
            </a:lvl8pPr>
            <a:lvl9pPr marL="1828800" algn="l" rtl="0" fontAlgn="base">
              <a:spcBef>
                <a:spcPct val="0"/>
              </a:spcBef>
              <a:spcAft>
                <a:spcPct val="0"/>
              </a:spcAft>
              <a:defRPr sz="3200" b="1">
                <a:solidFill>
                  <a:srgbClr val="000066"/>
                </a:solidFill>
                <a:latin typeface="Arial" charset="0"/>
                <a:ea typeface="ＭＳ Ｐゴシック" charset="0"/>
              </a:defRPr>
            </a:lvl9pPr>
          </a:lstStyle>
          <a:p>
            <a:r>
              <a:rPr lang="en-US" sz="3600" dirty="0"/>
              <a:t>SAF Industry Opportunity for Australia </a:t>
            </a:r>
          </a:p>
        </p:txBody>
      </p:sp>
      <p:sp>
        <p:nvSpPr>
          <p:cNvPr id="7" name="TextBox 6"/>
          <p:cNvSpPr txBox="1"/>
          <p:nvPr/>
        </p:nvSpPr>
        <p:spPr>
          <a:xfrm>
            <a:off x="337697" y="4476750"/>
            <a:ext cx="8121110" cy="584763"/>
          </a:xfrm>
          <a:prstGeom prst="rect">
            <a:avLst/>
          </a:prstGeom>
          <a:noFill/>
        </p:spPr>
        <p:txBody>
          <a:bodyPr wrap="none" lIns="91428" tIns="45714" rIns="91428" bIns="45714" rtlCol="0">
            <a:spAutoFit/>
          </a:bodyPr>
          <a:lstStyle/>
          <a:p>
            <a:pPr fontAlgn="base">
              <a:spcBef>
                <a:spcPct val="0"/>
              </a:spcBef>
              <a:spcAft>
                <a:spcPct val="0"/>
              </a:spcAft>
            </a:pPr>
            <a:r>
              <a:rPr lang="en-US" sz="1600" dirty="0" err="1">
                <a:solidFill>
                  <a:srgbClr val="000000"/>
                </a:solidFill>
              </a:rPr>
              <a:t>atse.org.au</a:t>
            </a:r>
            <a:r>
              <a:rPr lang="en-US" sz="1600" dirty="0">
                <a:solidFill>
                  <a:srgbClr val="000000"/>
                </a:solidFill>
              </a:rPr>
              <a:t>/Documents/Publications/Reports/Energy/Green%20Growth%20Energy%20</a:t>
            </a:r>
          </a:p>
          <a:p>
            <a:pPr fontAlgn="base">
              <a:spcBef>
                <a:spcPct val="0"/>
              </a:spcBef>
              <a:spcAft>
                <a:spcPct val="0"/>
              </a:spcAft>
            </a:pPr>
            <a:r>
              <a:rPr lang="en-US" sz="1600" dirty="0">
                <a:solidFill>
                  <a:srgbClr val="000000"/>
                </a:solidFill>
              </a:rPr>
              <a:t>Report/ATSE%20Green%20Growth%20Report.pdf</a:t>
            </a:r>
          </a:p>
        </p:txBody>
      </p:sp>
    </p:spTree>
    <p:extLst>
      <p:ext uri="{BB962C8B-B14F-4D97-AF65-F5344CB8AC3E}">
        <p14:creationId xmlns:p14="http://schemas.microsoft.com/office/powerpoint/2010/main" val="28404435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stralian Market Leading Demand</a:t>
            </a:r>
            <a:endParaRPr lang="en-US" dirty="0"/>
          </a:p>
        </p:txBody>
      </p:sp>
      <p:pic>
        <p:nvPicPr>
          <p:cNvPr id="4" name="Content Placeholder 3"/>
          <p:cNvPicPr>
            <a:picLocks noGrp="1" noChangeAspect="1"/>
          </p:cNvPicPr>
          <p:nvPr>
            <p:ph idx="1"/>
          </p:nvPr>
        </p:nvPicPr>
        <p:blipFill>
          <a:blip r:embed="rId3"/>
          <a:srcRect t="6757" b="6757"/>
          <a:stretch>
            <a:fillRect/>
          </a:stretch>
        </p:blipFill>
        <p:spPr>
          <a:xfrm>
            <a:off x="467549" y="1276350"/>
            <a:ext cx="3951203" cy="2146196"/>
          </a:xfrm>
        </p:spPr>
      </p:pic>
      <p:sp>
        <p:nvSpPr>
          <p:cNvPr id="5" name="TextBox 4"/>
          <p:cNvSpPr txBox="1"/>
          <p:nvPr/>
        </p:nvSpPr>
        <p:spPr>
          <a:xfrm>
            <a:off x="914141" y="4558737"/>
            <a:ext cx="7372892" cy="584763"/>
          </a:xfrm>
          <a:prstGeom prst="rect">
            <a:avLst/>
          </a:prstGeom>
          <a:noFill/>
        </p:spPr>
        <p:txBody>
          <a:bodyPr wrap="none" lIns="91428" tIns="45714" rIns="91428" bIns="45714" rtlCol="0">
            <a:spAutoFit/>
          </a:bodyPr>
          <a:lstStyle/>
          <a:p>
            <a:pPr algn="ctr" fontAlgn="base">
              <a:spcBef>
                <a:spcPct val="0"/>
              </a:spcBef>
              <a:spcAft>
                <a:spcPct val="0"/>
              </a:spcAft>
            </a:pPr>
            <a:r>
              <a:rPr lang="en-US" sz="1600" b="1" dirty="0">
                <a:solidFill>
                  <a:srgbClr val="000000"/>
                </a:solidFill>
                <a:hlinkClick r:id="rId4"/>
              </a:rPr>
              <a:t>http://www.aisaf.org.au/events/low-carbon-jet-fuel-the-industry-flight-path</a:t>
            </a:r>
            <a:endParaRPr lang="en-US" sz="1600" b="1" dirty="0">
              <a:solidFill>
                <a:srgbClr val="000000"/>
              </a:solidFill>
            </a:endParaRPr>
          </a:p>
          <a:p>
            <a:pPr algn="ctr" fontAlgn="base">
              <a:spcBef>
                <a:spcPct val="0"/>
              </a:spcBef>
              <a:spcAft>
                <a:spcPct val="0"/>
              </a:spcAft>
            </a:pPr>
            <a:r>
              <a:rPr lang="en-US" sz="1600" b="1" dirty="0">
                <a:solidFill>
                  <a:srgbClr val="000000"/>
                </a:solidFill>
                <a:hlinkClick r:id="rId5"/>
              </a:rPr>
              <a:t>http://www.aisaf.org.au/events/advanced-biofuels-industry-day</a:t>
            </a:r>
            <a:endParaRPr lang="en-US" sz="1600" b="1" dirty="0">
              <a:solidFill>
                <a:srgbClr val="000000"/>
              </a:solidFill>
            </a:endParaRPr>
          </a:p>
        </p:txBody>
      </p:sp>
      <p:pic>
        <p:nvPicPr>
          <p:cNvPr id="7" name="Picture 6" descr="10201955313_63be588586_o.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97082" y="1276350"/>
            <a:ext cx="4107371" cy="2146292"/>
          </a:xfrm>
          <a:prstGeom prst="rect">
            <a:avLst/>
          </a:prstGeom>
        </p:spPr>
      </p:pic>
      <p:sp>
        <p:nvSpPr>
          <p:cNvPr id="10" name="TextBox 9"/>
          <p:cNvSpPr txBox="1"/>
          <p:nvPr/>
        </p:nvSpPr>
        <p:spPr>
          <a:xfrm>
            <a:off x="1417100" y="3409950"/>
            <a:ext cx="6366975" cy="1200316"/>
          </a:xfrm>
          <a:prstGeom prst="rect">
            <a:avLst/>
          </a:prstGeom>
          <a:noFill/>
        </p:spPr>
        <p:txBody>
          <a:bodyPr wrap="none" lIns="91428" tIns="45714" rIns="91428" bIns="45714" rtlCol="0">
            <a:spAutoFit/>
          </a:bodyPr>
          <a:lstStyle/>
          <a:p>
            <a:pPr algn="ctr" fontAlgn="base">
              <a:spcBef>
                <a:spcPct val="0"/>
              </a:spcBef>
              <a:spcAft>
                <a:spcPct val="0"/>
              </a:spcAft>
            </a:pPr>
            <a:r>
              <a:rPr lang="en-AU" sz="2400" b="1" dirty="0">
                <a:solidFill>
                  <a:srgbClr val="000000"/>
                </a:solidFill>
              </a:rPr>
              <a:t> 2012 fuel costs: Qantas, $4B; Virgin, $1B</a:t>
            </a:r>
          </a:p>
          <a:p>
            <a:pPr algn="ctr" fontAlgn="base">
              <a:spcBef>
                <a:spcPct val="0"/>
              </a:spcBef>
              <a:spcAft>
                <a:spcPct val="0"/>
              </a:spcAft>
            </a:pPr>
            <a:r>
              <a:rPr lang="en-AU" sz="2400" b="1" dirty="0">
                <a:solidFill>
                  <a:srgbClr val="000000"/>
                </a:solidFill>
              </a:rPr>
              <a:t>ADF, premium, boutique, low volume fuels</a:t>
            </a:r>
          </a:p>
          <a:p>
            <a:pPr algn="ctr" fontAlgn="base">
              <a:spcBef>
                <a:spcPct val="0"/>
              </a:spcBef>
              <a:spcAft>
                <a:spcPct val="0"/>
              </a:spcAft>
            </a:pPr>
            <a:r>
              <a:rPr lang="en-AU" sz="2400" b="1" dirty="0">
                <a:solidFill>
                  <a:srgbClr val="000000"/>
                </a:solidFill>
              </a:rPr>
              <a:t>Government engagement</a:t>
            </a:r>
          </a:p>
        </p:txBody>
      </p:sp>
    </p:spTree>
    <p:extLst>
      <p:ext uri="{BB962C8B-B14F-4D97-AF65-F5344CB8AC3E}">
        <p14:creationId xmlns:p14="http://schemas.microsoft.com/office/powerpoint/2010/main" val="199238051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0" y="0"/>
            <a:ext cx="9144000" cy="5143500"/>
          </a:xfrm>
          <a:prstGeom prst="rect">
            <a:avLst/>
          </a:prstGeom>
        </p:spPr>
      </p:pic>
      <p:sp>
        <p:nvSpPr>
          <p:cNvPr id="10" name="TextBox 9"/>
          <p:cNvSpPr txBox="1"/>
          <p:nvPr/>
        </p:nvSpPr>
        <p:spPr>
          <a:xfrm>
            <a:off x="487386" y="4299942"/>
            <a:ext cx="4735568" cy="523208"/>
          </a:xfrm>
          <a:prstGeom prst="rect">
            <a:avLst/>
          </a:prstGeom>
          <a:noFill/>
        </p:spPr>
        <p:txBody>
          <a:bodyPr wrap="none" lIns="91428" tIns="45714" rIns="91428" bIns="45714" rtlCol="0">
            <a:spAutoFit/>
          </a:bodyPr>
          <a:lstStyle/>
          <a:p>
            <a:pPr fontAlgn="base">
              <a:spcBef>
                <a:spcPct val="0"/>
              </a:spcBef>
              <a:spcAft>
                <a:spcPct val="0"/>
              </a:spcAft>
            </a:pPr>
            <a:r>
              <a:rPr lang="en-US" sz="2800" b="1" dirty="0">
                <a:solidFill>
                  <a:srgbClr val="000000"/>
                </a:solidFill>
              </a:rPr>
              <a:t>Current Production of SAF</a:t>
            </a:r>
          </a:p>
        </p:txBody>
      </p:sp>
    </p:spTree>
    <p:extLst>
      <p:ext uri="{BB962C8B-B14F-4D97-AF65-F5344CB8AC3E}">
        <p14:creationId xmlns:p14="http://schemas.microsoft.com/office/powerpoint/2010/main" val="22693119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SUSTAINABLE ALTERNATIVE FUELS </a:t>
            </a:r>
            <a:br>
              <a:rPr lang="en-US" dirty="0" smtClean="0"/>
            </a:br>
            <a:r>
              <a:rPr lang="en-US" dirty="0" smtClean="0"/>
              <a:t>IN THE CONTEXT OF </a:t>
            </a:r>
            <a:br>
              <a:rPr lang="en-US" dirty="0" smtClean="0"/>
            </a:br>
            <a:r>
              <a:rPr lang="en-US" dirty="0" smtClean="0"/>
              <a:t>INTERNATIONAL AVIATION</a:t>
            </a:r>
            <a:endParaRPr lang="en-US" dirty="0"/>
          </a:p>
        </p:txBody>
      </p:sp>
      <p:sp>
        <p:nvSpPr>
          <p:cNvPr id="3" name="Subtitle 2"/>
          <p:cNvSpPr>
            <a:spLocks noGrp="1"/>
          </p:cNvSpPr>
          <p:nvPr>
            <p:ph type="subTitle" idx="1"/>
          </p:nvPr>
        </p:nvSpPr>
        <p:spPr>
          <a:xfrm>
            <a:off x="1371600" y="2949792"/>
            <a:ext cx="6400800" cy="791226"/>
          </a:xfrm>
        </p:spPr>
        <p:txBody>
          <a:bodyPr>
            <a:normAutofit fontScale="92500" lnSpcReduction="10000"/>
          </a:bodyPr>
          <a:lstStyle/>
          <a:p>
            <a:r>
              <a:rPr lang="en-US" dirty="0" smtClean="0"/>
              <a:t>Jane Hupe</a:t>
            </a:r>
          </a:p>
          <a:p>
            <a:r>
              <a:rPr lang="en-US" sz="2000" dirty="0" smtClean="0"/>
              <a:t>Chief, ICAO Environment Branch</a:t>
            </a:r>
            <a:endParaRPr lang="en-US" sz="2000" dirty="0"/>
          </a:p>
        </p:txBody>
      </p:sp>
    </p:spTree>
    <p:extLst>
      <p:ext uri="{BB962C8B-B14F-4D97-AF65-F5344CB8AC3E}">
        <p14:creationId xmlns:p14="http://schemas.microsoft.com/office/powerpoint/2010/main" val="155515244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AA_Logo_AISAF.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9663" y="573531"/>
            <a:ext cx="6084676" cy="1637517"/>
          </a:xfrm>
          <a:prstGeom prst="rect">
            <a:avLst/>
          </a:prstGeom>
        </p:spPr>
      </p:pic>
      <p:sp>
        <p:nvSpPr>
          <p:cNvPr id="6" name="Rectangle 5"/>
          <p:cNvSpPr/>
          <p:nvPr/>
        </p:nvSpPr>
        <p:spPr>
          <a:xfrm>
            <a:off x="107504" y="2679765"/>
            <a:ext cx="9036496" cy="1200316"/>
          </a:xfrm>
          <a:prstGeom prst="rect">
            <a:avLst/>
          </a:prstGeom>
        </p:spPr>
        <p:txBody>
          <a:bodyPr wrap="square" lIns="91428" tIns="45714" rIns="91428" bIns="45714">
            <a:spAutoFit/>
          </a:bodyPr>
          <a:lstStyle/>
          <a:p>
            <a:pPr algn="ctr" fontAlgn="base">
              <a:spcBef>
                <a:spcPct val="0"/>
              </a:spcBef>
              <a:spcAft>
                <a:spcPct val="0"/>
              </a:spcAft>
            </a:pPr>
            <a:r>
              <a:rPr lang="en-US" sz="3600" b="1" dirty="0">
                <a:solidFill>
                  <a:srgbClr val="000000"/>
                </a:solidFill>
              </a:rPr>
              <a:t>A long-term future for aviation powered by sustainable fuels</a:t>
            </a:r>
          </a:p>
        </p:txBody>
      </p:sp>
      <p:sp>
        <p:nvSpPr>
          <p:cNvPr id="7" name="TextBox 6"/>
          <p:cNvSpPr txBox="1"/>
          <p:nvPr/>
        </p:nvSpPr>
        <p:spPr>
          <a:xfrm>
            <a:off x="1465235" y="4248150"/>
            <a:ext cx="6213535" cy="830985"/>
          </a:xfrm>
          <a:prstGeom prst="rect">
            <a:avLst/>
          </a:prstGeom>
          <a:noFill/>
        </p:spPr>
        <p:txBody>
          <a:bodyPr wrap="none" lIns="91428" tIns="45714" rIns="91428" bIns="45714" rtlCol="0">
            <a:spAutoFit/>
          </a:bodyPr>
          <a:lstStyle/>
          <a:p>
            <a:pPr algn="ctr" fontAlgn="base">
              <a:spcBef>
                <a:spcPct val="0"/>
              </a:spcBef>
              <a:spcAft>
                <a:spcPct val="0"/>
              </a:spcAft>
            </a:pPr>
            <a:r>
              <a:rPr lang="en-US" sz="2400" b="1" dirty="0">
                <a:solidFill>
                  <a:srgbClr val="000000"/>
                </a:solidFill>
              </a:rPr>
              <a:t>W: </a:t>
            </a:r>
            <a:r>
              <a:rPr lang="en-US" sz="2400" b="1" dirty="0" err="1">
                <a:solidFill>
                  <a:srgbClr val="000000"/>
                </a:solidFill>
              </a:rPr>
              <a:t>aisaf.org.au</a:t>
            </a:r>
            <a:endParaRPr lang="en-US" sz="2400" b="1" dirty="0">
              <a:solidFill>
                <a:srgbClr val="000000"/>
              </a:solidFill>
            </a:endParaRPr>
          </a:p>
          <a:p>
            <a:pPr algn="ctr" fontAlgn="base">
              <a:spcBef>
                <a:spcPct val="0"/>
              </a:spcBef>
              <a:spcAft>
                <a:spcPct val="0"/>
              </a:spcAft>
            </a:pPr>
            <a:r>
              <a:rPr lang="en-US" sz="2400" b="1" dirty="0">
                <a:solidFill>
                  <a:srgbClr val="000000"/>
                </a:solidFill>
              </a:rPr>
              <a:t>E: </a:t>
            </a:r>
            <a:r>
              <a:rPr lang="en-US" sz="2400" b="1" dirty="0" err="1">
                <a:solidFill>
                  <a:srgbClr val="000000"/>
                </a:solidFill>
              </a:rPr>
              <a:t>aisaf-chair@aviationaerospace.org.au</a:t>
            </a:r>
            <a:r>
              <a:rPr lang="en-US" sz="2400" b="1" dirty="0">
                <a:solidFill>
                  <a:srgbClr val="000000"/>
                </a:solidFill>
              </a:rPr>
              <a:t> </a:t>
            </a:r>
          </a:p>
        </p:txBody>
      </p:sp>
    </p:spTree>
    <p:extLst>
      <p:ext uri="{BB962C8B-B14F-4D97-AF65-F5344CB8AC3E}">
        <p14:creationId xmlns:p14="http://schemas.microsoft.com/office/powerpoint/2010/main" val="321589996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3"/>
          <p:cNvPicPr>
            <a:picLocks noChangeAspect="1" noChangeArrowheads="1"/>
          </p:cNvPicPr>
          <p:nvPr/>
        </p:nvPicPr>
        <p:blipFill rotWithShape="1">
          <a:blip r:embed="rId2" cstate="print"/>
          <a:srcRect r="13380" b="27979"/>
          <a:stretch/>
        </p:blipFill>
        <p:spPr bwMode="auto">
          <a:xfrm>
            <a:off x="0" y="904191"/>
            <a:ext cx="9144000" cy="5518863"/>
          </a:xfrm>
          <a:prstGeom prst="rect">
            <a:avLst/>
          </a:prstGeom>
          <a:noFill/>
          <a:ln w="9525">
            <a:noFill/>
            <a:miter lim="800000"/>
            <a:headEnd/>
            <a:tailEnd/>
          </a:ln>
        </p:spPr>
      </p:pic>
      <p:sp>
        <p:nvSpPr>
          <p:cNvPr id="17" name="Text Box 7"/>
          <p:cNvSpPr txBox="1">
            <a:spLocks noChangeArrowheads="1"/>
          </p:cNvSpPr>
          <p:nvPr/>
        </p:nvSpPr>
        <p:spPr bwMode="auto">
          <a:xfrm>
            <a:off x="228600" y="4048125"/>
            <a:ext cx="1357312" cy="257175"/>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r>
              <a:rPr lang="en-US" sz="900" dirty="0">
                <a:solidFill>
                  <a:srgbClr val="000000"/>
                </a:solidFill>
                <a:latin typeface="Arial" pitchFamily="34" charset="0"/>
                <a:cs typeface="Arial" pitchFamily="34" charset="0"/>
              </a:rPr>
              <a:t>Produced by</a:t>
            </a:r>
            <a:endParaRPr lang="en-US" dirty="0">
              <a:latin typeface="Arial" pitchFamily="34" charset="0"/>
              <a:cs typeface="Arial" pitchFamily="34" charset="0"/>
            </a:endParaRPr>
          </a:p>
        </p:txBody>
      </p:sp>
      <p:pic>
        <p:nvPicPr>
          <p:cNvPr id="18" name="Picture 8" descr="Kwclear"/>
          <p:cNvPicPr>
            <a:picLocks noChangeAspect="1" noChangeArrowheads="1"/>
          </p:cNvPicPr>
          <p:nvPr/>
        </p:nvPicPr>
        <p:blipFill>
          <a:blip r:embed="rId3" cstate="print">
            <a:clrChange>
              <a:clrFrom>
                <a:srgbClr val="FDFDFD"/>
              </a:clrFrom>
              <a:clrTo>
                <a:srgbClr val="FDFDFD">
                  <a:alpha val="0"/>
                </a:srgbClr>
              </a:clrTo>
            </a:clrChange>
          </a:blip>
          <a:srcRect/>
          <a:stretch>
            <a:fillRect/>
          </a:stretch>
        </p:blipFill>
        <p:spPr bwMode="auto">
          <a:xfrm>
            <a:off x="228604" y="4250149"/>
            <a:ext cx="1279525" cy="226603"/>
          </a:xfrm>
          <a:prstGeom prst="rect">
            <a:avLst/>
          </a:prstGeom>
          <a:noFill/>
          <a:ln w="9525" algn="in">
            <a:noFill/>
            <a:miter lim="800000"/>
            <a:headEnd/>
            <a:tailEnd/>
          </a:ln>
          <a:effectLst/>
        </p:spPr>
      </p:pic>
      <p:sp>
        <p:nvSpPr>
          <p:cNvPr id="20" name="Text Box 9"/>
          <p:cNvSpPr txBox="1">
            <a:spLocks noChangeArrowheads="1"/>
          </p:cNvSpPr>
          <p:nvPr/>
        </p:nvSpPr>
        <p:spPr bwMode="auto">
          <a:xfrm>
            <a:off x="2362200" y="133350"/>
            <a:ext cx="2667000" cy="971550"/>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endParaRPr lang="en-US" sz="800" b="1" dirty="0">
              <a:solidFill>
                <a:srgbClr val="00CCFF"/>
              </a:solidFill>
              <a:latin typeface="Arial" pitchFamily="34" charset="0"/>
              <a:cs typeface="Arial" pitchFamily="34" charset="0"/>
            </a:endParaRPr>
          </a:p>
          <a:p>
            <a:pPr fontAlgn="base">
              <a:spcBef>
                <a:spcPct val="0"/>
              </a:spcBef>
              <a:spcAft>
                <a:spcPct val="0"/>
              </a:spcAft>
            </a:pPr>
            <a:r>
              <a:rPr lang="en-US" sz="2400" b="1" dirty="0">
                <a:latin typeface="Arial" pitchFamily="34" charset="0"/>
                <a:cs typeface="Arial" pitchFamily="34" charset="0"/>
              </a:rPr>
              <a:t>CAAFI 2014</a:t>
            </a:r>
          </a:p>
          <a:p>
            <a:pPr fontAlgn="base">
              <a:spcBef>
                <a:spcPct val="0"/>
              </a:spcBef>
              <a:spcAft>
                <a:spcPct val="0"/>
              </a:spcAft>
            </a:pPr>
            <a:r>
              <a:rPr lang="en-US" sz="2400" b="1" dirty="0">
                <a:latin typeface="Arial" pitchFamily="34" charset="0"/>
                <a:cs typeface="Arial" pitchFamily="34" charset="0"/>
              </a:rPr>
              <a:t>General Meeting</a:t>
            </a:r>
          </a:p>
          <a:p>
            <a:pPr fontAlgn="base">
              <a:spcBef>
                <a:spcPct val="0"/>
              </a:spcBef>
              <a:spcAft>
                <a:spcPct val="0"/>
              </a:spcAft>
            </a:pPr>
            <a:r>
              <a:rPr lang="en-US" sz="2400" b="1" dirty="0">
                <a:latin typeface="Arial" pitchFamily="34" charset="0"/>
                <a:cs typeface="Arial" pitchFamily="34" charset="0"/>
              </a:rPr>
              <a:t>&amp; Expo</a:t>
            </a:r>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801" y="66179"/>
            <a:ext cx="1981200" cy="1286372"/>
          </a:xfrm>
          <a:prstGeom prst="rect">
            <a:avLst/>
          </a:prstGeom>
        </p:spPr>
      </p:pic>
      <p:sp>
        <p:nvSpPr>
          <p:cNvPr id="2" name="TextBox 1"/>
          <p:cNvSpPr txBox="1"/>
          <p:nvPr/>
        </p:nvSpPr>
        <p:spPr>
          <a:xfrm>
            <a:off x="685800" y="1271649"/>
            <a:ext cx="5105400" cy="2122852"/>
          </a:xfrm>
          <a:prstGeom prst="rect">
            <a:avLst/>
          </a:prstGeom>
          <a:noFill/>
        </p:spPr>
        <p:txBody>
          <a:bodyPr wrap="square" lIns="91428" tIns="45714" rIns="91428" bIns="45714" rtlCol="0">
            <a:spAutoFit/>
          </a:bodyPr>
          <a:lstStyle/>
          <a:p>
            <a:r>
              <a:rPr lang="en-US" sz="4000"/>
              <a:t>Alexandre Filizola, </a:t>
            </a:r>
            <a:r>
              <a:rPr lang="en-US" sz="2400"/>
              <a:t>Environment Technical Manager, ANAC</a:t>
            </a:r>
          </a:p>
          <a:p>
            <a:r>
              <a:rPr lang="en-US" sz="4000"/>
              <a:t>Mike Lu, </a:t>
            </a:r>
            <a:r>
              <a:rPr lang="en-US" sz="2400"/>
              <a:t>Coordinator, Brazilian Biojetfuel Platform</a:t>
            </a:r>
          </a:p>
        </p:txBody>
      </p:sp>
    </p:spTree>
    <p:extLst>
      <p:ext uri="{BB962C8B-B14F-4D97-AF65-F5344CB8AC3E}">
        <p14:creationId xmlns:p14="http://schemas.microsoft.com/office/powerpoint/2010/main" val="315850507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9218" name="Title 1"/>
          <p:cNvSpPr>
            <a:spLocks noGrp="1"/>
          </p:cNvSpPr>
          <p:nvPr>
            <p:ph type="ctrTitle"/>
          </p:nvPr>
        </p:nvSpPr>
        <p:spPr>
          <a:xfrm>
            <a:off x="685800" y="1581150"/>
            <a:ext cx="7772400" cy="1102519"/>
          </a:xfrm>
        </p:spPr>
        <p:txBody>
          <a:bodyPr/>
          <a:lstStyle/>
          <a:p>
            <a:pPr eaLnBrk="1" hangingPunct="1">
              <a:defRPr/>
            </a:pPr>
            <a:r>
              <a:rPr lang="en-US" sz="4000" b="1" dirty="0">
                <a:solidFill>
                  <a:schemeClr val="tx2">
                    <a:lumMod val="75000"/>
                  </a:schemeClr>
                </a:solidFill>
                <a:effectLst>
                  <a:outerShdw blurRad="38100" dist="38100" dir="2700000" algn="tl">
                    <a:srgbClr val="000000">
                      <a:alpha val="43137"/>
                    </a:srgbClr>
                  </a:outerShdw>
                </a:effectLst>
              </a:rPr>
              <a:t>Brazilian Efforts for Aviation Alternative Fuels Development ANAC Initiative</a:t>
            </a:r>
            <a:endParaRPr lang="pt-BR" sz="4000" b="1" dirty="0">
              <a:solidFill>
                <a:schemeClr val="tx2">
                  <a:lumMod val="75000"/>
                </a:schemeClr>
              </a:solidFill>
              <a:effectLst>
                <a:outerShdw blurRad="38100" dist="38100" dir="2700000" algn="tl">
                  <a:srgbClr val="000000">
                    <a:alpha val="43137"/>
                  </a:srgbClr>
                </a:outerShdw>
              </a:effectLst>
            </a:endParaRPr>
          </a:p>
        </p:txBody>
      </p:sp>
      <p:sp>
        <p:nvSpPr>
          <p:cNvPr id="3" name="Subtitle 2"/>
          <p:cNvSpPr>
            <a:spLocks noGrp="1"/>
          </p:cNvSpPr>
          <p:nvPr>
            <p:ph type="subTitle" idx="1"/>
          </p:nvPr>
        </p:nvSpPr>
        <p:spPr>
          <a:xfrm>
            <a:off x="914400" y="2952750"/>
            <a:ext cx="7362825" cy="648947"/>
          </a:xfrm>
        </p:spPr>
        <p:txBody>
          <a:bodyPr rtlCol="0">
            <a:noAutofit/>
          </a:bodyPr>
          <a:lstStyle/>
          <a:p>
            <a:pPr algn="l" eaLnBrk="1" fontAlgn="auto" hangingPunct="1">
              <a:spcBef>
                <a:spcPts val="0"/>
              </a:spcBef>
              <a:spcAft>
                <a:spcPts val="0"/>
              </a:spcAft>
              <a:defRPr/>
            </a:pPr>
            <a:r>
              <a:rPr lang="en-US" sz="2000" dirty="0">
                <a:solidFill>
                  <a:schemeClr val="accent1">
                    <a:lumMod val="75000"/>
                  </a:schemeClr>
                </a:solidFill>
              </a:rPr>
              <a:t>Jan. 28 – 29th, 2014 </a:t>
            </a:r>
          </a:p>
          <a:p>
            <a:pPr algn="l" eaLnBrk="1" fontAlgn="auto" hangingPunct="1">
              <a:spcBef>
                <a:spcPts val="0"/>
              </a:spcBef>
              <a:spcAft>
                <a:spcPts val="0"/>
              </a:spcAft>
              <a:defRPr/>
            </a:pPr>
            <a:r>
              <a:rPr lang="en-US" sz="2000" dirty="0">
                <a:solidFill>
                  <a:schemeClr val="accent1">
                    <a:lumMod val="75000"/>
                  </a:schemeClr>
                </a:solidFill>
              </a:rPr>
              <a:t>2014 CAAFI General Meeting</a:t>
            </a:r>
          </a:p>
          <a:p>
            <a:pPr algn="l" eaLnBrk="1" fontAlgn="auto" hangingPunct="1">
              <a:spcBef>
                <a:spcPts val="0"/>
              </a:spcBef>
              <a:spcAft>
                <a:spcPts val="0"/>
              </a:spcAft>
              <a:defRPr/>
            </a:pPr>
            <a:r>
              <a:rPr lang="en-US" sz="2000" dirty="0">
                <a:solidFill>
                  <a:schemeClr val="accent1">
                    <a:lumMod val="75000"/>
                  </a:schemeClr>
                </a:solidFill>
              </a:rPr>
              <a:t>Washington, D.C</a:t>
            </a:r>
          </a:p>
        </p:txBody>
      </p:sp>
    </p:spTree>
    <p:extLst>
      <p:ext uri="{BB962C8B-B14F-4D97-AF65-F5344CB8AC3E}">
        <p14:creationId xmlns:p14="http://schemas.microsoft.com/office/powerpoint/2010/main" val="70649992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
          <p:cNvSpPr>
            <a:spLocks noGrp="1"/>
          </p:cNvSpPr>
          <p:nvPr>
            <p:ph type="title"/>
          </p:nvPr>
        </p:nvSpPr>
        <p:spPr>
          <a:xfrm>
            <a:off x="2552701" y="125879"/>
            <a:ext cx="6286500" cy="461653"/>
          </a:xfrm>
          <a:ln>
            <a:miter lim="800000"/>
            <a:headEnd/>
            <a:tailEnd/>
          </a:ln>
          <a:extLst/>
        </p:spPr>
        <p:txBody>
          <a:bodyPr wrap="square">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r">
              <a:defRPr/>
            </a:pPr>
            <a:r>
              <a:rPr lang="pt-BR" sz="2400" b="1" cap="all" dirty="0" err="1">
                <a:ln w="0"/>
                <a:solidFill>
                  <a:schemeClr val="tx1">
                    <a:lumMod val="65000"/>
                    <a:lumOff val="35000"/>
                  </a:schemeClr>
                </a:solidFill>
                <a:effectLst>
                  <a:reflection blurRad="12700" stA="50000" endPos="50000" dist="5000" dir="5400000" sy="-100000" rotWithShape="0"/>
                </a:effectLst>
              </a:rPr>
              <a:t>Brazilian</a:t>
            </a:r>
            <a:r>
              <a:rPr lang="pt-BR" sz="2400" b="1" cap="all" dirty="0">
                <a:ln w="0"/>
                <a:solidFill>
                  <a:schemeClr val="tx1">
                    <a:lumMod val="65000"/>
                    <a:lumOff val="35000"/>
                  </a:schemeClr>
                </a:solidFill>
                <a:effectLst>
                  <a:reflection blurRad="12700" stA="50000" endPos="50000" dist="5000" dir="5400000" sy="-100000" rotWithShape="0"/>
                </a:effectLst>
              </a:rPr>
              <a:t> civil </a:t>
            </a:r>
            <a:r>
              <a:rPr lang="pt-BR" sz="2400" b="1" cap="all" dirty="0" err="1">
                <a:ln w="0"/>
                <a:solidFill>
                  <a:schemeClr val="tx1">
                    <a:lumMod val="65000"/>
                    <a:lumOff val="35000"/>
                  </a:schemeClr>
                </a:solidFill>
                <a:effectLst>
                  <a:reflection blurRad="12700" stA="50000" endPos="50000" dist="5000" dir="5400000" sy="-100000" rotWithShape="0"/>
                </a:effectLst>
              </a:rPr>
              <a:t>aviation</a:t>
            </a:r>
            <a:r>
              <a:rPr lang="pt-BR" sz="2400" b="1" cap="all" dirty="0">
                <a:ln w="0"/>
                <a:solidFill>
                  <a:schemeClr val="tx1">
                    <a:lumMod val="65000"/>
                    <a:lumOff val="35000"/>
                  </a:schemeClr>
                </a:solidFill>
                <a:effectLst>
                  <a:reflection blurRad="12700" stA="50000" endPos="50000" dist="5000" dir="5400000" sy="-100000" rotWithShape="0"/>
                </a:effectLst>
              </a:rPr>
              <a:t> in </a:t>
            </a:r>
            <a:r>
              <a:rPr lang="pt-BR" sz="2400" b="1" cap="all" dirty="0" err="1">
                <a:ln w="0"/>
                <a:solidFill>
                  <a:schemeClr val="tx1">
                    <a:lumMod val="65000"/>
                    <a:lumOff val="35000"/>
                  </a:schemeClr>
                </a:solidFill>
                <a:effectLst>
                  <a:reflection blurRad="12700" stA="50000" endPos="50000" dist="5000" dir="5400000" sy="-100000" rotWithShape="0"/>
                </a:effectLst>
              </a:rPr>
              <a:t>context</a:t>
            </a:r>
            <a:endParaRPr lang="pt-BR" sz="2400" b="1" cap="all" dirty="0">
              <a:ln w="0"/>
              <a:solidFill>
                <a:schemeClr val="tx1">
                  <a:lumMod val="65000"/>
                  <a:lumOff val="35000"/>
                </a:schemeClr>
              </a:solidFill>
              <a:effectLst>
                <a:reflection blurRad="12700" stA="50000" endPos="50000" dist="5000" dir="5400000" sy="-100000" rotWithShape="0"/>
              </a:effectLst>
            </a:endParaRPr>
          </a:p>
        </p:txBody>
      </p:sp>
      <p:pic>
        <p:nvPicPr>
          <p:cNvPr id="30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9758" y="4515969"/>
            <a:ext cx="280987"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843558"/>
            <a:ext cx="9144000" cy="4050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9757" y="4513176"/>
            <a:ext cx="280987"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CaixaDeTexto 1"/>
          <p:cNvSpPr txBox="1"/>
          <p:nvPr/>
        </p:nvSpPr>
        <p:spPr>
          <a:xfrm>
            <a:off x="716650" y="4866501"/>
            <a:ext cx="7476638" cy="369320"/>
          </a:xfrm>
          <a:prstGeom prst="rect">
            <a:avLst/>
          </a:prstGeom>
          <a:noFill/>
        </p:spPr>
        <p:txBody>
          <a:bodyPr wrap="none" lIns="91428" tIns="45714" rIns="91428" bIns="45714" rtlCol="0">
            <a:spAutoFit/>
          </a:bodyPr>
          <a:lstStyle/>
          <a:p>
            <a:r>
              <a:rPr lang="en-US" dirty="0" smtClean="0">
                <a:solidFill>
                  <a:prstClr val="white"/>
                </a:solidFill>
              </a:rPr>
              <a:t>Source: World Airport Traffic Report, 2012 . ACI Airports Council  International</a:t>
            </a:r>
            <a:endParaRPr lang="en-US" dirty="0">
              <a:solidFill>
                <a:prstClr val="white"/>
              </a:solidFill>
            </a:endParaRPr>
          </a:p>
        </p:txBody>
      </p:sp>
    </p:spTree>
    <p:extLst>
      <p:ext uri="{BB962C8B-B14F-4D97-AF65-F5344CB8AC3E}">
        <p14:creationId xmlns:p14="http://schemas.microsoft.com/office/powerpoint/2010/main" val="390325344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1"/>
          <p:cNvSpPr txBox="1">
            <a:spLocks/>
          </p:cNvSpPr>
          <p:nvPr/>
        </p:nvSpPr>
        <p:spPr bwMode="auto">
          <a:xfrm>
            <a:off x="2578100" y="199575"/>
            <a:ext cx="6286500" cy="461653"/>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8" tIns="45714" rIns="91428" bIns="45714" numCol="1" anchor="ctr" anchorCtr="0" compatLnSpc="1">
            <a:prstTxWarp prst="textNoShape">
              <a:avLst/>
            </a:prstTxWarp>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pPr algn="r">
              <a:defRPr/>
            </a:pPr>
            <a:r>
              <a:rPr lang="pt-BR" sz="2400" b="1" cap="all" dirty="0" err="1">
                <a:ln w="0"/>
                <a:solidFill>
                  <a:prstClr val="black">
                    <a:lumMod val="65000"/>
                    <a:lumOff val="35000"/>
                  </a:prstClr>
                </a:solidFill>
                <a:effectLst>
                  <a:reflection blurRad="12700" stA="50000" endPos="50000" dist="5000" dir="5400000" sy="-100000" rotWithShape="0"/>
                </a:effectLst>
              </a:rPr>
              <a:t>Emissions</a:t>
            </a:r>
            <a:r>
              <a:rPr lang="pt-BR" sz="2400" b="1" cap="all" dirty="0">
                <a:ln w="0"/>
                <a:solidFill>
                  <a:prstClr val="black">
                    <a:lumMod val="65000"/>
                    <a:lumOff val="35000"/>
                  </a:prstClr>
                </a:solidFill>
                <a:effectLst>
                  <a:reflection blurRad="12700" stA="50000" endPos="50000" dist="5000" dir="5400000" sy="-100000" rotWithShape="0"/>
                </a:effectLst>
              </a:rPr>
              <a:t> </a:t>
            </a:r>
            <a:r>
              <a:rPr lang="pt-BR" sz="2400" b="1" cap="all" dirty="0" err="1">
                <a:ln w="0"/>
                <a:solidFill>
                  <a:prstClr val="black">
                    <a:lumMod val="65000"/>
                    <a:lumOff val="35000"/>
                  </a:prstClr>
                </a:solidFill>
                <a:effectLst>
                  <a:reflection blurRad="12700" stA="50000" endPos="50000" dist="5000" dir="5400000" sy="-100000" rotWithShape="0"/>
                </a:effectLst>
              </a:rPr>
              <a:t>evolution</a:t>
            </a:r>
            <a:r>
              <a:rPr lang="pt-BR" sz="2400" b="1" cap="all" dirty="0">
                <a:ln w="0"/>
                <a:solidFill>
                  <a:prstClr val="black">
                    <a:lumMod val="65000"/>
                    <a:lumOff val="35000"/>
                  </a:prstClr>
                </a:solidFill>
                <a:effectLst>
                  <a:reflection blurRad="12700" stA="50000" endPos="50000" dist="5000" dir="5400000" sy="-100000" rotWithShape="0"/>
                </a:effectLst>
              </a:rPr>
              <a:t>: </a:t>
            </a:r>
            <a:r>
              <a:rPr lang="pt-BR" sz="2400" b="1" cap="all" dirty="0" err="1">
                <a:ln w="0"/>
                <a:solidFill>
                  <a:prstClr val="black">
                    <a:lumMod val="65000"/>
                    <a:lumOff val="35000"/>
                  </a:prstClr>
                </a:solidFill>
                <a:effectLst>
                  <a:reflection blurRad="12700" stA="50000" endPos="50000" dist="5000" dir="5400000" sy="-100000" rotWithShape="0"/>
                </a:effectLst>
              </a:rPr>
              <a:t>jet</a:t>
            </a:r>
            <a:r>
              <a:rPr lang="pt-BR" sz="2400" b="1" cap="all" dirty="0">
                <a:ln w="0"/>
                <a:solidFill>
                  <a:prstClr val="black">
                    <a:lumMod val="65000"/>
                    <a:lumOff val="35000"/>
                  </a:prstClr>
                </a:solidFill>
                <a:effectLst>
                  <a:reflection blurRad="12700" stA="50000" endPos="50000" dist="5000" dir="5400000" sy="-100000" rotWithShape="0"/>
                </a:effectLst>
              </a:rPr>
              <a:t> A </a:t>
            </a:r>
            <a:r>
              <a:rPr lang="pt-BR" sz="2400" b="1" cap="all" dirty="0" err="1">
                <a:ln w="0"/>
                <a:solidFill>
                  <a:prstClr val="black">
                    <a:lumMod val="65000"/>
                    <a:lumOff val="35000"/>
                  </a:prstClr>
                </a:solidFill>
                <a:effectLst>
                  <a:reflection blurRad="12700" stA="50000" endPos="50000" dist="5000" dir="5400000" sy="-100000" rotWithShape="0"/>
                </a:effectLst>
              </a:rPr>
              <a:t>fuel</a:t>
            </a:r>
            <a:endParaRPr lang="pt-BR" sz="2400" b="1" cap="all" dirty="0">
              <a:ln w="0"/>
              <a:solidFill>
                <a:prstClr val="black">
                  <a:lumMod val="65000"/>
                  <a:lumOff val="35000"/>
                </a:prstClr>
              </a:solidFill>
              <a:effectLst>
                <a:reflection blurRad="12700" stA="50000" endPos="50000" dist="5000" dir="5400000" sy="-100000" rotWithShape="0"/>
              </a:effectLst>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789555"/>
            <a:ext cx="9144000" cy="4092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aixaDeTexto 3"/>
          <p:cNvSpPr txBox="1"/>
          <p:nvPr/>
        </p:nvSpPr>
        <p:spPr>
          <a:xfrm>
            <a:off x="1979713" y="4793230"/>
            <a:ext cx="4825528" cy="369320"/>
          </a:xfrm>
          <a:prstGeom prst="rect">
            <a:avLst/>
          </a:prstGeom>
          <a:noFill/>
        </p:spPr>
        <p:txBody>
          <a:bodyPr wrap="none" lIns="91428" tIns="45714" rIns="91428" bIns="45714" rtlCol="0">
            <a:spAutoFit/>
          </a:bodyPr>
          <a:lstStyle/>
          <a:p>
            <a:r>
              <a:rPr lang="en-US" dirty="0" smtClean="0">
                <a:solidFill>
                  <a:prstClr val="white"/>
                </a:solidFill>
              </a:rPr>
              <a:t>Source: ANAC Emissions Mapping System - MIATA</a:t>
            </a:r>
            <a:endParaRPr lang="en-US" dirty="0">
              <a:solidFill>
                <a:prstClr val="white"/>
              </a:solidFill>
            </a:endParaRPr>
          </a:p>
        </p:txBody>
      </p:sp>
    </p:spTree>
    <p:extLst>
      <p:ext uri="{BB962C8B-B14F-4D97-AF65-F5344CB8AC3E}">
        <p14:creationId xmlns:p14="http://schemas.microsoft.com/office/powerpoint/2010/main" val="57118671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a 1"/>
          <p:cNvGraphicFramePr/>
          <p:nvPr>
            <p:extLst>
              <p:ext uri="{D42A27DB-BD31-4B8C-83A1-F6EECF244321}">
                <p14:modId xmlns:p14="http://schemas.microsoft.com/office/powerpoint/2010/main" val="893355081"/>
              </p:ext>
            </p:extLst>
          </p:nvPr>
        </p:nvGraphicFramePr>
        <p:xfrm>
          <a:off x="0" y="566464"/>
          <a:ext cx="9144000" cy="43593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ítulo 1"/>
          <p:cNvSpPr txBox="1">
            <a:spLocks/>
          </p:cNvSpPr>
          <p:nvPr/>
        </p:nvSpPr>
        <p:spPr bwMode="auto">
          <a:xfrm>
            <a:off x="2084784" y="148241"/>
            <a:ext cx="6997700" cy="461653"/>
          </a:xfrm>
          <a:prstGeom prst="rect">
            <a:avLst/>
          </a:prstGeom>
          <a:noFill/>
          <a:ln w="9525">
            <a:noFill/>
            <a:miter lim="800000"/>
            <a:headEnd/>
            <a:tailEnd/>
          </a:ln>
          <a:extLst/>
        </p:spPr>
        <p:txBody>
          <a:bodyPr vert="horz" wrap="square" lIns="91428" tIns="45714" rIns="91428" bIns="45714" numCol="1" anchor="ctr" anchorCtr="0" compatLnSpc="1">
            <a:prstTxWarp prst="textNoShape">
              <a:avLst/>
            </a:prstTxWarp>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pPr>
              <a:defRPr/>
            </a:pPr>
            <a:r>
              <a:rPr lang="en-US" sz="2400" b="1" cap="all" dirty="0">
                <a:ln w="0"/>
                <a:solidFill>
                  <a:prstClr val="black">
                    <a:lumMod val="65000"/>
                    <a:lumOff val="35000"/>
                  </a:prstClr>
                </a:solidFill>
                <a:effectLst>
                  <a:reflection blurRad="12700" stA="50000" endPos="50000" dist="5000" dir="5400000" sy="-100000" rotWithShape="0"/>
                </a:effectLst>
              </a:rPr>
              <a:t>Government</a:t>
            </a:r>
            <a:r>
              <a:rPr lang="pt-BR" sz="2400" b="1" cap="all" dirty="0">
                <a:ln w="0"/>
                <a:solidFill>
                  <a:prstClr val="black">
                    <a:lumMod val="65000"/>
                    <a:lumOff val="35000"/>
                  </a:prstClr>
                </a:solidFill>
                <a:effectLst>
                  <a:reflection blurRad="12700" stA="50000" endPos="50000" dist="5000" dir="5400000" sy="-100000" rotWithShape="0"/>
                </a:effectLst>
              </a:rPr>
              <a:t> </a:t>
            </a:r>
            <a:r>
              <a:rPr lang="en-US" sz="2400" b="1" cap="all" dirty="0">
                <a:ln w="0"/>
                <a:solidFill>
                  <a:prstClr val="black">
                    <a:lumMod val="65000"/>
                    <a:lumOff val="35000"/>
                  </a:prstClr>
                </a:solidFill>
                <a:effectLst>
                  <a:reflection blurRad="12700" stA="50000" endPos="50000" dist="5000" dir="5400000" sy="-100000" rotWithShape="0"/>
                </a:effectLst>
              </a:rPr>
              <a:t>initiatives</a:t>
            </a:r>
          </a:p>
        </p:txBody>
      </p:sp>
    </p:spTree>
    <p:extLst>
      <p:ext uri="{BB962C8B-B14F-4D97-AF65-F5344CB8AC3E}">
        <p14:creationId xmlns:p14="http://schemas.microsoft.com/office/powerpoint/2010/main" val="365238783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1"/>
          <p:cNvSpPr>
            <a:spLocks noGrp="1"/>
          </p:cNvSpPr>
          <p:nvPr>
            <p:ph type="title"/>
          </p:nvPr>
        </p:nvSpPr>
        <p:spPr>
          <a:xfrm>
            <a:off x="2552701" y="116354"/>
            <a:ext cx="6286500" cy="461653"/>
          </a:xfrm>
          <a:ln>
            <a:miter lim="800000"/>
            <a:headEnd/>
            <a:tailEnd/>
          </a:ln>
          <a:extLst/>
        </p:spPr>
        <p:txBody>
          <a:bodyPr wrap="square">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r">
              <a:defRPr/>
            </a:pPr>
            <a:r>
              <a:rPr lang="pt-BR" sz="2400" b="1" cap="all" dirty="0">
                <a:ln w="0"/>
                <a:solidFill>
                  <a:schemeClr val="tx1">
                    <a:lumMod val="65000"/>
                    <a:lumOff val="35000"/>
                  </a:schemeClr>
                </a:solidFill>
                <a:effectLst>
                  <a:reflection blurRad="12700" stA="50000" endPos="50000" dist="5000" dir="5400000" sy="-100000" rotWithShape="0"/>
                </a:effectLst>
              </a:rPr>
              <a:t>Anac </a:t>
            </a:r>
            <a:r>
              <a:rPr lang="en-US" sz="2400" b="1" cap="all" dirty="0">
                <a:ln w="0"/>
                <a:solidFill>
                  <a:schemeClr val="tx1">
                    <a:lumMod val="65000"/>
                    <a:lumOff val="35000"/>
                  </a:schemeClr>
                </a:solidFill>
                <a:effectLst>
                  <a:reflection blurRad="12700" stA="50000" endPos="50000" dist="5000" dir="5400000" sy="-100000" rotWithShape="0"/>
                </a:effectLst>
              </a:rPr>
              <a:t>initiative</a:t>
            </a:r>
          </a:p>
        </p:txBody>
      </p:sp>
      <p:graphicFrame>
        <p:nvGraphicFramePr>
          <p:cNvPr id="4" name="Diagrama 3"/>
          <p:cNvGraphicFramePr/>
          <p:nvPr>
            <p:extLst>
              <p:ext uri="{D42A27DB-BD31-4B8C-83A1-F6EECF244321}">
                <p14:modId xmlns:p14="http://schemas.microsoft.com/office/powerpoint/2010/main" val="2580976630"/>
              </p:ext>
            </p:extLst>
          </p:nvPr>
        </p:nvGraphicFramePr>
        <p:xfrm>
          <a:off x="0" y="951570"/>
          <a:ext cx="9144000" cy="34624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6760871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2216080" y="1504950"/>
            <a:ext cx="4711842" cy="923318"/>
          </a:xfrm>
          <a:prstGeom prst="rect">
            <a:avLst/>
          </a:prstGeom>
          <a:noFill/>
        </p:spPr>
        <p:txBody>
          <a:bodyPr wrap="none" lIns="91428" tIns="45714" rIns="91428" bIns="45714">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defTabSz="457141" fontAlgn="base">
              <a:spcBef>
                <a:spcPct val="0"/>
              </a:spcBef>
              <a:spcAft>
                <a:spcPct val="0"/>
              </a:spcAft>
            </a:pPr>
            <a:r>
              <a:rPr lang="pt-BR" sz="5400" b="1" cap="all" dirty="0" err="1">
                <a:ln/>
                <a:solidFill>
                  <a:srgbClr val="4F81BD"/>
                </a:solidFill>
                <a:effectLst>
                  <a:outerShdw blurRad="19685" dist="12700" dir="5400000" algn="tl" rotWithShape="0">
                    <a:srgbClr val="4F81BD">
                      <a:satMod val="130000"/>
                      <a:alpha val="60000"/>
                    </a:srgbClr>
                  </a:outerShdw>
                  <a:reflection blurRad="10000" stA="55000" endPos="48000" dist="500" dir="5400000" sy="-100000" algn="bl" rotWithShape="0"/>
                </a:effectLst>
                <a:latin typeface="Arial" charset="0"/>
              </a:rPr>
              <a:t>Thank</a:t>
            </a:r>
            <a:r>
              <a:rPr lang="pt-BR" sz="5400" b="1" cap="all" dirty="0">
                <a:ln/>
                <a:solidFill>
                  <a:srgbClr val="4F81BD"/>
                </a:solidFill>
                <a:effectLst>
                  <a:outerShdw blurRad="19685" dist="12700" dir="5400000" algn="tl" rotWithShape="0">
                    <a:srgbClr val="4F81BD">
                      <a:satMod val="130000"/>
                      <a:alpha val="60000"/>
                    </a:srgbClr>
                  </a:outerShdw>
                  <a:reflection blurRad="10000" stA="55000" endPos="48000" dist="500" dir="5400000" sy="-100000" algn="bl" rotWithShape="0"/>
                </a:effectLst>
                <a:latin typeface="Arial" charset="0"/>
              </a:rPr>
              <a:t> </a:t>
            </a:r>
            <a:r>
              <a:rPr lang="pt-BR" sz="5400" b="1" cap="all" dirty="0" err="1">
                <a:ln/>
                <a:solidFill>
                  <a:srgbClr val="4F81BD"/>
                </a:solidFill>
                <a:effectLst>
                  <a:outerShdw blurRad="19685" dist="12700" dir="5400000" algn="tl" rotWithShape="0">
                    <a:srgbClr val="4F81BD">
                      <a:satMod val="130000"/>
                      <a:alpha val="60000"/>
                    </a:srgbClr>
                  </a:outerShdw>
                  <a:reflection blurRad="10000" stA="55000" endPos="48000" dist="500" dir="5400000" sy="-100000" algn="bl" rotWithShape="0"/>
                </a:effectLst>
                <a:latin typeface="Arial" charset="0"/>
              </a:rPr>
              <a:t>you</a:t>
            </a:r>
            <a:r>
              <a:rPr lang="pt-BR" sz="5400" b="1" cap="all" dirty="0">
                <a:ln/>
                <a:solidFill>
                  <a:srgbClr val="4F81BD"/>
                </a:solidFill>
                <a:effectLst>
                  <a:outerShdw blurRad="19685" dist="12700" dir="5400000" algn="tl" rotWithShape="0">
                    <a:srgbClr val="4F81BD">
                      <a:satMod val="130000"/>
                      <a:alpha val="60000"/>
                    </a:srgbClr>
                  </a:outerShdw>
                  <a:reflection blurRad="10000" stA="55000" endPos="48000" dist="500" dir="5400000" sy="-100000" algn="bl" rotWithShape="0"/>
                </a:effectLst>
                <a:latin typeface="Arial" charset="0"/>
              </a:rPr>
              <a:t> !</a:t>
            </a:r>
          </a:p>
        </p:txBody>
      </p:sp>
      <p:sp>
        <p:nvSpPr>
          <p:cNvPr id="7" name="Subtitle 2"/>
          <p:cNvSpPr txBox="1">
            <a:spLocks/>
          </p:cNvSpPr>
          <p:nvPr/>
        </p:nvSpPr>
        <p:spPr bwMode="auto">
          <a:xfrm>
            <a:off x="812805" y="3667126"/>
            <a:ext cx="7362825" cy="1042988"/>
          </a:xfrm>
          <a:prstGeom prst="rect">
            <a:avLst/>
          </a:prstGeom>
          <a:noFill/>
          <a:ln w="9525">
            <a:noFill/>
            <a:miter lim="800000"/>
            <a:headEnd/>
            <a:tailEnd/>
          </a:ln>
        </p:spPr>
        <p:txBody>
          <a:bodyPr vert="horz" wrap="square" lIns="91428" tIns="45714" rIns="91428" bIns="45714" numCol="1" rtlCol="0" anchor="b" anchorCtr="0" compatLnSpc="1">
            <a:prstTxWarp prst="textNoShape">
              <a:avLst/>
            </a:prstTxWarp>
            <a:noAutofit/>
          </a:bodyPr>
          <a:lstStyle>
            <a:lvl1pPr marL="0" indent="0" algn="l" defTabSz="457200"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1pPr>
            <a:lvl2pPr marL="457200" indent="0" algn="l" defTabSz="457200" rtl="0" eaLnBrk="0" fontAlgn="base" hangingPunct="0">
              <a:spcBef>
                <a:spcPct val="20000"/>
              </a:spcBef>
              <a:spcAft>
                <a:spcPct val="0"/>
              </a:spcAft>
              <a:buFont typeface="Arial" charset="0"/>
              <a:buNone/>
              <a:defRPr sz="1800" kern="1200">
                <a:solidFill>
                  <a:schemeClr val="tx1">
                    <a:tint val="75000"/>
                  </a:schemeClr>
                </a:solidFill>
                <a:latin typeface="+mn-lt"/>
                <a:ea typeface="+mn-ea"/>
                <a:cs typeface="+mn-cs"/>
              </a:defRPr>
            </a:lvl2pPr>
            <a:lvl3pPr marL="914400" indent="0" algn="l" defTabSz="457200" rtl="0" eaLnBrk="0" fontAlgn="base" hangingPunct="0">
              <a:spcBef>
                <a:spcPct val="20000"/>
              </a:spcBef>
              <a:spcAft>
                <a:spcPct val="0"/>
              </a:spcAft>
              <a:buFont typeface="Arial" charset="0"/>
              <a:buNone/>
              <a:defRPr sz="1600" kern="1200">
                <a:solidFill>
                  <a:schemeClr val="tx1">
                    <a:tint val="75000"/>
                  </a:schemeClr>
                </a:solidFill>
                <a:latin typeface="+mn-lt"/>
                <a:ea typeface="+mn-ea"/>
                <a:cs typeface="+mn-cs"/>
              </a:defRPr>
            </a:lvl3pPr>
            <a:lvl4pPr marL="1371600" indent="0" algn="l" defTabSz="457200" rtl="0" eaLnBrk="0" fontAlgn="base" hangingPunct="0">
              <a:spcBef>
                <a:spcPct val="20000"/>
              </a:spcBef>
              <a:spcAft>
                <a:spcPct val="0"/>
              </a:spcAft>
              <a:buFont typeface="Arial" charset="0"/>
              <a:buNone/>
              <a:defRPr sz="1400" kern="1200">
                <a:solidFill>
                  <a:schemeClr val="tx1">
                    <a:tint val="75000"/>
                  </a:schemeClr>
                </a:solidFill>
                <a:latin typeface="+mn-lt"/>
                <a:ea typeface="+mn-ea"/>
                <a:cs typeface="+mn-cs"/>
              </a:defRPr>
            </a:lvl4pPr>
            <a:lvl5pPr marL="1828800" indent="0" algn="l" defTabSz="457200" rtl="0" eaLnBrk="0" fontAlgn="base" hangingPunct="0">
              <a:spcBef>
                <a:spcPct val="20000"/>
              </a:spcBef>
              <a:spcAft>
                <a:spcPct val="0"/>
              </a:spcAft>
              <a:buFont typeface="Arial" charset="0"/>
              <a:buNone/>
              <a:defRPr sz="1400" kern="1200">
                <a:solidFill>
                  <a:schemeClr val="tx1">
                    <a:tint val="75000"/>
                  </a:schemeClr>
                </a:solidFill>
                <a:latin typeface="+mn-lt"/>
                <a:ea typeface="+mn-ea"/>
                <a:cs typeface="+mn-cs"/>
              </a:defRPr>
            </a:lvl5pPr>
            <a:lvl6pPr marL="22860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6pPr>
            <a:lvl7pPr marL="27432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7pPr>
            <a:lvl8pPr marL="32004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8pPr>
            <a:lvl9pPr marL="3657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9pPr>
          </a:lstStyle>
          <a:p>
            <a:pPr eaLnBrk="1" fontAlgn="auto" hangingPunct="1">
              <a:spcBef>
                <a:spcPts val="0"/>
              </a:spcBef>
              <a:spcAft>
                <a:spcPts val="0"/>
              </a:spcAft>
              <a:defRPr/>
            </a:pPr>
            <a:r>
              <a:rPr lang="en-US" dirty="0" smtClean="0">
                <a:solidFill>
                  <a:prstClr val="black"/>
                </a:solidFill>
              </a:rPr>
              <a:t>Alexandre Filizola</a:t>
            </a:r>
          </a:p>
          <a:p>
            <a:pPr eaLnBrk="1" fontAlgn="auto" hangingPunct="1">
              <a:spcBef>
                <a:spcPts val="0"/>
              </a:spcBef>
              <a:spcAft>
                <a:spcPts val="0"/>
              </a:spcAft>
              <a:defRPr/>
            </a:pPr>
            <a:r>
              <a:rPr lang="en-US" dirty="0" smtClean="0">
                <a:solidFill>
                  <a:prstClr val="black"/>
                </a:solidFill>
              </a:rPr>
              <a:t>Manager of Environmental Analysis</a:t>
            </a:r>
          </a:p>
          <a:p>
            <a:pPr eaLnBrk="1" fontAlgn="auto" hangingPunct="1">
              <a:spcBef>
                <a:spcPts val="0"/>
              </a:spcBef>
              <a:spcAft>
                <a:spcPts val="0"/>
              </a:spcAft>
              <a:defRPr/>
            </a:pPr>
            <a:r>
              <a:rPr lang="en-US" dirty="0" smtClean="0">
                <a:solidFill>
                  <a:prstClr val="black"/>
                </a:solidFill>
              </a:rPr>
              <a:t>Superintendence of International Relations</a:t>
            </a:r>
          </a:p>
          <a:p>
            <a:pPr eaLnBrk="1" fontAlgn="auto" hangingPunct="1">
              <a:spcBef>
                <a:spcPts val="0"/>
              </a:spcBef>
              <a:spcAft>
                <a:spcPts val="0"/>
              </a:spcAft>
              <a:defRPr/>
            </a:pPr>
            <a:r>
              <a:rPr lang="en-US" dirty="0" smtClean="0">
                <a:solidFill>
                  <a:prstClr val="black"/>
                </a:solidFill>
              </a:rPr>
              <a:t>Email: </a:t>
            </a:r>
            <a:r>
              <a:rPr lang="en-US" dirty="0" smtClean="0">
                <a:solidFill>
                  <a:prstClr val="black"/>
                </a:solidFill>
                <a:hlinkClick r:id="rId2"/>
              </a:rPr>
              <a:t>alexandre.filizola@anac.gov.br</a:t>
            </a:r>
            <a:endParaRPr lang="en-US" dirty="0" smtClean="0">
              <a:solidFill>
                <a:prstClr val="black"/>
              </a:solidFill>
            </a:endParaRPr>
          </a:p>
          <a:p>
            <a:pPr eaLnBrk="1" fontAlgn="auto" hangingPunct="1">
              <a:spcBef>
                <a:spcPts val="0"/>
              </a:spcBef>
              <a:spcAft>
                <a:spcPts val="0"/>
              </a:spcAft>
              <a:defRPr/>
            </a:pPr>
            <a:r>
              <a:rPr lang="pt-BR" dirty="0" smtClean="0">
                <a:solidFill>
                  <a:prstClr val="black"/>
                </a:solidFill>
              </a:rPr>
              <a:t>+ 55 61 3314-4620</a:t>
            </a:r>
          </a:p>
          <a:p>
            <a:pPr eaLnBrk="1" fontAlgn="auto" hangingPunct="1">
              <a:spcBef>
                <a:spcPts val="0"/>
              </a:spcBef>
              <a:spcAft>
                <a:spcPts val="0"/>
              </a:spcAft>
              <a:defRPr/>
            </a:pPr>
            <a:r>
              <a:rPr lang="pt-BR" dirty="0" smtClean="0">
                <a:solidFill>
                  <a:prstClr val="black"/>
                </a:solidFill>
              </a:rPr>
              <a:t>www.anac.gov.br</a:t>
            </a:r>
            <a:endParaRPr lang="en-US" dirty="0">
              <a:solidFill>
                <a:prstClr val="black"/>
              </a:solidFill>
            </a:endParaRPr>
          </a:p>
        </p:txBody>
      </p:sp>
    </p:spTree>
    <p:extLst>
      <p:ext uri="{BB962C8B-B14F-4D97-AF65-F5344CB8AC3E}">
        <p14:creationId xmlns:p14="http://schemas.microsoft.com/office/powerpoint/2010/main" val="58234756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584981" y="1687414"/>
            <a:ext cx="5446762" cy="440871"/>
          </a:xfrm>
          <a:prstGeom prst="rect">
            <a:avLst/>
          </a:prstGeom>
        </p:spPr>
        <p:txBody>
          <a:bodyPr vert="horz" wrap="square" lIns="0" tIns="0" rIns="0" bIns="0" rtlCol="0">
            <a:noAutofit/>
          </a:bodyPr>
          <a:lstStyle/>
          <a:p>
            <a:pPr marL="9941"/>
            <a:r>
              <a:rPr sz="2800" spc="51" dirty="0">
                <a:solidFill>
                  <a:srgbClr val="FFFFFF"/>
                </a:solidFill>
                <a:cs typeface="Calibri"/>
              </a:rPr>
              <a:t>“</a:t>
            </a:r>
            <a:r>
              <a:rPr sz="3100" spc="35" dirty="0">
                <a:solidFill>
                  <a:srgbClr val="FFFFFF"/>
                </a:solidFill>
                <a:cs typeface="Calibri"/>
              </a:rPr>
              <a:t>B</a:t>
            </a:r>
            <a:r>
              <a:rPr sz="3100" spc="-67" dirty="0">
                <a:solidFill>
                  <a:srgbClr val="FFFFFF"/>
                </a:solidFill>
                <a:cs typeface="Calibri"/>
              </a:rPr>
              <a:t>r</a:t>
            </a:r>
            <a:r>
              <a:rPr sz="3100" spc="23" dirty="0">
                <a:solidFill>
                  <a:srgbClr val="FFFFFF"/>
                </a:solidFill>
                <a:cs typeface="Calibri"/>
              </a:rPr>
              <a:t>a</a:t>
            </a:r>
            <a:r>
              <a:rPr sz="3100" spc="-8" dirty="0">
                <a:solidFill>
                  <a:srgbClr val="FFFFFF"/>
                </a:solidFill>
                <a:cs typeface="Calibri"/>
              </a:rPr>
              <a:t>z</a:t>
            </a:r>
            <a:r>
              <a:rPr sz="3100" spc="47" dirty="0">
                <a:solidFill>
                  <a:srgbClr val="FFFFFF"/>
                </a:solidFill>
                <a:cs typeface="Calibri"/>
              </a:rPr>
              <a:t>ili</a:t>
            </a:r>
            <a:r>
              <a:rPr sz="3100" spc="23" dirty="0">
                <a:solidFill>
                  <a:srgbClr val="FFFFFF"/>
                </a:solidFill>
                <a:cs typeface="Calibri"/>
              </a:rPr>
              <a:t>a</a:t>
            </a:r>
            <a:r>
              <a:rPr sz="3100" spc="31" dirty="0">
                <a:solidFill>
                  <a:srgbClr val="FFFFFF"/>
                </a:solidFill>
                <a:cs typeface="Calibri"/>
              </a:rPr>
              <a:t>n</a:t>
            </a:r>
            <a:r>
              <a:rPr sz="3100" spc="20" dirty="0">
                <a:solidFill>
                  <a:srgbClr val="FFFFFF"/>
                </a:solidFill>
                <a:cs typeface="Calibri"/>
              </a:rPr>
              <a:t> </a:t>
            </a:r>
            <a:r>
              <a:rPr sz="3100" spc="35" dirty="0">
                <a:solidFill>
                  <a:srgbClr val="FFFFFF"/>
                </a:solidFill>
                <a:cs typeface="Calibri"/>
              </a:rPr>
              <a:t>B</a:t>
            </a:r>
            <a:r>
              <a:rPr sz="3100" spc="47" dirty="0">
                <a:solidFill>
                  <a:srgbClr val="FFFFFF"/>
                </a:solidFill>
                <a:cs typeface="Calibri"/>
              </a:rPr>
              <a:t>i</a:t>
            </a:r>
            <a:r>
              <a:rPr sz="3100" spc="12" dirty="0">
                <a:solidFill>
                  <a:srgbClr val="FFFFFF"/>
                </a:solidFill>
                <a:cs typeface="Calibri"/>
              </a:rPr>
              <a:t>o</a:t>
            </a:r>
            <a:r>
              <a:rPr sz="3100" spc="43" dirty="0">
                <a:solidFill>
                  <a:srgbClr val="FFFFFF"/>
                </a:solidFill>
                <a:cs typeface="Calibri"/>
              </a:rPr>
              <a:t>j</a:t>
            </a:r>
            <a:r>
              <a:rPr sz="3100" spc="-20" dirty="0">
                <a:solidFill>
                  <a:srgbClr val="FFFFFF"/>
                </a:solidFill>
                <a:cs typeface="Calibri"/>
              </a:rPr>
              <a:t>e</a:t>
            </a:r>
            <a:r>
              <a:rPr sz="3100" spc="27" dirty="0">
                <a:solidFill>
                  <a:srgbClr val="FFFFFF"/>
                </a:solidFill>
                <a:cs typeface="Calibri"/>
              </a:rPr>
              <a:t>t</a:t>
            </a:r>
            <a:r>
              <a:rPr sz="3100" spc="20" dirty="0">
                <a:solidFill>
                  <a:srgbClr val="FFFFFF"/>
                </a:solidFill>
                <a:cs typeface="Calibri"/>
              </a:rPr>
              <a:t>f</a:t>
            </a:r>
            <a:r>
              <a:rPr sz="3100" spc="35" dirty="0">
                <a:solidFill>
                  <a:srgbClr val="FFFFFF"/>
                </a:solidFill>
                <a:cs typeface="Calibri"/>
              </a:rPr>
              <a:t>u</a:t>
            </a:r>
            <a:r>
              <a:rPr sz="3100" dirty="0">
                <a:solidFill>
                  <a:srgbClr val="FFFFFF"/>
                </a:solidFill>
                <a:cs typeface="Calibri"/>
              </a:rPr>
              <a:t>e</a:t>
            </a:r>
            <a:r>
              <a:rPr sz="3100" spc="47" dirty="0">
                <a:solidFill>
                  <a:srgbClr val="FFFFFF"/>
                </a:solidFill>
                <a:cs typeface="Calibri"/>
              </a:rPr>
              <a:t>l </a:t>
            </a:r>
            <a:r>
              <a:rPr sz="3100" spc="27" dirty="0">
                <a:solidFill>
                  <a:srgbClr val="FFFFFF"/>
                </a:solidFill>
                <a:cs typeface="Calibri"/>
              </a:rPr>
              <a:t>P</a:t>
            </a:r>
            <a:r>
              <a:rPr sz="3100" spc="47" dirty="0">
                <a:solidFill>
                  <a:srgbClr val="FFFFFF"/>
                </a:solidFill>
                <a:cs typeface="Calibri"/>
              </a:rPr>
              <a:t>l</a:t>
            </a:r>
            <a:r>
              <a:rPr sz="3100" spc="-4" dirty="0">
                <a:solidFill>
                  <a:srgbClr val="FFFFFF"/>
                </a:solidFill>
                <a:cs typeface="Calibri"/>
              </a:rPr>
              <a:t>a</a:t>
            </a:r>
            <a:r>
              <a:rPr sz="3100" spc="27" dirty="0">
                <a:solidFill>
                  <a:srgbClr val="FFFFFF"/>
                </a:solidFill>
                <a:cs typeface="Calibri"/>
              </a:rPr>
              <a:t>t</a:t>
            </a:r>
            <a:r>
              <a:rPr sz="3100" spc="-27" dirty="0">
                <a:solidFill>
                  <a:srgbClr val="FFFFFF"/>
                </a:solidFill>
                <a:cs typeface="Calibri"/>
              </a:rPr>
              <a:t>f</a:t>
            </a:r>
            <a:r>
              <a:rPr sz="3100" spc="16" dirty="0">
                <a:solidFill>
                  <a:srgbClr val="FFFFFF"/>
                </a:solidFill>
                <a:cs typeface="Calibri"/>
              </a:rPr>
              <a:t>o</a:t>
            </a:r>
            <a:r>
              <a:rPr sz="3100" dirty="0">
                <a:solidFill>
                  <a:srgbClr val="FFFFFF"/>
                </a:solidFill>
                <a:cs typeface="Calibri"/>
              </a:rPr>
              <a:t>r</a:t>
            </a:r>
            <a:r>
              <a:rPr sz="3100" spc="20" dirty="0">
                <a:solidFill>
                  <a:srgbClr val="FFFFFF"/>
                </a:solidFill>
                <a:cs typeface="Calibri"/>
              </a:rPr>
              <a:t>m</a:t>
            </a:r>
            <a:r>
              <a:rPr sz="3100" spc="39" dirty="0">
                <a:solidFill>
                  <a:srgbClr val="FFFFFF"/>
                </a:solidFill>
                <a:cs typeface="Calibri"/>
              </a:rPr>
              <a:t>”</a:t>
            </a:r>
            <a:endParaRPr sz="3100">
              <a:solidFill>
                <a:prstClr val="black"/>
              </a:solidFill>
              <a:cs typeface="Calibri"/>
            </a:endParaRPr>
          </a:p>
        </p:txBody>
      </p:sp>
      <p:sp>
        <p:nvSpPr>
          <p:cNvPr id="3" name="object 3"/>
          <p:cNvSpPr txBox="1"/>
          <p:nvPr/>
        </p:nvSpPr>
        <p:spPr>
          <a:xfrm>
            <a:off x="3652289" y="3821576"/>
            <a:ext cx="2348444" cy="576591"/>
          </a:xfrm>
          <a:prstGeom prst="rect">
            <a:avLst/>
          </a:prstGeom>
        </p:spPr>
        <p:txBody>
          <a:bodyPr vert="horz" wrap="square" lIns="0" tIns="0" rIns="0" bIns="0" rtlCol="0">
            <a:noAutofit/>
          </a:bodyPr>
          <a:lstStyle/>
          <a:p>
            <a:pPr algn="ctr"/>
            <a:r>
              <a:rPr spc="16" dirty="0">
                <a:solidFill>
                  <a:srgbClr val="7E7D77"/>
                </a:solidFill>
                <a:cs typeface="Calibri"/>
              </a:rPr>
              <a:t>Jan.</a:t>
            </a:r>
            <a:r>
              <a:rPr spc="-12" dirty="0">
                <a:solidFill>
                  <a:srgbClr val="7E7D77"/>
                </a:solidFill>
                <a:cs typeface="Calibri"/>
              </a:rPr>
              <a:t> </a:t>
            </a:r>
            <a:r>
              <a:rPr spc="-8" dirty="0">
                <a:solidFill>
                  <a:srgbClr val="7E7D77"/>
                </a:solidFill>
                <a:cs typeface="Calibri"/>
              </a:rPr>
              <a:t>28</a:t>
            </a:r>
            <a:r>
              <a:rPr spc="8" dirty="0">
                <a:solidFill>
                  <a:srgbClr val="7E7D77"/>
                </a:solidFill>
                <a:cs typeface="Calibri"/>
              </a:rPr>
              <a:t> </a:t>
            </a:r>
            <a:r>
              <a:rPr dirty="0" smtClean="0">
                <a:solidFill>
                  <a:srgbClr val="7E7D77"/>
                </a:solidFill>
                <a:cs typeface="Calibri"/>
              </a:rPr>
              <a:t>– </a:t>
            </a:r>
            <a:r>
              <a:rPr spc="-8" dirty="0">
                <a:solidFill>
                  <a:srgbClr val="7E7D77"/>
                </a:solidFill>
                <a:cs typeface="Calibri"/>
              </a:rPr>
              <a:t>29</a:t>
            </a:r>
            <a:r>
              <a:rPr spc="8" dirty="0">
                <a:solidFill>
                  <a:srgbClr val="7E7D77"/>
                </a:solidFill>
                <a:cs typeface="Calibri"/>
              </a:rPr>
              <a:t>t</a:t>
            </a:r>
            <a:r>
              <a:rPr spc="16" dirty="0">
                <a:solidFill>
                  <a:srgbClr val="7E7D77"/>
                </a:solidFill>
                <a:cs typeface="Calibri"/>
              </a:rPr>
              <a:t>h</a:t>
            </a:r>
            <a:r>
              <a:rPr spc="8" dirty="0">
                <a:solidFill>
                  <a:srgbClr val="7E7D77"/>
                </a:solidFill>
                <a:cs typeface="Calibri"/>
              </a:rPr>
              <a:t>,</a:t>
            </a:r>
            <a:r>
              <a:rPr spc="-8" dirty="0">
                <a:solidFill>
                  <a:srgbClr val="7E7D77"/>
                </a:solidFill>
                <a:cs typeface="Calibri"/>
              </a:rPr>
              <a:t> 2014</a:t>
            </a:r>
            <a:endParaRPr>
              <a:solidFill>
                <a:prstClr val="black"/>
              </a:solidFill>
              <a:cs typeface="Calibri"/>
            </a:endParaRPr>
          </a:p>
          <a:p>
            <a:pPr marL="9941" marR="9941" algn="ctr"/>
            <a:r>
              <a:rPr spc="-8" dirty="0">
                <a:solidFill>
                  <a:srgbClr val="7E7D77"/>
                </a:solidFill>
                <a:cs typeface="Calibri"/>
              </a:rPr>
              <a:t>2014</a:t>
            </a:r>
            <a:r>
              <a:rPr spc="8" dirty="0">
                <a:solidFill>
                  <a:srgbClr val="7E7D77"/>
                </a:solidFill>
                <a:cs typeface="Calibri"/>
              </a:rPr>
              <a:t> </a:t>
            </a:r>
            <a:r>
              <a:rPr spc="-16" dirty="0">
                <a:solidFill>
                  <a:srgbClr val="7E7D77"/>
                </a:solidFill>
                <a:cs typeface="Calibri"/>
              </a:rPr>
              <a:t>C</a:t>
            </a:r>
            <a:r>
              <a:rPr spc="31" dirty="0">
                <a:solidFill>
                  <a:srgbClr val="7E7D77"/>
                </a:solidFill>
                <a:cs typeface="Calibri"/>
              </a:rPr>
              <a:t>AA</a:t>
            </a:r>
            <a:r>
              <a:rPr spc="-8" dirty="0">
                <a:solidFill>
                  <a:srgbClr val="7E7D77"/>
                </a:solidFill>
                <a:cs typeface="Calibri"/>
              </a:rPr>
              <a:t>F</a:t>
            </a:r>
            <a:r>
              <a:rPr spc="16" dirty="0">
                <a:solidFill>
                  <a:srgbClr val="7E7D77"/>
                </a:solidFill>
                <a:cs typeface="Calibri"/>
              </a:rPr>
              <a:t>I</a:t>
            </a:r>
            <a:r>
              <a:rPr spc="-8" dirty="0">
                <a:solidFill>
                  <a:srgbClr val="7E7D77"/>
                </a:solidFill>
                <a:cs typeface="Calibri"/>
              </a:rPr>
              <a:t> </a:t>
            </a:r>
            <a:r>
              <a:rPr dirty="0" smtClean="0">
                <a:solidFill>
                  <a:srgbClr val="7E7D77"/>
                </a:solidFill>
                <a:cs typeface="Calibri"/>
              </a:rPr>
              <a:t>G</a:t>
            </a:r>
            <a:r>
              <a:rPr spc="8" dirty="0">
                <a:solidFill>
                  <a:srgbClr val="7E7D77"/>
                </a:solidFill>
                <a:cs typeface="Calibri"/>
              </a:rPr>
              <a:t>e</a:t>
            </a:r>
            <a:r>
              <a:rPr spc="16" dirty="0">
                <a:solidFill>
                  <a:srgbClr val="7E7D77"/>
                </a:solidFill>
                <a:cs typeface="Calibri"/>
              </a:rPr>
              <a:t>n</a:t>
            </a:r>
            <a:r>
              <a:rPr spc="8" dirty="0">
                <a:solidFill>
                  <a:srgbClr val="7E7D77"/>
                </a:solidFill>
                <a:cs typeface="Calibri"/>
              </a:rPr>
              <a:t>e</a:t>
            </a:r>
            <a:r>
              <a:rPr spc="-31" dirty="0">
                <a:solidFill>
                  <a:srgbClr val="7E7D77"/>
                </a:solidFill>
                <a:cs typeface="Calibri"/>
              </a:rPr>
              <a:t>r</a:t>
            </a:r>
            <a:r>
              <a:rPr spc="20" dirty="0">
                <a:solidFill>
                  <a:srgbClr val="7E7D77"/>
                </a:solidFill>
                <a:cs typeface="Calibri"/>
              </a:rPr>
              <a:t>al</a:t>
            </a:r>
            <a:r>
              <a:rPr spc="-35" dirty="0">
                <a:solidFill>
                  <a:srgbClr val="7E7D77"/>
                </a:solidFill>
                <a:cs typeface="Calibri"/>
              </a:rPr>
              <a:t> </a:t>
            </a:r>
            <a:r>
              <a:rPr spc="20" dirty="0">
                <a:solidFill>
                  <a:srgbClr val="7E7D77"/>
                </a:solidFill>
                <a:cs typeface="Calibri"/>
              </a:rPr>
              <a:t>M</a:t>
            </a:r>
            <a:r>
              <a:rPr spc="8" dirty="0">
                <a:solidFill>
                  <a:srgbClr val="7E7D77"/>
                </a:solidFill>
                <a:cs typeface="Calibri"/>
              </a:rPr>
              <a:t>e</a:t>
            </a:r>
            <a:r>
              <a:rPr spc="-4" dirty="0">
                <a:solidFill>
                  <a:srgbClr val="7E7D77"/>
                </a:solidFill>
                <a:cs typeface="Calibri"/>
              </a:rPr>
              <a:t>e</a:t>
            </a:r>
            <a:r>
              <a:rPr spc="20" dirty="0">
                <a:solidFill>
                  <a:srgbClr val="7E7D77"/>
                </a:solidFill>
                <a:cs typeface="Calibri"/>
              </a:rPr>
              <a:t>ti</a:t>
            </a:r>
            <a:r>
              <a:rPr spc="16" dirty="0">
                <a:solidFill>
                  <a:srgbClr val="7E7D77"/>
                </a:solidFill>
                <a:cs typeface="Calibri"/>
              </a:rPr>
              <a:t>n</a:t>
            </a:r>
            <a:r>
              <a:rPr dirty="0" smtClean="0">
                <a:solidFill>
                  <a:srgbClr val="7E7D77"/>
                </a:solidFill>
                <a:cs typeface="Calibri"/>
              </a:rPr>
              <a:t>g </a:t>
            </a:r>
            <a:r>
              <a:rPr spc="-35" dirty="0">
                <a:solidFill>
                  <a:srgbClr val="7E7D77"/>
                </a:solidFill>
                <a:cs typeface="Calibri"/>
              </a:rPr>
              <a:t>W</a:t>
            </a:r>
            <a:r>
              <a:rPr spc="20" dirty="0">
                <a:solidFill>
                  <a:srgbClr val="7E7D77"/>
                </a:solidFill>
                <a:cs typeface="Calibri"/>
              </a:rPr>
              <a:t>a</a:t>
            </a:r>
            <a:r>
              <a:rPr spc="8" dirty="0">
                <a:solidFill>
                  <a:srgbClr val="7E7D77"/>
                </a:solidFill>
                <a:cs typeface="Calibri"/>
              </a:rPr>
              <a:t>s</a:t>
            </a:r>
            <a:r>
              <a:rPr spc="16" dirty="0">
                <a:solidFill>
                  <a:srgbClr val="7E7D77"/>
                </a:solidFill>
                <a:cs typeface="Calibri"/>
              </a:rPr>
              <a:t>h</a:t>
            </a:r>
            <a:r>
              <a:rPr spc="20" dirty="0">
                <a:solidFill>
                  <a:srgbClr val="7E7D77"/>
                </a:solidFill>
                <a:cs typeface="Calibri"/>
              </a:rPr>
              <a:t>i</a:t>
            </a:r>
            <a:r>
              <a:rPr spc="16" dirty="0">
                <a:solidFill>
                  <a:srgbClr val="7E7D77"/>
                </a:solidFill>
                <a:cs typeface="Calibri"/>
              </a:rPr>
              <a:t>n</a:t>
            </a:r>
            <a:r>
              <a:rPr spc="-12" dirty="0">
                <a:solidFill>
                  <a:srgbClr val="7E7D77"/>
                </a:solidFill>
                <a:cs typeface="Calibri"/>
              </a:rPr>
              <a:t>g</a:t>
            </a:r>
            <a:r>
              <a:rPr dirty="0" smtClean="0">
                <a:solidFill>
                  <a:srgbClr val="7E7D77"/>
                </a:solidFill>
                <a:cs typeface="Calibri"/>
              </a:rPr>
              <a:t>t</a:t>
            </a:r>
            <a:r>
              <a:rPr spc="4" dirty="0">
                <a:solidFill>
                  <a:srgbClr val="7E7D77"/>
                </a:solidFill>
                <a:cs typeface="Calibri"/>
              </a:rPr>
              <a:t>on</a:t>
            </a:r>
            <a:r>
              <a:rPr spc="8" dirty="0">
                <a:solidFill>
                  <a:srgbClr val="7E7D77"/>
                </a:solidFill>
                <a:cs typeface="Calibri"/>
              </a:rPr>
              <a:t>,</a:t>
            </a:r>
            <a:r>
              <a:rPr spc="-27" dirty="0">
                <a:solidFill>
                  <a:srgbClr val="7E7D77"/>
                </a:solidFill>
                <a:cs typeface="Calibri"/>
              </a:rPr>
              <a:t> </a:t>
            </a:r>
            <a:r>
              <a:rPr spc="-12" dirty="0">
                <a:solidFill>
                  <a:srgbClr val="7E7D77"/>
                </a:solidFill>
                <a:cs typeface="Calibri"/>
              </a:rPr>
              <a:t>D</a:t>
            </a:r>
            <a:r>
              <a:rPr spc="-16" dirty="0">
                <a:solidFill>
                  <a:srgbClr val="7E7D77"/>
                </a:solidFill>
                <a:cs typeface="Calibri"/>
              </a:rPr>
              <a:t>.C</a:t>
            </a:r>
            <a:r>
              <a:rPr spc="16" dirty="0">
                <a:solidFill>
                  <a:srgbClr val="7E7D77"/>
                </a:solidFill>
                <a:cs typeface="Calibri"/>
              </a:rPr>
              <a:t>.</a:t>
            </a:r>
            <a:endParaRPr>
              <a:solidFill>
                <a:prstClr val="black"/>
              </a:solidFill>
              <a:cs typeface="Calibri"/>
            </a:endParaRPr>
          </a:p>
        </p:txBody>
      </p:sp>
      <p:sp>
        <p:nvSpPr>
          <p:cNvPr id="4" name="object 4"/>
          <p:cNvSpPr/>
          <p:nvPr/>
        </p:nvSpPr>
        <p:spPr>
          <a:xfrm>
            <a:off x="1919484" y="3826763"/>
            <a:ext cx="1340975" cy="695021"/>
          </a:xfrm>
          <a:prstGeom prst="rect">
            <a:avLst/>
          </a:prstGeom>
          <a:blipFill>
            <a:blip r:embed="rId2" cstate="print"/>
            <a:stretch>
              <a:fillRect/>
            </a:stretch>
          </a:blipFill>
        </p:spPr>
        <p:txBody>
          <a:bodyPr wrap="square" lIns="0" tIns="0" rIns="0" bIns="0" rtlCol="0">
            <a:noAutofit/>
          </a:bodyPr>
          <a:lstStyle/>
          <a:p>
            <a:endParaRPr smtClean="0">
              <a:solidFill>
                <a:prstClr val="black"/>
              </a:solidFill>
            </a:endParaRPr>
          </a:p>
        </p:txBody>
      </p:sp>
    </p:spTree>
    <p:extLst>
      <p:ext uri="{BB962C8B-B14F-4D97-AF65-F5344CB8AC3E}">
        <p14:creationId xmlns:p14="http://schemas.microsoft.com/office/powerpoint/2010/main" val="4588907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478915" y="361950"/>
            <a:ext cx="4186169" cy="550483"/>
          </a:xfrm>
          <a:prstGeom prst="rect">
            <a:avLst/>
          </a:prstGeom>
        </p:spPr>
        <p:txBody>
          <a:bodyPr vert="horz" wrap="square" lIns="0" tIns="0" rIns="0" bIns="0" rtlCol="0">
            <a:noAutofit/>
          </a:bodyPr>
          <a:lstStyle/>
          <a:p>
            <a:pPr marL="562122" algn="ctr"/>
            <a:r>
              <a:rPr sz="2200" spc="27" dirty="0">
                <a:solidFill>
                  <a:srgbClr val="948A53"/>
                </a:solidFill>
                <a:latin typeface="Calibri"/>
                <a:cs typeface="Calibri"/>
              </a:rPr>
              <a:t>B</a:t>
            </a:r>
            <a:r>
              <a:rPr sz="2200" spc="-39" dirty="0">
                <a:solidFill>
                  <a:srgbClr val="948A53"/>
                </a:solidFill>
                <a:latin typeface="Calibri"/>
                <a:cs typeface="Calibri"/>
              </a:rPr>
              <a:t>r</a:t>
            </a:r>
            <a:r>
              <a:rPr sz="2200" spc="20" dirty="0">
                <a:solidFill>
                  <a:srgbClr val="948A53"/>
                </a:solidFill>
                <a:latin typeface="Calibri"/>
                <a:cs typeface="Calibri"/>
              </a:rPr>
              <a:t>az</a:t>
            </a:r>
            <a:r>
              <a:rPr sz="2200" spc="27" dirty="0">
                <a:solidFill>
                  <a:srgbClr val="948A53"/>
                </a:solidFill>
                <a:latin typeface="Calibri"/>
                <a:cs typeface="Calibri"/>
              </a:rPr>
              <a:t>ili</a:t>
            </a:r>
            <a:r>
              <a:rPr sz="2200" spc="20" dirty="0">
                <a:solidFill>
                  <a:srgbClr val="948A53"/>
                </a:solidFill>
                <a:latin typeface="Calibri"/>
                <a:cs typeface="Calibri"/>
              </a:rPr>
              <a:t>an </a:t>
            </a:r>
            <a:r>
              <a:rPr sz="2200" spc="27" dirty="0">
                <a:solidFill>
                  <a:srgbClr val="948A53"/>
                </a:solidFill>
                <a:latin typeface="Calibri"/>
                <a:cs typeface="Calibri"/>
              </a:rPr>
              <a:t>Bi</a:t>
            </a:r>
            <a:r>
              <a:rPr sz="2200" spc="4" dirty="0">
                <a:solidFill>
                  <a:srgbClr val="948A53"/>
                </a:solidFill>
                <a:latin typeface="Calibri"/>
                <a:cs typeface="Calibri"/>
              </a:rPr>
              <a:t>o</a:t>
            </a:r>
            <a:r>
              <a:rPr sz="2200" spc="35" dirty="0">
                <a:solidFill>
                  <a:srgbClr val="948A53"/>
                </a:solidFill>
                <a:latin typeface="Calibri"/>
                <a:cs typeface="Calibri"/>
              </a:rPr>
              <a:t>j</a:t>
            </a:r>
            <a:r>
              <a:rPr sz="2200" spc="-23" dirty="0">
                <a:solidFill>
                  <a:srgbClr val="948A53"/>
                </a:solidFill>
                <a:latin typeface="Calibri"/>
                <a:cs typeface="Calibri"/>
              </a:rPr>
              <a:t>e</a:t>
            </a:r>
            <a:r>
              <a:rPr sz="2200" spc="20" dirty="0">
                <a:solidFill>
                  <a:srgbClr val="948A53"/>
                </a:solidFill>
                <a:latin typeface="Calibri"/>
                <a:cs typeface="Calibri"/>
              </a:rPr>
              <a:t>tfu</a:t>
            </a:r>
            <a:r>
              <a:rPr sz="2200" spc="-4" dirty="0">
                <a:solidFill>
                  <a:srgbClr val="948A53"/>
                </a:solidFill>
                <a:latin typeface="Calibri"/>
                <a:cs typeface="Calibri"/>
              </a:rPr>
              <a:t>e</a:t>
            </a:r>
            <a:r>
              <a:rPr sz="2200" spc="31" dirty="0">
                <a:solidFill>
                  <a:srgbClr val="948A53"/>
                </a:solidFill>
                <a:latin typeface="Calibri"/>
                <a:cs typeface="Calibri"/>
              </a:rPr>
              <a:t>l</a:t>
            </a:r>
            <a:r>
              <a:rPr sz="2200" spc="27" dirty="0">
                <a:solidFill>
                  <a:srgbClr val="948A53"/>
                </a:solidFill>
                <a:latin typeface="Calibri"/>
                <a:cs typeface="Calibri"/>
              </a:rPr>
              <a:t> </a:t>
            </a:r>
            <a:r>
              <a:rPr sz="2200" spc="16" dirty="0">
                <a:solidFill>
                  <a:srgbClr val="948A53"/>
                </a:solidFill>
                <a:latin typeface="Calibri"/>
                <a:cs typeface="Calibri"/>
              </a:rPr>
              <a:t>P</a:t>
            </a:r>
            <a:r>
              <a:rPr sz="2200" spc="27" dirty="0">
                <a:solidFill>
                  <a:srgbClr val="948A53"/>
                </a:solidFill>
                <a:latin typeface="Calibri"/>
                <a:cs typeface="Calibri"/>
              </a:rPr>
              <a:t>l</a:t>
            </a:r>
            <a:r>
              <a:rPr sz="2200" dirty="0">
                <a:solidFill>
                  <a:srgbClr val="948A53"/>
                </a:solidFill>
                <a:latin typeface="Calibri"/>
                <a:cs typeface="Calibri"/>
              </a:rPr>
              <a:t>a</a:t>
            </a:r>
            <a:r>
              <a:rPr sz="2200" spc="20" dirty="0">
                <a:solidFill>
                  <a:srgbClr val="948A53"/>
                </a:solidFill>
                <a:latin typeface="Calibri"/>
                <a:cs typeface="Calibri"/>
              </a:rPr>
              <a:t>t</a:t>
            </a:r>
            <a:r>
              <a:rPr sz="2200" spc="-20" dirty="0">
                <a:solidFill>
                  <a:srgbClr val="948A53"/>
                </a:solidFill>
                <a:latin typeface="Calibri"/>
                <a:cs typeface="Calibri"/>
              </a:rPr>
              <a:t>f</a:t>
            </a:r>
            <a:r>
              <a:rPr sz="2200" spc="4" dirty="0">
                <a:solidFill>
                  <a:srgbClr val="948A53"/>
                </a:solidFill>
                <a:latin typeface="Calibri"/>
                <a:cs typeface="Calibri"/>
              </a:rPr>
              <a:t>o</a:t>
            </a:r>
            <a:r>
              <a:rPr sz="2200" spc="12" dirty="0">
                <a:solidFill>
                  <a:srgbClr val="948A53"/>
                </a:solidFill>
                <a:latin typeface="Calibri"/>
                <a:cs typeface="Calibri"/>
              </a:rPr>
              <a:t>rm</a:t>
            </a:r>
            <a:endParaRPr sz="2200" dirty="0">
              <a:latin typeface="Calibri"/>
              <a:cs typeface="Calibri"/>
            </a:endParaRPr>
          </a:p>
          <a:p>
            <a:pPr marL="562122" marR="1490" algn="ctr">
              <a:spcBef>
                <a:spcPts val="23"/>
              </a:spcBef>
            </a:pPr>
            <a:r>
              <a:rPr spc="-141" dirty="0">
                <a:solidFill>
                  <a:srgbClr val="948A53"/>
                </a:solidFill>
                <a:latin typeface="Calibri"/>
                <a:cs typeface="Calibri"/>
              </a:rPr>
              <a:t>T</a:t>
            </a:r>
            <a:r>
              <a:rPr dirty="0">
                <a:solidFill>
                  <a:srgbClr val="948A53"/>
                </a:solidFill>
                <a:latin typeface="Calibri"/>
                <a:cs typeface="Calibri"/>
              </a:rPr>
              <a:t>a</a:t>
            </a:r>
            <a:r>
              <a:rPr spc="-4" dirty="0">
                <a:solidFill>
                  <a:srgbClr val="948A53"/>
                </a:solidFill>
                <a:latin typeface="Calibri"/>
                <a:cs typeface="Calibri"/>
              </a:rPr>
              <a:t>ki</a:t>
            </a:r>
            <a:r>
              <a:rPr dirty="0">
                <a:solidFill>
                  <a:srgbClr val="948A53"/>
                </a:solidFill>
                <a:latin typeface="Calibri"/>
                <a:cs typeface="Calibri"/>
              </a:rPr>
              <a:t>ng </a:t>
            </a:r>
            <a:r>
              <a:rPr spc="-4" dirty="0">
                <a:solidFill>
                  <a:srgbClr val="948A53"/>
                </a:solidFill>
                <a:latin typeface="Calibri"/>
                <a:cs typeface="Calibri"/>
              </a:rPr>
              <a:t>o</a:t>
            </a:r>
            <a:r>
              <a:rPr spc="-16" dirty="0">
                <a:solidFill>
                  <a:srgbClr val="948A53"/>
                </a:solidFill>
                <a:latin typeface="Calibri"/>
                <a:cs typeface="Calibri"/>
              </a:rPr>
              <a:t>f</a:t>
            </a:r>
            <a:r>
              <a:rPr dirty="0">
                <a:solidFill>
                  <a:srgbClr val="948A53"/>
                </a:solidFill>
                <a:latin typeface="Calibri"/>
                <a:cs typeface="Calibri"/>
              </a:rPr>
              <a:t>f </a:t>
            </a:r>
            <a:r>
              <a:rPr spc="-4" dirty="0">
                <a:solidFill>
                  <a:srgbClr val="948A53"/>
                </a:solidFill>
                <a:latin typeface="Calibri"/>
                <a:cs typeface="Calibri"/>
              </a:rPr>
              <a:t>wit</a:t>
            </a:r>
            <a:r>
              <a:rPr dirty="0">
                <a:solidFill>
                  <a:srgbClr val="948A53"/>
                </a:solidFill>
                <a:latin typeface="Calibri"/>
                <a:cs typeface="Calibri"/>
              </a:rPr>
              <a:t>h</a:t>
            </a:r>
            <a:r>
              <a:rPr spc="4" dirty="0">
                <a:solidFill>
                  <a:srgbClr val="948A53"/>
                </a:solidFill>
                <a:latin typeface="Calibri"/>
                <a:cs typeface="Calibri"/>
              </a:rPr>
              <a:t> </a:t>
            </a:r>
            <a:r>
              <a:rPr spc="-4" dirty="0">
                <a:solidFill>
                  <a:srgbClr val="948A53"/>
                </a:solidFill>
                <a:latin typeface="Calibri"/>
                <a:cs typeface="Calibri"/>
              </a:rPr>
              <a:t>S</a:t>
            </a:r>
            <a:r>
              <a:rPr dirty="0">
                <a:solidFill>
                  <a:srgbClr val="948A53"/>
                </a:solidFill>
                <a:latin typeface="Calibri"/>
                <a:cs typeface="Calibri"/>
              </a:rPr>
              <a:t>u</a:t>
            </a:r>
            <a:r>
              <a:rPr spc="-23" dirty="0">
                <a:solidFill>
                  <a:srgbClr val="948A53"/>
                </a:solidFill>
                <a:latin typeface="Calibri"/>
                <a:cs typeface="Calibri"/>
              </a:rPr>
              <a:t>st</a:t>
            </a:r>
            <a:r>
              <a:rPr dirty="0">
                <a:solidFill>
                  <a:srgbClr val="948A53"/>
                </a:solidFill>
                <a:latin typeface="Calibri"/>
                <a:cs typeface="Calibri"/>
              </a:rPr>
              <a:t>a</a:t>
            </a:r>
            <a:r>
              <a:rPr spc="-4" dirty="0">
                <a:solidFill>
                  <a:srgbClr val="948A53"/>
                </a:solidFill>
                <a:latin typeface="Calibri"/>
                <a:cs typeface="Calibri"/>
              </a:rPr>
              <a:t>i</a:t>
            </a:r>
            <a:r>
              <a:rPr dirty="0">
                <a:solidFill>
                  <a:srgbClr val="948A53"/>
                </a:solidFill>
                <a:latin typeface="Calibri"/>
                <a:cs typeface="Calibri"/>
              </a:rPr>
              <a:t>nab</a:t>
            </a:r>
            <a:r>
              <a:rPr spc="-4" dirty="0">
                <a:solidFill>
                  <a:srgbClr val="948A53"/>
                </a:solidFill>
                <a:latin typeface="Calibri"/>
                <a:cs typeface="Calibri"/>
              </a:rPr>
              <a:t>ilit</a:t>
            </a:r>
            <a:r>
              <a:rPr dirty="0">
                <a:solidFill>
                  <a:srgbClr val="948A53"/>
                </a:solidFill>
                <a:latin typeface="Calibri"/>
                <a:cs typeface="Calibri"/>
              </a:rPr>
              <a:t>y</a:t>
            </a:r>
            <a:endParaRPr dirty="0">
              <a:latin typeface="Calibri"/>
              <a:cs typeface="Calibri"/>
            </a:endParaRPr>
          </a:p>
        </p:txBody>
      </p:sp>
      <p:sp>
        <p:nvSpPr>
          <p:cNvPr id="3" name="object 3"/>
          <p:cNvSpPr/>
          <p:nvPr/>
        </p:nvSpPr>
        <p:spPr>
          <a:xfrm>
            <a:off x="1497254" y="543564"/>
            <a:ext cx="109467" cy="68464"/>
          </a:xfrm>
          <a:prstGeom prst="rect">
            <a:avLst/>
          </a:prstGeom>
          <a:blipFill>
            <a:blip r:embed="rId2" cstate="print"/>
            <a:stretch>
              <a:fillRect/>
            </a:stretch>
          </a:blipFill>
        </p:spPr>
        <p:txBody>
          <a:bodyPr wrap="square" lIns="0" tIns="0" rIns="0" bIns="0" rtlCol="0">
            <a:noAutofit/>
          </a:bodyPr>
          <a:lstStyle/>
          <a:p>
            <a:endParaRPr smtClean="0">
              <a:solidFill>
                <a:prstClr val="black"/>
              </a:solidFill>
            </a:endParaRPr>
          </a:p>
        </p:txBody>
      </p:sp>
      <p:sp>
        <p:nvSpPr>
          <p:cNvPr id="4" name="object 4"/>
          <p:cNvSpPr/>
          <p:nvPr/>
        </p:nvSpPr>
        <p:spPr>
          <a:xfrm>
            <a:off x="1559806" y="61099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5" name="object 5"/>
          <p:cNvSpPr/>
          <p:nvPr/>
        </p:nvSpPr>
        <p:spPr>
          <a:xfrm>
            <a:off x="1559806" y="61306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6" name="object 6"/>
          <p:cNvSpPr/>
          <p:nvPr/>
        </p:nvSpPr>
        <p:spPr>
          <a:xfrm>
            <a:off x="1557199" y="61514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7" name="object 7"/>
          <p:cNvSpPr/>
          <p:nvPr/>
        </p:nvSpPr>
        <p:spPr>
          <a:xfrm>
            <a:off x="1557199" y="61721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8" name="object 8"/>
          <p:cNvSpPr/>
          <p:nvPr/>
        </p:nvSpPr>
        <p:spPr>
          <a:xfrm>
            <a:off x="1481615" y="609954"/>
            <a:ext cx="130318" cy="12447"/>
          </a:xfrm>
          <a:prstGeom prst="rect">
            <a:avLst/>
          </a:prstGeom>
          <a:blipFill>
            <a:blip r:embed="rId3" cstate="print"/>
            <a:stretch>
              <a:fillRect/>
            </a:stretch>
          </a:blipFill>
        </p:spPr>
        <p:txBody>
          <a:bodyPr wrap="square" lIns="0" tIns="0" rIns="0" bIns="0" rtlCol="0">
            <a:noAutofit/>
          </a:bodyPr>
          <a:lstStyle/>
          <a:p>
            <a:endParaRPr smtClean="0">
              <a:solidFill>
                <a:prstClr val="black"/>
              </a:solidFill>
            </a:endParaRPr>
          </a:p>
        </p:txBody>
      </p:sp>
      <p:sp>
        <p:nvSpPr>
          <p:cNvPr id="9" name="object 9"/>
          <p:cNvSpPr/>
          <p:nvPr/>
        </p:nvSpPr>
        <p:spPr>
          <a:xfrm>
            <a:off x="1554593" y="62136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0" name="object 10"/>
          <p:cNvSpPr/>
          <p:nvPr/>
        </p:nvSpPr>
        <p:spPr>
          <a:xfrm>
            <a:off x="1554593" y="623439"/>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1" name="object 11"/>
          <p:cNvSpPr/>
          <p:nvPr/>
        </p:nvSpPr>
        <p:spPr>
          <a:xfrm>
            <a:off x="1554593" y="62551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2" name="object 12"/>
          <p:cNvSpPr/>
          <p:nvPr/>
        </p:nvSpPr>
        <p:spPr>
          <a:xfrm>
            <a:off x="1551987" y="62966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3" name="object 13"/>
          <p:cNvSpPr/>
          <p:nvPr/>
        </p:nvSpPr>
        <p:spPr>
          <a:xfrm>
            <a:off x="1551987" y="6317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4" name="object 14"/>
          <p:cNvSpPr/>
          <p:nvPr/>
        </p:nvSpPr>
        <p:spPr>
          <a:xfrm>
            <a:off x="1549380" y="63796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5" name="object 15"/>
          <p:cNvSpPr/>
          <p:nvPr/>
        </p:nvSpPr>
        <p:spPr>
          <a:xfrm>
            <a:off x="1458157" y="620328"/>
            <a:ext cx="158988" cy="26970"/>
          </a:xfrm>
          <a:prstGeom prst="rect">
            <a:avLst/>
          </a:prstGeom>
          <a:blipFill>
            <a:blip r:embed="rId4" cstate="print"/>
            <a:stretch>
              <a:fillRect/>
            </a:stretch>
          </a:blipFill>
        </p:spPr>
        <p:txBody>
          <a:bodyPr wrap="square" lIns="0" tIns="0" rIns="0" bIns="0" rtlCol="0">
            <a:noAutofit/>
          </a:bodyPr>
          <a:lstStyle/>
          <a:p>
            <a:endParaRPr smtClean="0">
              <a:solidFill>
                <a:prstClr val="black"/>
              </a:solidFill>
            </a:endParaRPr>
          </a:p>
        </p:txBody>
      </p:sp>
      <p:sp>
        <p:nvSpPr>
          <p:cNvPr id="16" name="object 16"/>
          <p:cNvSpPr/>
          <p:nvPr/>
        </p:nvSpPr>
        <p:spPr>
          <a:xfrm>
            <a:off x="1546774" y="64626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7" name="object 17"/>
          <p:cNvSpPr/>
          <p:nvPr/>
        </p:nvSpPr>
        <p:spPr>
          <a:xfrm>
            <a:off x="1538955" y="6690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8" name="object 18"/>
          <p:cNvSpPr/>
          <p:nvPr/>
        </p:nvSpPr>
        <p:spPr>
          <a:xfrm>
            <a:off x="1538955" y="67115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9" name="object 19"/>
          <p:cNvSpPr/>
          <p:nvPr/>
        </p:nvSpPr>
        <p:spPr>
          <a:xfrm>
            <a:off x="1538955" y="6732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0" name="object 20"/>
          <p:cNvSpPr/>
          <p:nvPr/>
        </p:nvSpPr>
        <p:spPr>
          <a:xfrm>
            <a:off x="1536348" y="67738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1" name="object 21"/>
          <p:cNvSpPr/>
          <p:nvPr/>
        </p:nvSpPr>
        <p:spPr>
          <a:xfrm>
            <a:off x="1536348" y="67945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2" name="object 22"/>
          <p:cNvSpPr/>
          <p:nvPr/>
        </p:nvSpPr>
        <p:spPr>
          <a:xfrm>
            <a:off x="1197519" y="537341"/>
            <a:ext cx="289309" cy="163900"/>
          </a:xfrm>
          <a:prstGeom prst="rect">
            <a:avLst/>
          </a:prstGeom>
          <a:blipFill>
            <a:blip r:embed="rId5" cstate="print"/>
            <a:stretch>
              <a:fillRect/>
            </a:stretch>
          </a:blipFill>
        </p:spPr>
        <p:txBody>
          <a:bodyPr wrap="square" lIns="0" tIns="0" rIns="0" bIns="0" rtlCol="0">
            <a:noAutofit/>
          </a:bodyPr>
          <a:lstStyle/>
          <a:p>
            <a:endParaRPr smtClean="0">
              <a:solidFill>
                <a:prstClr val="black"/>
              </a:solidFill>
            </a:endParaRPr>
          </a:p>
        </p:txBody>
      </p:sp>
      <p:sp>
        <p:nvSpPr>
          <p:cNvPr id="23" name="object 23"/>
          <p:cNvSpPr/>
          <p:nvPr/>
        </p:nvSpPr>
        <p:spPr>
          <a:xfrm>
            <a:off x="1471189" y="70020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4" name="object 24"/>
          <p:cNvSpPr/>
          <p:nvPr/>
        </p:nvSpPr>
        <p:spPr>
          <a:xfrm>
            <a:off x="1471189" y="70227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5" name="object 25"/>
          <p:cNvSpPr/>
          <p:nvPr/>
        </p:nvSpPr>
        <p:spPr>
          <a:xfrm>
            <a:off x="1473796" y="70435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6" name="object 26"/>
          <p:cNvSpPr/>
          <p:nvPr/>
        </p:nvSpPr>
        <p:spPr>
          <a:xfrm>
            <a:off x="1473796" y="70642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7" name="object 27"/>
          <p:cNvSpPr/>
          <p:nvPr/>
        </p:nvSpPr>
        <p:spPr>
          <a:xfrm>
            <a:off x="1580657" y="72302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8" name="object 28"/>
          <p:cNvSpPr/>
          <p:nvPr/>
        </p:nvSpPr>
        <p:spPr>
          <a:xfrm>
            <a:off x="1119327" y="82053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9" name="object 29"/>
          <p:cNvSpPr/>
          <p:nvPr/>
        </p:nvSpPr>
        <p:spPr>
          <a:xfrm>
            <a:off x="1116722" y="645224"/>
            <a:ext cx="518669" cy="184647"/>
          </a:xfrm>
          <a:prstGeom prst="rect">
            <a:avLst/>
          </a:prstGeom>
          <a:blipFill>
            <a:blip r:embed="rId6" cstate="print"/>
            <a:stretch>
              <a:fillRect/>
            </a:stretch>
          </a:blipFill>
        </p:spPr>
        <p:txBody>
          <a:bodyPr wrap="square" lIns="0" tIns="0" rIns="0" bIns="0" rtlCol="0">
            <a:noAutofit/>
          </a:bodyPr>
          <a:lstStyle/>
          <a:p>
            <a:endParaRPr smtClean="0">
              <a:solidFill>
                <a:prstClr val="black"/>
              </a:solidFill>
            </a:endParaRPr>
          </a:p>
        </p:txBody>
      </p:sp>
      <p:sp>
        <p:nvSpPr>
          <p:cNvPr id="30" name="object 30"/>
          <p:cNvSpPr/>
          <p:nvPr/>
        </p:nvSpPr>
        <p:spPr>
          <a:xfrm>
            <a:off x="1502466" y="82883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1" name="object 31"/>
          <p:cNvSpPr/>
          <p:nvPr/>
        </p:nvSpPr>
        <p:spPr>
          <a:xfrm>
            <a:off x="1119327" y="83298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2" name="object 32"/>
          <p:cNvSpPr/>
          <p:nvPr/>
        </p:nvSpPr>
        <p:spPr>
          <a:xfrm>
            <a:off x="1119327" y="83505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3" name="object 33"/>
          <p:cNvSpPr/>
          <p:nvPr/>
        </p:nvSpPr>
        <p:spPr>
          <a:xfrm>
            <a:off x="1119327" y="8371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4" name="object 34"/>
          <p:cNvSpPr/>
          <p:nvPr/>
        </p:nvSpPr>
        <p:spPr>
          <a:xfrm>
            <a:off x="1119327" y="83920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5" name="object 35"/>
          <p:cNvSpPr/>
          <p:nvPr/>
        </p:nvSpPr>
        <p:spPr>
          <a:xfrm>
            <a:off x="1119327" y="8412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6" name="object 36"/>
          <p:cNvSpPr/>
          <p:nvPr/>
        </p:nvSpPr>
        <p:spPr>
          <a:xfrm>
            <a:off x="1116721" y="827797"/>
            <a:ext cx="648988" cy="141078"/>
          </a:xfrm>
          <a:prstGeom prst="rect">
            <a:avLst/>
          </a:prstGeom>
          <a:blipFill>
            <a:blip r:embed="rId7" cstate="print"/>
            <a:stretch>
              <a:fillRect/>
            </a:stretch>
          </a:blipFill>
        </p:spPr>
        <p:txBody>
          <a:bodyPr wrap="square" lIns="0" tIns="0" rIns="0" bIns="0" rtlCol="0">
            <a:noAutofit/>
          </a:bodyPr>
          <a:lstStyle/>
          <a:p>
            <a:endParaRPr smtClean="0">
              <a:solidFill>
                <a:prstClr val="black"/>
              </a:solidFill>
            </a:endParaRPr>
          </a:p>
        </p:txBody>
      </p:sp>
      <p:sp>
        <p:nvSpPr>
          <p:cNvPr id="37" name="object 37"/>
          <p:cNvSpPr/>
          <p:nvPr/>
        </p:nvSpPr>
        <p:spPr>
          <a:xfrm>
            <a:off x="1567625" y="9678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8" name="object 38"/>
          <p:cNvSpPr/>
          <p:nvPr/>
        </p:nvSpPr>
        <p:spPr>
          <a:xfrm>
            <a:off x="1538955" y="966801"/>
            <a:ext cx="213722" cy="43568"/>
          </a:xfrm>
          <a:prstGeom prst="rect">
            <a:avLst/>
          </a:prstGeom>
          <a:blipFill>
            <a:blip r:embed="rId8" cstate="print"/>
            <a:stretch>
              <a:fillRect/>
            </a:stretch>
          </a:blipFill>
        </p:spPr>
        <p:txBody>
          <a:bodyPr wrap="square" lIns="0" tIns="0" rIns="0" bIns="0" rtlCol="0">
            <a:noAutofit/>
          </a:bodyPr>
          <a:lstStyle/>
          <a:p>
            <a:endParaRPr smtClean="0">
              <a:solidFill>
                <a:prstClr val="black"/>
              </a:solidFill>
            </a:endParaRPr>
          </a:p>
        </p:txBody>
      </p:sp>
      <p:sp>
        <p:nvSpPr>
          <p:cNvPr id="39" name="object 39"/>
          <p:cNvSpPr/>
          <p:nvPr/>
        </p:nvSpPr>
        <p:spPr>
          <a:xfrm>
            <a:off x="1742251" y="100933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40" name="object 40"/>
          <p:cNvSpPr/>
          <p:nvPr/>
        </p:nvSpPr>
        <p:spPr>
          <a:xfrm>
            <a:off x="1061988" y="968875"/>
            <a:ext cx="6837801" cy="3936726"/>
          </a:xfrm>
          <a:prstGeom prst="rect">
            <a:avLst/>
          </a:prstGeom>
          <a:blipFill>
            <a:blip r:embed="rId9" cstate="print"/>
            <a:stretch>
              <a:fillRect/>
            </a:stretch>
          </a:blipFill>
        </p:spPr>
        <p:txBody>
          <a:bodyPr wrap="square" lIns="0" tIns="0" rIns="0" bIns="0" rtlCol="0">
            <a:noAutofit/>
          </a:bodyPr>
          <a:lstStyle/>
          <a:p>
            <a:endParaRPr smtClean="0">
              <a:solidFill>
                <a:prstClr val="black"/>
              </a:solidFill>
            </a:endParaRPr>
          </a:p>
        </p:txBody>
      </p:sp>
    </p:spTree>
    <p:extLst>
      <p:ext uri="{BB962C8B-B14F-4D97-AF65-F5344CB8AC3E}">
        <p14:creationId xmlns:p14="http://schemas.microsoft.com/office/powerpoint/2010/main" val="42668649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6706" name="Rectangle 2"/>
          <p:cNvSpPr>
            <a:spLocks noGrp="1" noChangeArrowheads="1"/>
          </p:cNvSpPr>
          <p:nvPr>
            <p:ph type="title"/>
          </p:nvPr>
        </p:nvSpPr>
        <p:spPr/>
        <p:txBody>
          <a:bodyPr>
            <a:normAutofit/>
          </a:bodyPr>
          <a:lstStyle/>
          <a:p>
            <a:r>
              <a:rPr lang="en-US" dirty="0" smtClean="0"/>
              <a:t>About ICAO</a:t>
            </a:r>
            <a:endParaRPr lang="en-US" dirty="0"/>
          </a:p>
        </p:txBody>
      </p:sp>
      <p:sp>
        <p:nvSpPr>
          <p:cNvPr id="456707" name="Rectangle 3"/>
          <p:cNvSpPr>
            <a:spLocks noGrp="1" noChangeArrowheads="1"/>
          </p:cNvSpPr>
          <p:nvPr>
            <p:ph type="body" idx="1"/>
          </p:nvPr>
        </p:nvSpPr>
        <p:spPr>
          <a:xfrm>
            <a:off x="671513" y="959644"/>
            <a:ext cx="7656512" cy="3502316"/>
          </a:xfrm>
        </p:spPr>
        <p:txBody>
          <a:bodyPr>
            <a:normAutofit fontScale="85000" lnSpcReduction="20000"/>
          </a:bodyPr>
          <a:lstStyle/>
          <a:p>
            <a:pPr marL="0" indent="0">
              <a:lnSpc>
                <a:spcPct val="130000"/>
              </a:lnSpc>
              <a:buNone/>
            </a:pPr>
            <a:r>
              <a:rPr lang="en-US" sz="2400" b="1" u="sng" dirty="0" smtClean="0"/>
              <a:t>International </a:t>
            </a:r>
            <a:r>
              <a:rPr lang="en-US" sz="2400" b="1" u="sng" dirty="0"/>
              <a:t>Civil Aviation Organization</a:t>
            </a:r>
            <a:endParaRPr lang="en-US" sz="2400" b="1" u="sng" dirty="0" smtClean="0"/>
          </a:p>
          <a:p>
            <a:pPr>
              <a:lnSpc>
                <a:spcPct val="130000"/>
              </a:lnSpc>
            </a:pPr>
            <a:r>
              <a:rPr lang="en-US" sz="2400" b="1" dirty="0" smtClean="0"/>
              <a:t>Specialized </a:t>
            </a:r>
            <a:r>
              <a:rPr lang="en-US" sz="2400" b="1" dirty="0"/>
              <a:t>Agency of the United Nations</a:t>
            </a:r>
          </a:p>
          <a:p>
            <a:pPr>
              <a:lnSpc>
                <a:spcPct val="130000"/>
              </a:lnSpc>
            </a:pPr>
            <a:r>
              <a:rPr lang="en-US" sz="2400" b="1" dirty="0"/>
              <a:t>Created </a:t>
            </a:r>
            <a:r>
              <a:rPr lang="en-US" sz="2400" dirty="0"/>
              <a:t>in 1944 by the Convention on International Civil Aviation (Chicago Convention)</a:t>
            </a:r>
          </a:p>
          <a:p>
            <a:pPr>
              <a:lnSpc>
                <a:spcPct val="130000"/>
              </a:lnSpc>
            </a:pPr>
            <a:r>
              <a:rPr lang="en-US" sz="2400" b="1" dirty="0"/>
              <a:t>Membership: </a:t>
            </a:r>
            <a:r>
              <a:rPr lang="en-US" sz="2400" dirty="0" smtClean="0"/>
              <a:t>191 Member </a:t>
            </a:r>
            <a:r>
              <a:rPr lang="en-US" sz="2400" dirty="0"/>
              <a:t>States</a:t>
            </a:r>
          </a:p>
          <a:p>
            <a:pPr>
              <a:lnSpc>
                <a:spcPct val="130000"/>
              </a:lnSpc>
            </a:pPr>
            <a:r>
              <a:rPr lang="en-US" sz="2400" b="1" dirty="0"/>
              <a:t>Mission: </a:t>
            </a:r>
            <a:r>
              <a:rPr lang="en-US" sz="2400" dirty="0"/>
              <a:t>to ensure the safe and orderly development of international civil aviation</a:t>
            </a:r>
          </a:p>
          <a:p>
            <a:pPr>
              <a:lnSpc>
                <a:spcPct val="130000"/>
              </a:lnSpc>
            </a:pPr>
            <a:r>
              <a:rPr lang="en-US" sz="2400" b="1" dirty="0"/>
              <a:t>Mandate: </a:t>
            </a:r>
            <a:r>
              <a:rPr lang="en-US" sz="2400" dirty="0"/>
              <a:t>to establish and update the Standards and Recommended Practices (SARPs) of the Annexes to the Convention</a:t>
            </a:r>
            <a:endParaRPr lang="en-US" sz="2400" b="1" dirty="0"/>
          </a:p>
        </p:txBody>
      </p:sp>
      <p:sp>
        <p:nvSpPr>
          <p:cNvPr id="456708" name="Rectangle 4"/>
          <p:cNvSpPr>
            <a:spLocks noChangeArrowheads="1"/>
          </p:cNvSpPr>
          <p:nvPr/>
        </p:nvSpPr>
        <p:spPr bwMode="blackWhite">
          <a:xfrm>
            <a:off x="660400" y="1119187"/>
            <a:ext cx="7772400" cy="3101579"/>
          </a:xfrm>
          <a:prstGeom prst="rect">
            <a:avLst/>
          </a:prstGeom>
          <a:noFill/>
          <a:ln>
            <a:noFill/>
          </a:ln>
          <a:effectLst/>
          <a:extLst>
            <a:ext uri="{909E8E84-426E-40DD-AFC4-6F175D3DCCD1}">
              <a14:hiddenFill xmlns:a14="http://schemas.microsoft.com/office/drawing/2010/main">
                <a:gradFill rotWithShape="0">
                  <a:gsLst>
                    <a:gs pos="0">
                      <a:schemeClr val="accent2"/>
                    </a:gs>
                    <a:gs pos="100000">
                      <a:schemeClr val="tx2"/>
                    </a:gs>
                  </a:gsLst>
                  <a:path path="rect">
                    <a:fillToRect l="100000" t="100000"/>
                  </a:path>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defTabSz="914400">
              <a:spcBef>
                <a:spcPct val="20000"/>
              </a:spcBef>
              <a:buClr>
                <a:srgbClr val="FFFF00"/>
              </a:buClr>
              <a:buFont typeface="Monotype Sorts" pitchFamily="2" charset="2"/>
              <a:buNone/>
            </a:pPr>
            <a:endParaRPr lang="en-CA" sz="3800" b="1">
              <a:solidFill>
                <a:srgbClr val="F8E67A"/>
              </a:solidFill>
              <a:effectLst>
                <a:outerShdw blurRad="38100" dist="38100" dir="2700000" algn="tl">
                  <a:srgbClr val="000000"/>
                </a:outerShdw>
              </a:effectLst>
              <a:latin typeface="Albertus Medium" pitchFamily="34" charset="0"/>
            </a:endParaRPr>
          </a:p>
        </p:txBody>
      </p:sp>
    </p:spTree>
    <p:extLst>
      <p:ext uri="{BB962C8B-B14F-4D97-AF65-F5344CB8AC3E}">
        <p14:creationId xmlns:p14="http://schemas.microsoft.com/office/powerpoint/2010/main" val="2199108814"/>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body" idx="1"/>
          </p:nvPr>
        </p:nvSpPr>
        <p:spPr>
          <a:xfrm>
            <a:off x="1131458" y="1200150"/>
            <a:ext cx="6903590" cy="1826590"/>
          </a:xfrm>
          <a:prstGeom prst="rect">
            <a:avLst/>
          </a:prstGeom>
        </p:spPr>
        <p:txBody>
          <a:bodyPr vert="horz" wrap="square" lIns="0" tIns="0" rIns="0" bIns="0" rtlCol="0">
            <a:noAutofit/>
          </a:bodyPr>
          <a:lstStyle/>
          <a:p>
            <a:pPr marL="278328" marR="9941" indent="-268387" algn="just">
              <a:lnSpc>
                <a:spcPct val="80000"/>
              </a:lnSpc>
              <a:buFont typeface="Arial"/>
              <a:buChar char="•"/>
              <a:tabLst>
                <a:tab pos="277831" algn="l"/>
                <a:tab pos="596417" algn="l"/>
              </a:tabLst>
            </a:pPr>
            <a:r>
              <a:rPr sz="2300" spc="-31" dirty="0">
                <a:latin typeface="Calibri"/>
                <a:cs typeface="Calibri"/>
              </a:rPr>
              <a:t>F</a:t>
            </a:r>
            <a:r>
              <a:rPr sz="2300" dirty="0">
                <a:latin typeface="Calibri"/>
                <a:cs typeface="Calibri"/>
              </a:rPr>
              <a:t>o</a:t>
            </a:r>
            <a:r>
              <a:rPr sz="2300" spc="-16" dirty="0">
                <a:latin typeface="Calibri"/>
                <a:cs typeface="Calibri"/>
              </a:rPr>
              <a:t>r</a:t>
            </a:r>
            <a:r>
              <a:rPr sz="2300" spc="-20" dirty="0">
                <a:latin typeface="Calibri"/>
                <a:cs typeface="Calibri"/>
              </a:rPr>
              <a:t>ma</a:t>
            </a:r>
            <a:r>
              <a:rPr sz="2300" spc="-8" dirty="0">
                <a:latin typeface="Calibri"/>
                <a:cs typeface="Calibri"/>
              </a:rPr>
              <a:t>ll</a:t>
            </a:r>
            <a:r>
              <a:rPr sz="2300" spc="-12" dirty="0">
                <a:latin typeface="Calibri"/>
                <a:cs typeface="Calibri"/>
              </a:rPr>
              <a:t>y</a:t>
            </a:r>
            <a:r>
              <a:rPr sz="2300" spc="98" dirty="0">
                <a:latin typeface="Calibri"/>
                <a:cs typeface="Calibri"/>
              </a:rPr>
              <a:t> </a:t>
            </a:r>
            <a:r>
              <a:rPr sz="2300" spc="-27" dirty="0">
                <a:latin typeface="Calibri"/>
                <a:cs typeface="Calibri"/>
              </a:rPr>
              <a:t>s</a:t>
            </a:r>
            <a:r>
              <a:rPr sz="2300" spc="-8" dirty="0">
                <a:latin typeface="Calibri"/>
                <a:cs typeface="Calibri"/>
              </a:rPr>
              <a:t>t</a:t>
            </a:r>
            <a:r>
              <a:rPr sz="2300" spc="-16" dirty="0">
                <a:latin typeface="Calibri"/>
                <a:cs typeface="Calibri"/>
              </a:rPr>
              <a:t>r</a:t>
            </a:r>
            <a:r>
              <a:rPr sz="2300" spc="-8" dirty="0">
                <a:latin typeface="Calibri"/>
                <a:cs typeface="Calibri"/>
              </a:rPr>
              <a:t>u</a:t>
            </a:r>
            <a:r>
              <a:rPr sz="2300" spc="-12" dirty="0">
                <a:latin typeface="Calibri"/>
                <a:cs typeface="Calibri"/>
              </a:rPr>
              <a:t>ct</a:t>
            </a:r>
            <a:r>
              <a:rPr sz="2300" spc="-8" dirty="0">
                <a:latin typeface="Calibri"/>
                <a:cs typeface="Calibri"/>
              </a:rPr>
              <a:t>u</a:t>
            </a:r>
            <a:r>
              <a:rPr sz="2300" spc="-43" dirty="0">
                <a:latin typeface="Calibri"/>
                <a:cs typeface="Calibri"/>
              </a:rPr>
              <a:t>r</a:t>
            </a:r>
            <a:r>
              <a:rPr sz="2300" spc="-27" dirty="0">
                <a:latin typeface="Calibri"/>
                <a:cs typeface="Calibri"/>
              </a:rPr>
              <a:t>e</a:t>
            </a:r>
            <a:r>
              <a:rPr sz="2300" dirty="0">
                <a:latin typeface="Calibri"/>
                <a:cs typeface="Calibri"/>
              </a:rPr>
              <a:t>d</a:t>
            </a:r>
            <a:r>
              <a:rPr sz="2300" spc="94" dirty="0">
                <a:latin typeface="Calibri"/>
                <a:cs typeface="Calibri"/>
              </a:rPr>
              <a:t> </a:t>
            </a:r>
            <a:r>
              <a:rPr sz="2300" spc="-8" dirty="0">
                <a:latin typeface="Calibri"/>
                <a:cs typeface="Calibri"/>
              </a:rPr>
              <a:t>i</a:t>
            </a:r>
            <a:r>
              <a:rPr sz="2300" dirty="0">
                <a:latin typeface="Calibri"/>
                <a:cs typeface="Calibri"/>
              </a:rPr>
              <a:t>n</a:t>
            </a:r>
            <a:r>
              <a:rPr sz="2300" spc="94" dirty="0">
                <a:latin typeface="Calibri"/>
                <a:cs typeface="Calibri"/>
              </a:rPr>
              <a:t> </a:t>
            </a:r>
            <a:r>
              <a:rPr sz="2300" spc="-12" dirty="0">
                <a:latin typeface="Calibri"/>
                <a:cs typeface="Calibri"/>
              </a:rPr>
              <a:t>A</a:t>
            </a:r>
            <a:r>
              <a:rPr sz="2300" spc="-8" dirty="0">
                <a:latin typeface="Calibri"/>
                <a:cs typeface="Calibri"/>
              </a:rPr>
              <a:t>u</a:t>
            </a:r>
            <a:r>
              <a:rPr sz="2300" spc="-12" dirty="0">
                <a:latin typeface="Calibri"/>
                <a:cs typeface="Calibri"/>
              </a:rPr>
              <a:t>g</a:t>
            </a:r>
            <a:r>
              <a:rPr sz="2300" spc="-8" dirty="0">
                <a:latin typeface="Calibri"/>
                <a:cs typeface="Calibri"/>
              </a:rPr>
              <a:t>u</a:t>
            </a:r>
            <a:r>
              <a:rPr sz="2300" spc="-27" dirty="0">
                <a:latin typeface="Calibri"/>
                <a:cs typeface="Calibri"/>
              </a:rPr>
              <a:t>s</a:t>
            </a:r>
            <a:r>
              <a:rPr sz="2300" spc="-8" dirty="0">
                <a:latin typeface="Calibri"/>
                <a:cs typeface="Calibri"/>
              </a:rPr>
              <a:t>t</a:t>
            </a:r>
            <a:r>
              <a:rPr sz="2300" spc="98" dirty="0">
                <a:latin typeface="Calibri"/>
                <a:cs typeface="Calibri"/>
              </a:rPr>
              <a:t> </a:t>
            </a:r>
            <a:r>
              <a:rPr sz="2300" spc="-16" dirty="0">
                <a:latin typeface="Calibri"/>
                <a:cs typeface="Calibri"/>
              </a:rPr>
              <a:t>2013</a:t>
            </a:r>
            <a:r>
              <a:rPr sz="2300" spc="89" dirty="0">
                <a:latin typeface="Calibri"/>
                <a:cs typeface="Calibri"/>
              </a:rPr>
              <a:t> </a:t>
            </a:r>
            <a:r>
              <a:rPr sz="2300" spc="-35" dirty="0">
                <a:latin typeface="Calibri"/>
                <a:cs typeface="Calibri"/>
              </a:rPr>
              <a:t>t</a:t>
            </a:r>
            <a:r>
              <a:rPr sz="2300" dirty="0">
                <a:latin typeface="Calibri"/>
                <a:cs typeface="Calibri"/>
              </a:rPr>
              <a:t>o</a:t>
            </a:r>
            <a:r>
              <a:rPr sz="2300" spc="98" dirty="0">
                <a:latin typeface="Calibri"/>
                <a:cs typeface="Calibri"/>
              </a:rPr>
              <a:t> </a:t>
            </a:r>
            <a:r>
              <a:rPr sz="2300" spc="-8" dirty="0">
                <a:latin typeface="Calibri"/>
                <a:cs typeface="Calibri"/>
              </a:rPr>
              <a:t>i</a:t>
            </a:r>
            <a:r>
              <a:rPr sz="2300" spc="-20" dirty="0">
                <a:latin typeface="Calibri"/>
                <a:cs typeface="Calibri"/>
              </a:rPr>
              <a:t>m</a:t>
            </a:r>
            <a:r>
              <a:rPr sz="2300" spc="-8" dirty="0">
                <a:latin typeface="Calibri"/>
                <a:cs typeface="Calibri"/>
              </a:rPr>
              <a:t>pl</a:t>
            </a:r>
            <a:r>
              <a:rPr sz="2300" spc="-16" dirty="0">
                <a:latin typeface="Calibri"/>
                <a:cs typeface="Calibri"/>
              </a:rPr>
              <a:t>e</a:t>
            </a:r>
            <a:r>
              <a:rPr sz="2300" spc="-8" dirty="0">
                <a:latin typeface="Calibri"/>
                <a:cs typeface="Calibri"/>
              </a:rPr>
              <a:t>m</a:t>
            </a:r>
            <a:r>
              <a:rPr sz="2300" spc="-16" dirty="0">
                <a:latin typeface="Calibri"/>
                <a:cs typeface="Calibri"/>
              </a:rPr>
              <a:t>e</a:t>
            </a:r>
            <a:r>
              <a:rPr sz="2300" spc="-23" dirty="0">
                <a:latin typeface="Calibri"/>
                <a:cs typeface="Calibri"/>
              </a:rPr>
              <a:t>n</a:t>
            </a:r>
            <a:r>
              <a:rPr sz="2300" spc="-8" dirty="0">
                <a:latin typeface="Calibri"/>
                <a:cs typeface="Calibri"/>
              </a:rPr>
              <a:t>t a	</a:t>
            </a:r>
            <a:r>
              <a:rPr sz="2300" spc="-63" dirty="0">
                <a:latin typeface="Calibri"/>
                <a:cs typeface="Calibri"/>
              </a:rPr>
              <a:t>f</a:t>
            </a:r>
            <a:r>
              <a:rPr sz="2300" spc="-16" dirty="0">
                <a:latin typeface="Calibri"/>
                <a:cs typeface="Calibri"/>
              </a:rPr>
              <a:t>ee</a:t>
            </a:r>
            <a:r>
              <a:rPr sz="2300" spc="-8" dirty="0">
                <a:latin typeface="Calibri"/>
                <a:cs typeface="Calibri"/>
              </a:rPr>
              <a:t>d</a:t>
            </a:r>
            <a:r>
              <a:rPr sz="2300" spc="-39" dirty="0">
                <a:latin typeface="Calibri"/>
                <a:cs typeface="Calibri"/>
              </a:rPr>
              <a:t>s</a:t>
            </a:r>
            <a:r>
              <a:rPr sz="2300" spc="-27" dirty="0">
                <a:latin typeface="Calibri"/>
                <a:cs typeface="Calibri"/>
              </a:rPr>
              <a:t>t</a:t>
            </a:r>
            <a:r>
              <a:rPr sz="2300" spc="-12" dirty="0">
                <a:latin typeface="Calibri"/>
                <a:cs typeface="Calibri"/>
              </a:rPr>
              <a:t>ock  </a:t>
            </a:r>
            <a:r>
              <a:rPr sz="2300" spc="-219" dirty="0">
                <a:latin typeface="Calibri"/>
                <a:cs typeface="Calibri"/>
              </a:rPr>
              <a:t> </a:t>
            </a:r>
            <a:r>
              <a:rPr sz="2300" spc="-8" dirty="0">
                <a:latin typeface="Calibri"/>
                <a:cs typeface="Calibri"/>
              </a:rPr>
              <a:t>a</a:t>
            </a:r>
            <a:r>
              <a:rPr sz="2300" spc="-12" dirty="0">
                <a:latin typeface="Calibri"/>
                <a:cs typeface="Calibri"/>
              </a:rPr>
              <a:t>g</a:t>
            </a:r>
            <a:r>
              <a:rPr sz="2300" spc="-8" dirty="0">
                <a:latin typeface="Calibri"/>
                <a:cs typeface="Calibri"/>
              </a:rPr>
              <a:t>n</a:t>
            </a:r>
            <a:r>
              <a:rPr sz="2300" dirty="0">
                <a:latin typeface="Calibri"/>
                <a:cs typeface="Calibri"/>
              </a:rPr>
              <a:t>o</a:t>
            </a:r>
            <a:r>
              <a:rPr sz="2300" spc="-27" dirty="0">
                <a:latin typeface="Calibri"/>
                <a:cs typeface="Calibri"/>
              </a:rPr>
              <a:t>s</a:t>
            </a:r>
            <a:r>
              <a:rPr sz="2300" spc="-8" dirty="0">
                <a:latin typeface="Calibri"/>
                <a:cs typeface="Calibri"/>
              </a:rPr>
              <a:t>ti</a:t>
            </a:r>
            <a:r>
              <a:rPr sz="2300" spc="-12" dirty="0">
                <a:latin typeface="Calibri"/>
                <a:cs typeface="Calibri"/>
              </a:rPr>
              <a:t>c  </a:t>
            </a:r>
            <a:r>
              <a:rPr sz="2300" spc="-219" dirty="0">
                <a:latin typeface="Calibri"/>
                <a:cs typeface="Calibri"/>
              </a:rPr>
              <a:t> </a:t>
            </a:r>
            <a:r>
              <a:rPr sz="2300" spc="-8" dirty="0">
                <a:latin typeface="Calibri"/>
                <a:cs typeface="Calibri"/>
              </a:rPr>
              <a:t>,  </a:t>
            </a:r>
            <a:r>
              <a:rPr sz="2300" spc="-223" dirty="0">
                <a:latin typeface="Calibri"/>
                <a:cs typeface="Calibri"/>
              </a:rPr>
              <a:t> </a:t>
            </a:r>
            <a:r>
              <a:rPr sz="2300" spc="-20" dirty="0">
                <a:latin typeface="Calibri"/>
                <a:cs typeface="Calibri"/>
              </a:rPr>
              <a:t>m</a:t>
            </a:r>
            <a:r>
              <a:rPr sz="2300" spc="-8" dirty="0">
                <a:latin typeface="Calibri"/>
                <a:cs typeface="Calibri"/>
              </a:rPr>
              <a:t>ulti</a:t>
            </a:r>
            <a:r>
              <a:rPr sz="2300" spc="4" dirty="0">
                <a:latin typeface="Calibri"/>
                <a:cs typeface="Calibri"/>
              </a:rPr>
              <a:t>-</a:t>
            </a:r>
            <a:r>
              <a:rPr sz="2300" spc="-8" dirty="0">
                <a:latin typeface="Calibri"/>
                <a:cs typeface="Calibri"/>
              </a:rPr>
              <a:t>p</a:t>
            </a:r>
            <a:r>
              <a:rPr sz="2300" spc="-51" dirty="0">
                <a:latin typeface="Calibri"/>
                <a:cs typeface="Calibri"/>
              </a:rPr>
              <a:t>r</a:t>
            </a:r>
            <a:r>
              <a:rPr sz="2300" dirty="0">
                <a:latin typeface="Calibri"/>
                <a:cs typeface="Calibri"/>
              </a:rPr>
              <a:t>o</a:t>
            </a:r>
            <a:r>
              <a:rPr sz="2300" spc="-12" dirty="0">
                <a:latin typeface="Calibri"/>
                <a:cs typeface="Calibri"/>
              </a:rPr>
              <a:t>c</a:t>
            </a:r>
            <a:r>
              <a:rPr sz="2300" spc="-16" dirty="0">
                <a:latin typeface="Calibri"/>
                <a:cs typeface="Calibri"/>
              </a:rPr>
              <a:t>e</a:t>
            </a:r>
            <a:r>
              <a:rPr sz="2300" dirty="0">
                <a:latin typeface="Calibri"/>
                <a:cs typeface="Calibri"/>
              </a:rPr>
              <a:t>ss  </a:t>
            </a:r>
            <a:r>
              <a:rPr sz="2300" spc="-219" dirty="0">
                <a:latin typeface="Calibri"/>
                <a:cs typeface="Calibri"/>
              </a:rPr>
              <a:t> </a:t>
            </a:r>
            <a:r>
              <a:rPr sz="2300" spc="-8" dirty="0">
                <a:latin typeface="Calibri"/>
                <a:cs typeface="Calibri"/>
              </a:rPr>
              <a:t>pl</a:t>
            </a:r>
            <a:r>
              <a:rPr sz="2300" spc="-27" dirty="0">
                <a:latin typeface="Calibri"/>
                <a:cs typeface="Calibri"/>
              </a:rPr>
              <a:t>a</a:t>
            </a:r>
            <a:r>
              <a:rPr sz="2300" spc="-8" dirty="0">
                <a:latin typeface="Calibri"/>
                <a:cs typeface="Calibri"/>
              </a:rPr>
              <a:t>t</a:t>
            </a:r>
            <a:r>
              <a:rPr sz="2300" spc="-51" dirty="0">
                <a:latin typeface="Calibri"/>
                <a:cs typeface="Calibri"/>
              </a:rPr>
              <a:t>f</a:t>
            </a:r>
            <a:r>
              <a:rPr sz="2300" dirty="0">
                <a:latin typeface="Calibri"/>
                <a:cs typeface="Calibri"/>
              </a:rPr>
              <a:t>o</a:t>
            </a:r>
            <a:r>
              <a:rPr sz="2300" spc="-16" dirty="0">
                <a:latin typeface="Calibri"/>
                <a:cs typeface="Calibri"/>
              </a:rPr>
              <a:t>rm:</a:t>
            </a:r>
            <a:endParaRPr sz="2300" dirty="0">
              <a:latin typeface="Calibri"/>
              <a:cs typeface="Calibri"/>
            </a:endParaRPr>
          </a:p>
          <a:p>
            <a:pPr marL="725640">
              <a:lnSpc>
                <a:spcPts val="2254"/>
              </a:lnSpc>
            </a:pPr>
            <a:r>
              <a:rPr sz="2300" dirty="0">
                <a:latin typeface="Calibri"/>
                <a:cs typeface="Calibri"/>
              </a:rPr>
              <a:t>H</a:t>
            </a:r>
            <a:r>
              <a:rPr sz="2300" spc="-4" dirty="0">
                <a:latin typeface="Calibri"/>
                <a:cs typeface="Calibri"/>
              </a:rPr>
              <a:t>E</a:t>
            </a:r>
            <a:r>
              <a:rPr sz="2300" spc="-133" dirty="0">
                <a:latin typeface="Calibri"/>
                <a:cs typeface="Calibri"/>
              </a:rPr>
              <a:t>F</a:t>
            </a:r>
            <a:r>
              <a:rPr sz="2300" spc="4" dirty="0">
                <a:latin typeface="Calibri"/>
                <a:cs typeface="Calibri"/>
              </a:rPr>
              <a:t>A</a:t>
            </a:r>
            <a:r>
              <a:rPr sz="2300" spc="-8" dirty="0">
                <a:latin typeface="Calibri"/>
                <a:cs typeface="Calibri"/>
              </a:rPr>
              <a:t>, </a:t>
            </a:r>
            <a:r>
              <a:rPr sz="2300" dirty="0">
                <a:latin typeface="Calibri"/>
                <a:cs typeface="Calibri"/>
              </a:rPr>
              <a:t>DSH</a:t>
            </a:r>
            <a:r>
              <a:rPr sz="2300" spc="-16" dirty="0">
                <a:latin typeface="Calibri"/>
                <a:cs typeface="Calibri"/>
              </a:rPr>
              <a:t>C</a:t>
            </a:r>
            <a:r>
              <a:rPr sz="2300" spc="-8" dirty="0">
                <a:latin typeface="Calibri"/>
                <a:cs typeface="Calibri"/>
              </a:rPr>
              <a:t>, </a:t>
            </a:r>
            <a:r>
              <a:rPr sz="2300" spc="-199" dirty="0">
                <a:latin typeface="Calibri"/>
                <a:cs typeface="Calibri"/>
              </a:rPr>
              <a:t>A</a:t>
            </a:r>
            <a:r>
              <a:rPr sz="2300" spc="-74" dirty="0">
                <a:latin typeface="Calibri"/>
                <a:cs typeface="Calibri"/>
              </a:rPr>
              <a:t>T</a:t>
            </a:r>
            <a:r>
              <a:rPr sz="2300" spc="-23" dirty="0">
                <a:latin typeface="Calibri"/>
                <a:cs typeface="Calibri"/>
              </a:rPr>
              <a:t>J</a:t>
            </a:r>
            <a:r>
              <a:rPr sz="2300" dirty="0">
                <a:latin typeface="Calibri"/>
                <a:cs typeface="Calibri"/>
              </a:rPr>
              <a:t>.</a:t>
            </a:r>
          </a:p>
          <a:p>
            <a:pPr>
              <a:lnSpc>
                <a:spcPts val="548"/>
              </a:lnSpc>
              <a:spcBef>
                <a:spcPts val="15"/>
              </a:spcBef>
            </a:pPr>
            <a:endParaRPr sz="500" dirty="0"/>
          </a:p>
          <a:p>
            <a:pPr marL="278328" marR="10935" indent="-268387" algn="just">
              <a:lnSpc>
                <a:spcPct val="80000"/>
              </a:lnSpc>
              <a:buFont typeface="Arial"/>
              <a:buChar char="•"/>
              <a:tabLst>
                <a:tab pos="277831" algn="l"/>
              </a:tabLst>
            </a:pPr>
            <a:r>
              <a:rPr sz="2300" spc="-31" dirty="0">
                <a:latin typeface="Calibri"/>
                <a:cs typeface="Calibri"/>
              </a:rPr>
              <a:t>F</a:t>
            </a:r>
            <a:r>
              <a:rPr sz="2300" dirty="0">
                <a:latin typeface="Calibri"/>
                <a:cs typeface="Calibri"/>
              </a:rPr>
              <a:t>o</a:t>
            </a:r>
            <a:r>
              <a:rPr sz="2300" spc="-12" dirty="0">
                <a:latin typeface="Calibri"/>
                <a:cs typeface="Calibri"/>
              </a:rPr>
              <a:t>c</a:t>
            </a:r>
            <a:r>
              <a:rPr sz="2300" spc="-8" dirty="0">
                <a:latin typeface="Calibri"/>
                <a:cs typeface="Calibri"/>
              </a:rPr>
              <a:t>u</a:t>
            </a:r>
            <a:r>
              <a:rPr sz="2300" dirty="0">
                <a:latin typeface="Calibri"/>
                <a:cs typeface="Calibri"/>
              </a:rPr>
              <a:t>s </a:t>
            </a:r>
            <a:r>
              <a:rPr sz="2300" spc="-196" dirty="0">
                <a:latin typeface="Calibri"/>
                <a:cs typeface="Calibri"/>
              </a:rPr>
              <a:t> </a:t>
            </a:r>
            <a:r>
              <a:rPr sz="2300" dirty="0">
                <a:latin typeface="Calibri"/>
                <a:cs typeface="Calibri"/>
              </a:rPr>
              <a:t>on </a:t>
            </a:r>
            <a:r>
              <a:rPr sz="2300" spc="-196" dirty="0">
                <a:latin typeface="Calibri"/>
                <a:cs typeface="Calibri"/>
              </a:rPr>
              <a:t> </a:t>
            </a:r>
            <a:r>
              <a:rPr sz="2300" spc="-8" dirty="0">
                <a:latin typeface="Calibri"/>
                <a:cs typeface="Calibri"/>
              </a:rPr>
              <a:t>i</a:t>
            </a:r>
            <a:r>
              <a:rPr sz="2300" spc="-23" dirty="0">
                <a:latin typeface="Calibri"/>
                <a:cs typeface="Calibri"/>
              </a:rPr>
              <a:t>n</a:t>
            </a:r>
            <a:r>
              <a:rPr sz="2300" spc="-35" dirty="0">
                <a:latin typeface="Calibri"/>
                <a:cs typeface="Calibri"/>
              </a:rPr>
              <a:t>t</a:t>
            </a:r>
            <a:r>
              <a:rPr sz="2300" spc="-16" dirty="0">
                <a:latin typeface="Calibri"/>
                <a:cs typeface="Calibri"/>
              </a:rPr>
              <a:t>e</a:t>
            </a:r>
            <a:r>
              <a:rPr sz="2300" spc="-12" dirty="0">
                <a:latin typeface="Calibri"/>
                <a:cs typeface="Calibri"/>
              </a:rPr>
              <a:t>g</a:t>
            </a:r>
            <a:r>
              <a:rPr sz="2300" spc="-63" dirty="0">
                <a:latin typeface="Calibri"/>
                <a:cs typeface="Calibri"/>
              </a:rPr>
              <a:t>r</a:t>
            </a:r>
            <a:r>
              <a:rPr sz="2300" spc="-20" dirty="0">
                <a:latin typeface="Calibri"/>
                <a:cs typeface="Calibri"/>
              </a:rPr>
              <a:t>a</a:t>
            </a:r>
            <a:r>
              <a:rPr sz="2300" spc="-43" dirty="0">
                <a:latin typeface="Calibri"/>
                <a:cs typeface="Calibri"/>
              </a:rPr>
              <a:t>t</a:t>
            </a:r>
            <a:r>
              <a:rPr sz="2300" spc="-27" dirty="0">
                <a:latin typeface="Calibri"/>
                <a:cs typeface="Calibri"/>
              </a:rPr>
              <a:t>e</a:t>
            </a:r>
            <a:r>
              <a:rPr sz="2300" dirty="0">
                <a:latin typeface="Calibri"/>
                <a:cs typeface="Calibri"/>
              </a:rPr>
              <a:t>d </a:t>
            </a:r>
            <a:r>
              <a:rPr sz="2300" spc="-196" dirty="0">
                <a:latin typeface="Calibri"/>
                <a:cs typeface="Calibri"/>
              </a:rPr>
              <a:t> </a:t>
            </a:r>
            <a:r>
              <a:rPr sz="2300" spc="-51" dirty="0">
                <a:latin typeface="Calibri"/>
                <a:cs typeface="Calibri"/>
              </a:rPr>
              <a:t>v</a:t>
            </a:r>
            <a:r>
              <a:rPr sz="2300" dirty="0">
                <a:latin typeface="Calibri"/>
                <a:cs typeface="Calibri"/>
              </a:rPr>
              <a:t>a</a:t>
            </a:r>
            <a:r>
              <a:rPr sz="2300" spc="-8" dirty="0">
                <a:latin typeface="Calibri"/>
                <a:cs typeface="Calibri"/>
              </a:rPr>
              <a:t>lu</a:t>
            </a:r>
            <a:r>
              <a:rPr sz="2300" spc="-12" dirty="0">
                <a:latin typeface="Calibri"/>
                <a:cs typeface="Calibri"/>
              </a:rPr>
              <a:t>e </a:t>
            </a:r>
            <a:r>
              <a:rPr sz="2300" spc="-192" dirty="0">
                <a:latin typeface="Calibri"/>
                <a:cs typeface="Calibri"/>
              </a:rPr>
              <a:t> </a:t>
            </a:r>
            <a:r>
              <a:rPr sz="2300" spc="-20" dirty="0">
                <a:latin typeface="Calibri"/>
                <a:cs typeface="Calibri"/>
              </a:rPr>
              <a:t>c</a:t>
            </a:r>
            <a:r>
              <a:rPr sz="2300" spc="-8" dirty="0">
                <a:latin typeface="Calibri"/>
                <a:cs typeface="Calibri"/>
              </a:rPr>
              <a:t>h</a:t>
            </a:r>
            <a:r>
              <a:rPr sz="2300" dirty="0">
                <a:latin typeface="Calibri"/>
                <a:cs typeface="Calibri"/>
              </a:rPr>
              <a:t>a</a:t>
            </a:r>
            <a:r>
              <a:rPr sz="2300" spc="-8" dirty="0">
                <a:latin typeface="Calibri"/>
                <a:cs typeface="Calibri"/>
              </a:rPr>
              <a:t>i</a:t>
            </a:r>
            <a:r>
              <a:rPr sz="2300" dirty="0">
                <a:latin typeface="Calibri"/>
                <a:cs typeface="Calibri"/>
              </a:rPr>
              <a:t>n </a:t>
            </a:r>
            <a:r>
              <a:rPr sz="2300" spc="-196" dirty="0">
                <a:latin typeface="Calibri"/>
                <a:cs typeface="Calibri"/>
              </a:rPr>
              <a:t> </a:t>
            </a:r>
            <a:r>
              <a:rPr sz="2300" dirty="0">
                <a:latin typeface="Calibri"/>
                <a:cs typeface="Calibri"/>
              </a:rPr>
              <a:t>a</a:t>
            </a:r>
            <a:r>
              <a:rPr sz="2300" spc="-8" dirty="0">
                <a:latin typeface="Calibri"/>
                <a:cs typeface="Calibri"/>
              </a:rPr>
              <a:t>n</a:t>
            </a:r>
            <a:r>
              <a:rPr sz="2300" dirty="0">
                <a:latin typeface="Calibri"/>
                <a:cs typeface="Calibri"/>
              </a:rPr>
              <a:t>d </a:t>
            </a:r>
            <a:r>
              <a:rPr sz="2300" spc="-196" dirty="0">
                <a:latin typeface="Calibri"/>
                <a:cs typeface="Calibri"/>
              </a:rPr>
              <a:t> </a:t>
            </a:r>
            <a:r>
              <a:rPr sz="2300" dirty="0">
                <a:latin typeface="Calibri"/>
                <a:cs typeface="Calibri"/>
              </a:rPr>
              <a:t>s</a:t>
            </a:r>
            <a:r>
              <a:rPr sz="2300" spc="-8" dirty="0">
                <a:latin typeface="Calibri"/>
                <a:cs typeface="Calibri"/>
              </a:rPr>
              <a:t>u</a:t>
            </a:r>
            <a:r>
              <a:rPr sz="2300" spc="-27" dirty="0">
                <a:latin typeface="Calibri"/>
                <a:cs typeface="Calibri"/>
              </a:rPr>
              <a:t>s</a:t>
            </a:r>
            <a:r>
              <a:rPr sz="2300" spc="-35" dirty="0">
                <a:latin typeface="Calibri"/>
                <a:cs typeface="Calibri"/>
              </a:rPr>
              <a:t>t</a:t>
            </a:r>
            <a:r>
              <a:rPr sz="2300" dirty="0">
                <a:latin typeface="Calibri"/>
                <a:cs typeface="Calibri"/>
              </a:rPr>
              <a:t>a</a:t>
            </a:r>
            <a:r>
              <a:rPr sz="2300" spc="-8" dirty="0">
                <a:latin typeface="Calibri"/>
                <a:cs typeface="Calibri"/>
              </a:rPr>
              <a:t>in</a:t>
            </a:r>
            <a:r>
              <a:rPr sz="2300" dirty="0">
                <a:latin typeface="Calibri"/>
                <a:cs typeface="Calibri"/>
              </a:rPr>
              <a:t>a</a:t>
            </a:r>
            <a:r>
              <a:rPr sz="2300" spc="-8" dirty="0">
                <a:latin typeface="Calibri"/>
                <a:cs typeface="Calibri"/>
              </a:rPr>
              <a:t>bl</a:t>
            </a:r>
            <a:r>
              <a:rPr sz="2300" spc="-12" dirty="0">
                <a:latin typeface="Calibri"/>
                <a:cs typeface="Calibri"/>
              </a:rPr>
              <a:t>e</a:t>
            </a:r>
            <a:r>
              <a:rPr sz="2300" spc="-8" dirty="0">
                <a:latin typeface="Calibri"/>
                <a:cs typeface="Calibri"/>
              </a:rPr>
              <a:t> </a:t>
            </a:r>
            <a:r>
              <a:rPr sz="2300" spc="-63" dirty="0" smtClean="0">
                <a:latin typeface="Calibri"/>
                <a:cs typeface="Calibri"/>
              </a:rPr>
              <a:t>f</a:t>
            </a:r>
            <a:r>
              <a:rPr sz="2300" spc="-16" dirty="0" smtClean="0">
                <a:latin typeface="Calibri"/>
                <a:cs typeface="Calibri"/>
              </a:rPr>
              <a:t>ee</a:t>
            </a:r>
            <a:r>
              <a:rPr sz="2300" spc="-8" dirty="0" smtClean="0">
                <a:latin typeface="Calibri"/>
                <a:cs typeface="Calibri"/>
              </a:rPr>
              <a:t>d</a:t>
            </a:r>
            <a:r>
              <a:rPr sz="2300" spc="-27" dirty="0" smtClean="0">
                <a:latin typeface="Calibri"/>
                <a:cs typeface="Calibri"/>
              </a:rPr>
              <a:t>st</a:t>
            </a:r>
            <a:r>
              <a:rPr sz="2300" spc="-12" dirty="0" smtClean="0">
                <a:latin typeface="Calibri"/>
                <a:cs typeface="Calibri"/>
              </a:rPr>
              <a:t>ock</a:t>
            </a:r>
            <a:r>
              <a:rPr lang="en-US" sz="2300" spc="-12" dirty="0">
                <a:latin typeface="Calibri"/>
                <a:cs typeface="Calibri"/>
              </a:rPr>
              <a:t> </a:t>
            </a:r>
            <a:r>
              <a:rPr sz="2300" spc="-8" dirty="0" smtClean="0">
                <a:latin typeface="Calibri"/>
                <a:cs typeface="Calibri"/>
              </a:rPr>
              <a:t>p</a:t>
            </a:r>
            <a:r>
              <a:rPr sz="2300" spc="-51" dirty="0" smtClean="0">
                <a:latin typeface="Calibri"/>
                <a:cs typeface="Calibri"/>
              </a:rPr>
              <a:t>r</a:t>
            </a:r>
            <a:r>
              <a:rPr sz="2300" dirty="0" smtClean="0">
                <a:latin typeface="Calibri"/>
                <a:cs typeface="Calibri"/>
              </a:rPr>
              <a:t>o</a:t>
            </a:r>
            <a:r>
              <a:rPr sz="2300" spc="-8" dirty="0" smtClean="0">
                <a:latin typeface="Calibri"/>
                <a:cs typeface="Calibri"/>
              </a:rPr>
              <a:t>du</a:t>
            </a:r>
            <a:r>
              <a:rPr sz="2300" spc="-12" dirty="0" smtClean="0">
                <a:latin typeface="Calibri"/>
                <a:cs typeface="Calibri"/>
              </a:rPr>
              <a:t>ct</a:t>
            </a:r>
            <a:r>
              <a:rPr sz="2300" spc="-8" dirty="0" smtClean="0">
                <a:latin typeface="Calibri"/>
                <a:cs typeface="Calibri"/>
              </a:rPr>
              <a:t>i</a:t>
            </a:r>
            <a:r>
              <a:rPr sz="2300" dirty="0" smtClean="0">
                <a:latin typeface="Calibri"/>
                <a:cs typeface="Calibri"/>
              </a:rPr>
              <a:t>on</a:t>
            </a:r>
            <a:r>
              <a:rPr lang="en-US" sz="2300" dirty="0" smtClean="0">
                <a:latin typeface="Calibri"/>
                <a:cs typeface="Calibri"/>
              </a:rPr>
              <a:t> </a:t>
            </a:r>
            <a:r>
              <a:rPr sz="2300" spc="-8" dirty="0" smtClean="0">
                <a:latin typeface="Calibri"/>
                <a:cs typeface="Calibri"/>
              </a:rPr>
              <a:t>b</a:t>
            </a:r>
            <a:r>
              <a:rPr sz="2300" dirty="0" smtClean="0">
                <a:latin typeface="Calibri"/>
                <a:cs typeface="Calibri"/>
              </a:rPr>
              <a:t>as</a:t>
            </a:r>
            <a:r>
              <a:rPr sz="2300" spc="-16" dirty="0" smtClean="0">
                <a:latin typeface="Calibri"/>
                <a:cs typeface="Calibri"/>
              </a:rPr>
              <a:t>e</a:t>
            </a:r>
            <a:r>
              <a:rPr sz="2300" dirty="0" smtClean="0">
                <a:latin typeface="Calibri"/>
                <a:cs typeface="Calibri"/>
              </a:rPr>
              <a:t>d</a:t>
            </a:r>
            <a:r>
              <a:rPr lang="en-US" sz="2300" dirty="0" smtClean="0">
                <a:latin typeface="Calibri"/>
                <a:cs typeface="Calibri"/>
              </a:rPr>
              <a:t> </a:t>
            </a:r>
            <a:r>
              <a:rPr sz="2300" dirty="0" smtClean="0">
                <a:latin typeface="Calibri"/>
                <a:cs typeface="Calibri"/>
              </a:rPr>
              <a:t>on</a:t>
            </a:r>
            <a:r>
              <a:rPr lang="en-US" sz="2300" dirty="0" smtClean="0">
                <a:latin typeface="Calibri"/>
                <a:cs typeface="Calibri"/>
              </a:rPr>
              <a:t> </a:t>
            </a:r>
            <a:r>
              <a:rPr sz="2300" spc="-8" dirty="0" smtClean="0">
                <a:latin typeface="Calibri"/>
                <a:cs typeface="Calibri"/>
              </a:rPr>
              <a:t>t</a:t>
            </a:r>
            <a:r>
              <a:rPr sz="2300" spc="-16" dirty="0" smtClean="0">
                <a:latin typeface="Calibri"/>
                <a:cs typeface="Calibri"/>
              </a:rPr>
              <a:t>h</a:t>
            </a:r>
            <a:r>
              <a:rPr lang="en-US" sz="2300" spc="-12" dirty="0" smtClean="0">
                <a:latin typeface="Calibri"/>
                <a:cs typeface="Calibri"/>
              </a:rPr>
              <a:t>e </a:t>
            </a:r>
            <a:r>
              <a:rPr sz="2300" spc="-16" dirty="0" smtClean="0">
                <a:latin typeface="Calibri"/>
                <a:cs typeface="Calibri"/>
              </a:rPr>
              <a:t>B</a:t>
            </a:r>
            <a:r>
              <a:rPr sz="2300" spc="-63" dirty="0" smtClean="0">
                <a:latin typeface="Calibri"/>
                <a:cs typeface="Calibri"/>
              </a:rPr>
              <a:t>r</a:t>
            </a:r>
            <a:r>
              <a:rPr sz="2300" dirty="0" smtClean="0">
                <a:latin typeface="Calibri"/>
                <a:cs typeface="Calibri"/>
              </a:rPr>
              <a:t>az</a:t>
            </a:r>
            <a:r>
              <a:rPr sz="2300" spc="-8" dirty="0" smtClean="0">
                <a:latin typeface="Calibri"/>
                <a:cs typeface="Calibri"/>
              </a:rPr>
              <a:t>il</a:t>
            </a:r>
            <a:r>
              <a:rPr sz="2300" spc="4" dirty="0" smtClean="0">
                <a:latin typeface="Calibri"/>
                <a:cs typeface="Calibri"/>
              </a:rPr>
              <a:t>i</a:t>
            </a:r>
            <a:r>
              <a:rPr sz="2300" dirty="0" smtClean="0">
                <a:latin typeface="Calibri"/>
                <a:cs typeface="Calibri"/>
              </a:rPr>
              <a:t>an </a:t>
            </a:r>
            <a:r>
              <a:rPr sz="2300" spc="-8" dirty="0">
                <a:latin typeface="Calibri"/>
                <a:cs typeface="Calibri"/>
              </a:rPr>
              <a:t>bi</a:t>
            </a:r>
            <a:r>
              <a:rPr sz="2300" dirty="0">
                <a:latin typeface="Calibri"/>
                <a:cs typeface="Calibri"/>
              </a:rPr>
              <a:t>o</a:t>
            </a:r>
            <a:r>
              <a:rPr sz="2300" spc="-8" dirty="0">
                <a:latin typeface="Calibri"/>
                <a:cs typeface="Calibri"/>
              </a:rPr>
              <a:t>di</a:t>
            </a:r>
            <a:r>
              <a:rPr sz="2300" spc="-31" dirty="0">
                <a:latin typeface="Calibri"/>
                <a:cs typeface="Calibri"/>
              </a:rPr>
              <a:t>v</a:t>
            </a:r>
            <a:r>
              <a:rPr sz="2300" spc="-16" dirty="0">
                <a:latin typeface="Calibri"/>
                <a:cs typeface="Calibri"/>
              </a:rPr>
              <a:t>e</a:t>
            </a:r>
            <a:r>
              <a:rPr sz="2300" spc="-51" dirty="0">
                <a:latin typeface="Calibri"/>
                <a:cs typeface="Calibri"/>
              </a:rPr>
              <a:t>r</a:t>
            </a:r>
            <a:r>
              <a:rPr sz="2300" dirty="0">
                <a:latin typeface="Calibri"/>
                <a:cs typeface="Calibri"/>
              </a:rPr>
              <a:t>s</a:t>
            </a:r>
            <a:r>
              <a:rPr sz="2300" spc="4" dirty="0">
                <a:latin typeface="Calibri"/>
                <a:cs typeface="Calibri"/>
              </a:rPr>
              <a:t>i</a:t>
            </a:r>
            <a:r>
              <a:rPr sz="2300" spc="-8" dirty="0">
                <a:latin typeface="Calibri"/>
                <a:cs typeface="Calibri"/>
              </a:rPr>
              <a:t>t</a:t>
            </a:r>
            <a:r>
              <a:rPr sz="2300" spc="-184" dirty="0">
                <a:latin typeface="Calibri"/>
                <a:cs typeface="Calibri"/>
              </a:rPr>
              <a:t>y</a:t>
            </a:r>
            <a:r>
              <a:rPr sz="2300" spc="-8" dirty="0">
                <a:latin typeface="Calibri"/>
                <a:cs typeface="Calibri"/>
              </a:rPr>
              <a:t>, </a:t>
            </a:r>
            <a:r>
              <a:rPr sz="2300" spc="-153" dirty="0">
                <a:latin typeface="Calibri"/>
                <a:cs typeface="Calibri"/>
              </a:rPr>
              <a:t> </a:t>
            </a:r>
            <a:r>
              <a:rPr sz="2300" spc="-12" dirty="0">
                <a:latin typeface="Calibri"/>
                <a:cs typeface="Calibri"/>
              </a:rPr>
              <a:t>c</a:t>
            </a:r>
            <a:r>
              <a:rPr sz="2300" spc="-8" dirty="0">
                <a:latin typeface="Calibri"/>
                <a:cs typeface="Calibri"/>
              </a:rPr>
              <a:t>li</a:t>
            </a:r>
            <a:r>
              <a:rPr sz="2300" spc="-20" dirty="0">
                <a:latin typeface="Calibri"/>
                <a:cs typeface="Calibri"/>
              </a:rPr>
              <a:t>m</a:t>
            </a:r>
            <a:r>
              <a:rPr sz="2300" spc="-27" dirty="0">
                <a:latin typeface="Calibri"/>
                <a:cs typeface="Calibri"/>
              </a:rPr>
              <a:t>a</a:t>
            </a:r>
            <a:r>
              <a:rPr sz="2300" spc="-8" dirty="0">
                <a:latin typeface="Calibri"/>
                <a:cs typeface="Calibri"/>
              </a:rPr>
              <a:t>ti</a:t>
            </a:r>
            <a:r>
              <a:rPr sz="2300" spc="-12" dirty="0">
                <a:latin typeface="Calibri"/>
                <a:cs typeface="Calibri"/>
              </a:rPr>
              <a:t>c </a:t>
            </a:r>
            <a:r>
              <a:rPr sz="2300" spc="-160" dirty="0">
                <a:latin typeface="Calibri"/>
                <a:cs typeface="Calibri"/>
              </a:rPr>
              <a:t> </a:t>
            </a:r>
            <a:r>
              <a:rPr sz="2300" spc="-31" dirty="0">
                <a:latin typeface="Calibri"/>
                <a:cs typeface="Calibri"/>
              </a:rPr>
              <a:t>c</a:t>
            </a:r>
            <a:r>
              <a:rPr sz="2300" dirty="0">
                <a:latin typeface="Calibri"/>
                <a:cs typeface="Calibri"/>
              </a:rPr>
              <a:t>o</a:t>
            </a:r>
            <a:r>
              <a:rPr sz="2300" spc="-8" dirty="0">
                <a:latin typeface="Calibri"/>
                <a:cs typeface="Calibri"/>
              </a:rPr>
              <a:t>ndit</a:t>
            </a:r>
            <a:r>
              <a:rPr sz="2300" spc="-16" dirty="0">
                <a:latin typeface="Calibri"/>
                <a:cs typeface="Calibri"/>
              </a:rPr>
              <a:t>i</a:t>
            </a:r>
            <a:r>
              <a:rPr sz="2300" dirty="0">
                <a:latin typeface="Calibri"/>
                <a:cs typeface="Calibri"/>
              </a:rPr>
              <a:t>o</a:t>
            </a:r>
            <a:r>
              <a:rPr sz="2300" spc="-8" dirty="0">
                <a:latin typeface="Calibri"/>
                <a:cs typeface="Calibri"/>
              </a:rPr>
              <a:t>n</a:t>
            </a:r>
            <a:r>
              <a:rPr sz="2300" dirty="0">
                <a:latin typeface="Calibri"/>
                <a:cs typeface="Calibri"/>
              </a:rPr>
              <a:t>s</a:t>
            </a:r>
            <a:r>
              <a:rPr sz="2300" spc="-8" dirty="0">
                <a:latin typeface="Calibri"/>
                <a:cs typeface="Calibri"/>
              </a:rPr>
              <a:t>, </a:t>
            </a:r>
            <a:r>
              <a:rPr sz="2300" spc="-153" dirty="0">
                <a:latin typeface="Calibri"/>
                <a:cs typeface="Calibri"/>
              </a:rPr>
              <a:t> </a:t>
            </a:r>
            <a:r>
              <a:rPr sz="2300" spc="-67" dirty="0">
                <a:latin typeface="Calibri"/>
                <a:cs typeface="Calibri"/>
              </a:rPr>
              <a:t>F</a:t>
            </a:r>
            <a:r>
              <a:rPr sz="2300" dirty="0">
                <a:latin typeface="Calibri"/>
                <a:cs typeface="Calibri"/>
              </a:rPr>
              <a:t>a</a:t>
            </a:r>
            <a:r>
              <a:rPr sz="2300" spc="-20" dirty="0">
                <a:latin typeface="Calibri"/>
                <a:cs typeface="Calibri"/>
              </a:rPr>
              <a:t>m</a:t>
            </a:r>
            <a:r>
              <a:rPr sz="2300" spc="-8" dirty="0">
                <a:latin typeface="Calibri"/>
                <a:cs typeface="Calibri"/>
              </a:rPr>
              <a:t>il</a:t>
            </a:r>
            <a:r>
              <a:rPr sz="2300" spc="-12" dirty="0">
                <a:latin typeface="Calibri"/>
                <a:cs typeface="Calibri"/>
              </a:rPr>
              <a:t>y </a:t>
            </a:r>
            <a:r>
              <a:rPr sz="2300" spc="-153" dirty="0">
                <a:latin typeface="Calibri"/>
                <a:cs typeface="Calibri"/>
              </a:rPr>
              <a:t> </a:t>
            </a:r>
            <a:r>
              <a:rPr sz="2300" spc="-67" dirty="0">
                <a:latin typeface="Calibri"/>
                <a:cs typeface="Calibri"/>
              </a:rPr>
              <a:t>F</a:t>
            </a:r>
            <a:r>
              <a:rPr sz="2300" dirty="0">
                <a:latin typeface="Calibri"/>
                <a:cs typeface="Calibri"/>
              </a:rPr>
              <a:t>a</a:t>
            </a:r>
            <a:r>
              <a:rPr sz="2300" spc="-16" dirty="0">
                <a:latin typeface="Calibri"/>
                <a:cs typeface="Calibri"/>
              </a:rPr>
              <a:t>r</a:t>
            </a:r>
            <a:r>
              <a:rPr sz="2300" spc="-20" dirty="0">
                <a:latin typeface="Calibri"/>
                <a:cs typeface="Calibri"/>
              </a:rPr>
              <a:t>m</a:t>
            </a:r>
            <a:r>
              <a:rPr sz="2300" spc="-8" dirty="0">
                <a:latin typeface="Calibri"/>
                <a:cs typeface="Calibri"/>
              </a:rPr>
              <a:t>i</a:t>
            </a:r>
            <a:r>
              <a:rPr sz="2300" spc="4" dirty="0">
                <a:latin typeface="Calibri"/>
                <a:cs typeface="Calibri"/>
              </a:rPr>
              <a:t>n</a:t>
            </a:r>
            <a:r>
              <a:rPr sz="2300" spc="20" dirty="0">
                <a:latin typeface="Calibri"/>
                <a:cs typeface="Calibri"/>
              </a:rPr>
              <a:t>g</a:t>
            </a:r>
            <a:r>
              <a:rPr sz="2300" spc="-8" dirty="0">
                <a:latin typeface="Calibri"/>
                <a:cs typeface="Calibri"/>
              </a:rPr>
              <a:t>, an</a:t>
            </a:r>
            <a:r>
              <a:rPr sz="2300" dirty="0">
                <a:latin typeface="Calibri"/>
                <a:cs typeface="Calibri"/>
              </a:rPr>
              <a:t>d </a:t>
            </a:r>
            <a:r>
              <a:rPr sz="2300" spc="-12" dirty="0">
                <a:latin typeface="Calibri"/>
                <a:cs typeface="Calibri"/>
              </a:rPr>
              <a:t>Ag</a:t>
            </a:r>
            <a:r>
              <a:rPr sz="2300" spc="-16" dirty="0">
                <a:latin typeface="Calibri"/>
                <a:cs typeface="Calibri"/>
              </a:rPr>
              <a:t>r</a:t>
            </a:r>
            <a:r>
              <a:rPr sz="2300" spc="-8" dirty="0">
                <a:latin typeface="Calibri"/>
                <a:cs typeface="Calibri"/>
              </a:rPr>
              <a:t>ibu</a:t>
            </a:r>
            <a:r>
              <a:rPr sz="2300" dirty="0">
                <a:latin typeface="Calibri"/>
                <a:cs typeface="Calibri"/>
              </a:rPr>
              <a:t>s</a:t>
            </a:r>
            <a:r>
              <a:rPr sz="2300" spc="-8" dirty="0">
                <a:latin typeface="Calibri"/>
                <a:cs typeface="Calibri"/>
              </a:rPr>
              <a:t>in</a:t>
            </a:r>
            <a:r>
              <a:rPr sz="2300" spc="-16" dirty="0">
                <a:latin typeface="Calibri"/>
                <a:cs typeface="Calibri"/>
              </a:rPr>
              <a:t>e</a:t>
            </a:r>
            <a:r>
              <a:rPr sz="2300" dirty="0">
                <a:latin typeface="Calibri"/>
                <a:cs typeface="Calibri"/>
              </a:rPr>
              <a:t>ss.</a:t>
            </a:r>
          </a:p>
        </p:txBody>
      </p:sp>
      <p:sp>
        <p:nvSpPr>
          <p:cNvPr id="3" name="object 3"/>
          <p:cNvSpPr txBox="1"/>
          <p:nvPr/>
        </p:nvSpPr>
        <p:spPr>
          <a:xfrm>
            <a:off x="1120204" y="3171253"/>
            <a:ext cx="1999300" cy="332815"/>
          </a:xfrm>
          <a:prstGeom prst="rect">
            <a:avLst/>
          </a:prstGeom>
        </p:spPr>
        <p:txBody>
          <a:bodyPr vert="horz" wrap="square" lIns="0" tIns="0" rIns="0" bIns="0" rtlCol="0">
            <a:noAutofit/>
          </a:bodyPr>
          <a:lstStyle/>
          <a:p>
            <a:pPr marL="278328" indent="-268387">
              <a:buFont typeface="Arial"/>
              <a:buChar char="•"/>
              <a:tabLst>
                <a:tab pos="277831" algn="l"/>
              </a:tabLst>
            </a:pPr>
            <a:r>
              <a:rPr sz="2300" spc="-4" dirty="0">
                <a:solidFill>
                  <a:prstClr val="black"/>
                </a:solidFill>
                <a:cs typeface="Calibri"/>
              </a:rPr>
              <a:t>C</a:t>
            </a:r>
            <a:r>
              <a:rPr sz="2300" dirty="0">
                <a:solidFill>
                  <a:prstClr val="black"/>
                </a:solidFill>
                <a:cs typeface="Calibri"/>
              </a:rPr>
              <a:t>o</a:t>
            </a:r>
            <a:r>
              <a:rPr sz="2300" spc="-8" dirty="0">
                <a:solidFill>
                  <a:prstClr val="black"/>
                </a:solidFill>
                <a:cs typeface="Calibri"/>
              </a:rPr>
              <a:t>n</a:t>
            </a:r>
            <a:r>
              <a:rPr sz="2300" dirty="0">
                <a:solidFill>
                  <a:prstClr val="black"/>
                </a:solidFill>
                <a:cs typeface="Calibri"/>
              </a:rPr>
              <a:t>so</a:t>
            </a:r>
            <a:r>
              <a:rPr sz="2300" spc="4" dirty="0">
                <a:solidFill>
                  <a:prstClr val="black"/>
                </a:solidFill>
                <a:cs typeface="Calibri"/>
              </a:rPr>
              <a:t>l</a:t>
            </a:r>
            <a:r>
              <a:rPr sz="2300" spc="-8" dirty="0">
                <a:solidFill>
                  <a:prstClr val="black"/>
                </a:solidFill>
                <a:cs typeface="Calibri"/>
              </a:rPr>
              <a:t>id</a:t>
            </a:r>
            <a:r>
              <a:rPr sz="2300" spc="-20" dirty="0">
                <a:solidFill>
                  <a:prstClr val="black"/>
                </a:solidFill>
                <a:cs typeface="Calibri"/>
              </a:rPr>
              <a:t>a</a:t>
            </a:r>
            <a:r>
              <a:rPr sz="2300" spc="-35" dirty="0">
                <a:solidFill>
                  <a:prstClr val="black"/>
                </a:solidFill>
                <a:cs typeface="Calibri"/>
              </a:rPr>
              <a:t>t</a:t>
            </a:r>
            <a:r>
              <a:rPr sz="2300" spc="-16" dirty="0">
                <a:solidFill>
                  <a:prstClr val="black"/>
                </a:solidFill>
                <a:cs typeface="Calibri"/>
              </a:rPr>
              <a:t>e</a:t>
            </a:r>
            <a:r>
              <a:rPr sz="2300" dirty="0">
                <a:solidFill>
                  <a:prstClr val="black"/>
                </a:solidFill>
                <a:cs typeface="Calibri"/>
              </a:rPr>
              <a:t>s</a:t>
            </a:r>
          </a:p>
        </p:txBody>
      </p:sp>
      <p:sp>
        <p:nvSpPr>
          <p:cNvPr id="4" name="object 4"/>
          <p:cNvSpPr txBox="1"/>
          <p:nvPr/>
        </p:nvSpPr>
        <p:spPr>
          <a:xfrm>
            <a:off x="2952795" y="3181350"/>
            <a:ext cx="4591005" cy="332815"/>
          </a:xfrm>
          <a:prstGeom prst="rect">
            <a:avLst/>
          </a:prstGeom>
        </p:spPr>
        <p:txBody>
          <a:bodyPr vert="horz" wrap="square" lIns="0" tIns="0" rIns="0" bIns="0" rtlCol="0">
            <a:noAutofit/>
          </a:bodyPr>
          <a:lstStyle/>
          <a:p>
            <a:pPr marL="9941">
              <a:tabLst>
                <a:tab pos="718185" algn="l"/>
                <a:tab pos="2549183" algn="l"/>
                <a:tab pos="3102359" algn="l"/>
                <a:tab pos="3810106" algn="l"/>
              </a:tabLst>
            </a:pPr>
            <a:r>
              <a:rPr lang="en-US" sz="2300" spc="-8" dirty="0" smtClean="0">
                <a:solidFill>
                  <a:prstClr val="black"/>
                </a:solidFill>
                <a:cs typeface="Calibri"/>
              </a:rPr>
              <a:t>the</a:t>
            </a:r>
            <a:r>
              <a:rPr lang="en-US" sz="2300" spc="-12" dirty="0" smtClean="0">
                <a:solidFill>
                  <a:prstClr val="black"/>
                </a:solidFill>
                <a:cs typeface="Calibri"/>
              </a:rPr>
              <a:t> </a:t>
            </a:r>
            <a:r>
              <a:rPr sz="2300" spc="-27" dirty="0" smtClean="0">
                <a:solidFill>
                  <a:prstClr val="black"/>
                </a:solidFill>
                <a:cs typeface="Calibri"/>
              </a:rPr>
              <a:t>s</a:t>
            </a:r>
            <a:r>
              <a:rPr sz="2300" spc="-35" dirty="0" smtClean="0">
                <a:solidFill>
                  <a:prstClr val="black"/>
                </a:solidFill>
                <a:cs typeface="Calibri"/>
              </a:rPr>
              <a:t>t</a:t>
            </a:r>
            <a:r>
              <a:rPr sz="2300" spc="-8" dirty="0" smtClean="0">
                <a:solidFill>
                  <a:prstClr val="black"/>
                </a:solidFill>
                <a:cs typeface="Calibri"/>
              </a:rPr>
              <a:t>a</a:t>
            </a:r>
            <a:r>
              <a:rPr sz="2300" spc="-86" dirty="0" smtClean="0">
                <a:solidFill>
                  <a:prstClr val="black"/>
                </a:solidFill>
                <a:cs typeface="Calibri"/>
              </a:rPr>
              <a:t>k</a:t>
            </a:r>
            <a:r>
              <a:rPr sz="2300" spc="-16" dirty="0" smtClean="0">
                <a:solidFill>
                  <a:prstClr val="black"/>
                </a:solidFill>
                <a:cs typeface="Calibri"/>
              </a:rPr>
              <a:t>eh</a:t>
            </a:r>
            <a:r>
              <a:rPr sz="2300" dirty="0" smtClean="0">
                <a:solidFill>
                  <a:prstClr val="black"/>
                </a:solidFill>
                <a:cs typeface="Calibri"/>
              </a:rPr>
              <a:t>o</a:t>
            </a:r>
            <a:r>
              <a:rPr sz="2300" spc="-8" dirty="0" smtClean="0">
                <a:solidFill>
                  <a:prstClr val="black"/>
                </a:solidFill>
                <a:cs typeface="Calibri"/>
              </a:rPr>
              <a:t>ld</a:t>
            </a:r>
            <a:r>
              <a:rPr sz="2300" spc="-16" dirty="0" smtClean="0">
                <a:solidFill>
                  <a:prstClr val="black"/>
                </a:solidFill>
                <a:cs typeface="Calibri"/>
              </a:rPr>
              <a:t>e</a:t>
            </a:r>
            <a:r>
              <a:rPr sz="2300" spc="-51" dirty="0" smtClean="0">
                <a:solidFill>
                  <a:prstClr val="black"/>
                </a:solidFill>
                <a:cs typeface="Calibri"/>
              </a:rPr>
              <a:t>r</a:t>
            </a:r>
            <a:r>
              <a:rPr sz="2300" dirty="0" smtClean="0">
                <a:solidFill>
                  <a:prstClr val="black"/>
                </a:solidFill>
                <a:cs typeface="Calibri"/>
              </a:rPr>
              <a:t>s</a:t>
            </a:r>
            <a:r>
              <a:rPr lang="en-US" sz="2300" dirty="0">
                <a:solidFill>
                  <a:prstClr val="black"/>
                </a:solidFill>
                <a:cs typeface="Calibri"/>
              </a:rPr>
              <a:t> </a:t>
            </a:r>
            <a:r>
              <a:rPr sz="2300" spc="8" dirty="0" smtClean="0">
                <a:solidFill>
                  <a:prstClr val="black"/>
                </a:solidFill>
                <a:cs typeface="Calibri"/>
              </a:rPr>
              <a:t>o</a:t>
            </a:r>
            <a:r>
              <a:rPr sz="2300" dirty="0" smtClean="0">
                <a:solidFill>
                  <a:prstClr val="black"/>
                </a:solidFill>
                <a:cs typeface="Calibri"/>
              </a:rPr>
              <a:t>f</a:t>
            </a:r>
            <a:r>
              <a:rPr lang="en-US" sz="2300" dirty="0">
                <a:solidFill>
                  <a:prstClr val="black"/>
                </a:solidFill>
                <a:cs typeface="Calibri"/>
              </a:rPr>
              <a:t> </a:t>
            </a:r>
            <a:r>
              <a:rPr sz="2300" spc="-8" dirty="0" smtClean="0">
                <a:solidFill>
                  <a:prstClr val="black"/>
                </a:solidFill>
                <a:cs typeface="Calibri"/>
              </a:rPr>
              <a:t>th</a:t>
            </a:r>
            <a:r>
              <a:rPr sz="2300" spc="-12" dirty="0" smtClean="0">
                <a:solidFill>
                  <a:prstClr val="black"/>
                </a:solidFill>
                <a:cs typeface="Calibri"/>
              </a:rPr>
              <a:t>e</a:t>
            </a:r>
            <a:r>
              <a:rPr lang="en-US" sz="2300" spc="-12" dirty="0">
                <a:solidFill>
                  <a:prstClr val="black"/>
                </a:solidFill>
                <a:cs typeface="Calibri"/>
              </a:rPr>
              <a:t> </a:t>
            </a:r>
            <a:r>
              <a:rPr sz="2300" spc="-16" dirty="0" smtClean="0">
                <a:solidFill>
                  <a:prstClr val="black"/>
                </a:solidFill>
                <a:cs typeface="Calibri"/>
              </a:rPr>
              <a:t>f</a:t>
            </a:r>
            <a:r>
              <a:rPr sz="2300" spc="-8" dirty="0" smtClean="0">
                <a:solidFill>
                  <a:prstClr val="black"/>
                </a:solidFill>
                <a:cs typeface="Calibri"/>
              </a:rPr>
              <a:t>ul</a:t>
            </a:r>
            <a:r>
              <a:rPr sz="2300" dirty="0" smtClean="0">
                <a:solidFill>
                  <a:prstClr val="black"/>
                </a:solidFill>
                <a:cs typeface="Calibri"/>
              </a:rPr>
              <a:t>l</a:t>
            </a:r>
            <a:endParaRPr sz="2300" dirty="0">
              <a:solidFill>
                <a:prstClr val="black"/>
              </a:solidFill>
              <a:cs typeface="Calibri"/>
            </a:endParaRPr>
          </a:p>
        </p:txBody>
      </p:sp>
      <p:sp>
        <p:nvSpPr>
          <p:cNvPr id="5" name="object 5"/>
          <p:cNvSpPr txBox="1"/>
          <p:nvPr/>
        </p:nvSpPr>
        <p:spPr>
          <a:xfrm>
            <a:off x="1120205" y="3485304"/>
            <a:ext cx="6899810" cy="892981"/>
          </a:xfrm>
          <a:prstGeom prst="rect">
            <a:avLst/>
          </a:prstGeom>
        </p:spPr>
        <p:txBody>
          <a:bodyPr vert="horz" wrap="square" lIns="0" tIns="0" rIns="0" bIns="0" rtlCol="0">
            <a:noAutofit/>
          </a:bodyPr>
          <a:lstStyle/>
          <a:p>
            <a:pPr marL="278328"/>
            <a:r>
              <a:rPr sz="2300" dirty="0">
                <a:solidFill>
                  <a:prstClr val="black"/>
                </a:solidFill>
                <a:cs typeface="Calibri"/>
              </a:rPr>
              <a:t>s</a:t>
            </a:r>
            <a:r>
              <a:rPr sz="2300" spc="-8" dirty="0">
                <a:solidFill>
                  <a:prstClr val="black"/>
                </a:solidFill>
                <a:cs typeface="Calibri"/>
              </a:rPr>
              <a:t>p</a:t>
            </a:r>
            <a:r>
              <a:rPr sz="2300" spc="-16" dirty="0">
                <a:solidFill>
                  <a:prstClr val="black"/>
                </a:solidFill>
                <a:cs typeface="Calibri"/>
              </a:rPr>
              <a:t>e</a:t>
            </a:r>
            <a:r>
              <a:rPr sz="2300" spc="-12" dirty="0">
                <a:solidFill>
                  <a:prstClr val="black"/>
                </a:solidFill>
                <a:cs typeface="Calibri"/>
              </a:rPr>
              <a:t>ct</a:t>
            </a:r>
            <a:r>
              <a:rPr sz="2300" spc="-16" dirty="0">
                <a:solidFill>
                  <a:prstClr val="black"/>
                </a:solidFill>
                <a:cs typeface="Calibri"/>
              </a:rPr>
              <a:t>r</a:t>
            </a:r>
            <a:r>
              <a:rPr sz="2300" spc="-8" dirty="0">
                <a:solidFill>
                  <a:prstClr val="black"/>
                </a:solidFill>
                <a:cs typeface="Calibri"/>
              </a:rPr>
              <a:t>u</a:t>
            </a:r>
            <a:r>
              <a:rPr sz="2300" spc="-20" dirty="0">
                <a:solidFill>
                  <a:prstClr val="black"/>
                </a:solidFill>
                <a:cs typeface="Calibri"/>
              </a:rPr>
              <a:t>m</a:t>
            </a:r>
            <a:r>
              <a:rPr sz="2300" spc="-4" dirty="0">
                <a:solidFill>
                  <a:prstClr val="black"/>
                </a:solidFill>
                <a:cs typeface="Calibri"/>
              </a:rPr>
              <a:t> </a:t>
            </a:r>
            <a:r>
              <a:rPr sz="2300" dirty="0">
                <a:solidFill>
                  <a:prstClr val="black"/>
                </a:solidFill>
                <a:cs typeface="Calibri"/>
              </a:rPr>
              <a:t>of</a:t>
            </a:r>
            <a:r>
              <a:rPr sz="2300" spc="-8" dirty="0">
                <a:solidFill>
                  <a:prstClr val="black"/>
                </a:solidFill>
                <a:cs typeface="Calibri"/>
              </a:rPr>
              <a:t> th</a:t>
            </a:r>
            <a:r>
              <a:rPr sz="2300" spc="-12" dirty="0">
                <a:solidFill>
                  <a:prstClr val="black"/>
                </a:solidFill>
                <a:cs typeface="Calibri"/>
              </a:rPr>
              <a:t>e</a:t>
            </a:r>
            <a:r>
              <a:rPr sz="2300" spc="-8" dirty="0">
                <a:solidFill>
                  <a:prstClr val="black"/>
                </a:solidFill>
                <a:cs typeface="Calibri"/>
              </a:rPr>
              <a:t> </a:t>
            </a:r>
            <a:r>
              <a:rPr sz="2300" spc="-51" dirty="0">
                <a:solidFill>
                  <a:prstClr val="black"/>
                </a:solidFill>
                <a:cs typeface="Calibri"/>
              </a:rPr>
              <a:t>v</a:t>
            </a:r>
            <a:r>
              <a:rPr sz="2300" dirty="0">
                <a:solidFill>
                  <a:prstClr val="black"/>
                </a:solidFill>
                <a:cs typeface="Calibri"/>
              </a:rPr>
              <a:t>a</a:t>
            </a:r>
            <a:r>
              <a:rPr sz="2300" spc="-8" dirty="0">
                <a:solidFill>
                  <a:prstClr val="black"/>
                </a:solidFill>
                <a:cs typeface="Calibri"/>
              </a:rPr>
              <a:t>lu</a:t>
            </a:r>
            <a:r>
              <a:rPr sz="2300" spc="-12" dirty="0">
                <a:solidFill>
                  <a:prstClr val="black"/>
                </a:solidFill>
                <a:cs typeface="Calibri"/>
              </a:rPr>
              <a:t>e</a:t>
            </a:r>
            <a:r>
              <a:rPr sz="2300" spc="-8" dirty="0">
                <a:solidFill>
                  <a:prstClr val="black"/>
                </a:solidFill>
                <a:cs typeface="Calibri"/>
              </a:rPr>
              <a:t> </a:t>
            </a:r>
            <a:r>
              <a:rPr sz="2300" spc="-12" dirty="0">
                <a:solidFill>
                  <a:prstClr val="black"/>
                </a:solidFill>
                <a:cs typeface="Calibri"/>
              </a:rPr>
              <a:t>c</a:t>
            </a:r>
            <a:r>
              <a:rPr sz="2300" spc="-8" dirty="0">
                <a:solidFill>
                  <a:prstClr val="black"/>
                </a:solidFill>
                <a:cs typeface="Calibri"/>
              </a:rPr>
              <a:t>h</a:t>
            </a:r>
            <a:r>
              <a:rPr sz="2300" dirty="0">
                <a:solidFill>
                  <a:prstClr val="black"/>
                </a:solidFill>
                <a:cs typeface="Calibri"/>
              </a:rPr>
              <a:t>a</a:t>
            </a:r>
            <a:r>
              <a:rPr sz="2300" spc="-8" dirty="0">
                <a:solidFill>
                  <a:prstClr val="black"/>
                </a:solidFill>
                <a:cs typeface="Calibri"/>
              </a:rPr>
              <a:t>in:</a:t>
            </a:r>
            <a:r>
              <a:rPr sz="2300" spc="-4" dirty="0">
                <a:solidFill>
                  <a:prstClr val="black"/>
                </a:solidFill>
                <a:cs typeface="Calibri"/>
              </a:rPr>
              <a:t> </a:t>
            </a:r>
            <a:r>
              <a:rPr sz="2300" dirty="0">
                <a:solidFill>
                  <a:prstClr val="black"/>
                </a:solidFill>
                <a:cs typeface="Calibri"/>
              </a:rPr>
              <a:t>o</a:t>
            </a:r>
            <a:r>
              <a:rPr sz="2300" spc="-16" dirty="0">
                <a:solidFill>
                  <a:prstClr val="black"/>
                </a:solidFill>
                <a:cs typeface="Calibri"/>
              </a:rPr>
              <a:t>p</a:t>
            </a:r>
            <a:r>
              <a:rPr sz="2300" spc="-8" dirty="0">
                <a:solidFill>
                  <a:prstClr val="black"/>
                </a:solidFill>
                <a:cs typeface="Calibri"/>
              </a:rPr>
              <a:t>ti</a:t>
            </a:r>
            <a:r>
              <a:rPr sz="2300" spc="-20" dirty="0">
                <a:solidFill>
                  <a:prstClr val="black"/>
                </a:solidFill>
                <a:cs typeface="Calibri"/>
              </a:rPr>
              <a:t>m</a:t>
            </a:r>
            <a:r>
              <a:rPr sz="2300" spc="-8" dirty="0">
                <a:solidFill>
                  <a:prstClr val="black"/>
                </a:solidFill>
                <a:cs typeface="Calibri"/>
              </a:rPr>
              <a:t>i</a:t>
            </a:r>
            <a:r>
              <a:rPr sz="2300" spc="-39" dirty="0">
                <a:solidFill>
                  <a:prstClr val="black"/>
                </a:solidFill>
                <a:cs typeface="Calibri"/>
              </a:rPr>
              <a:t>z</a:t>
            </a:r>
            <a:r>
              <a:rPr sz="2300" spc="-20" dirty="0">
                <a:solidFill>
                  <a:prstClr val="black"/>
                </a:solidFill>
                <a:cs typeface="Calibri"/>
              </a:rPr>
              <a:t>a</a:t>
            </a:r>
            <a:r>
              <a:rPr sz="2300" spc="-8" dirty="0">
                <a:solidFill>
                  <a:prstClr val="black"/>
                </a:solidFill>
                <a:cs typeface="Calibri"/>
              </a:rPr>
              <a:t>ti</a:t>
            </a:r>
            <a:r>
              <a:rPr sz="2300" dirty="0">
                <a:solidFill>
                  <a:prstClr val="black"/>
                </a:solidFill>
                <a:cs typeface="Calibri"/>
              </a:rPr>
              <a:t>o</a:t>
            </a:r>
            <a:r>
              <a:rPr sz="2300" spc="-8" dirty="0">
                <a:solidFill>
                  <a:prstClr val="black"/>
                </a:solidFill>
                <a:cs typeface="Calibri"/>
              </a:rPr>
              <a:t>n</a:t>
            </a:r>
            <a:r>
              <a:rPr sz="2300" dirty="0">
                <a:solidFill>
                  <a:prstClr val="black"/>
                </a:solidFill>
                <a:cs typeface="Calibri"/>
              </a:rPr>
              <a:t>.</a:t>
            </a:r>
          </a:p>
          <a:p>
            <a:pPr>
              <a:lnSpc>
                <a:spcPts val="548"/>
              </a:lnSpc>
              <a:spcBef>
                <a:spcPts val="15"/>
              </a:spcBef>
            </a:pPr>
            <a:endParaRPr sz="500" dirty="0">
              <a:solidFill>
                <a:prstClr val="black"/>
              </a:solidFill>
            </a:endParaRPr>
          </a:p>
          <a:p>
            <a:pPr marL="278328" marR="9941" indent="-268387">
              <a:lnSpc>
                <a:spcPct val="80000"/>
              </a:lnSpc>
              <a:buFont typeface="Arial"/>
              <a:buChar char="•"/>
              <a:tabLst>
                <a:tab pos="277831" algn="l"/>
                <a:tab pos="1744021" algn="l"/>
                <a:tab pos="2106344" algn="l"/>
                <a:tab pos="2618266" algn="l"/>
                <a:tab pos="3523330" algn="l"/>
                <a:tab pos="3878694" algn="l"/>
                <a:tab pos="4391612" algn="l"/>
                <a:tab pos="5524306" algn="l"/>
              </a:tabLst>
            </a:pPr>
            <a:r>
              <a:rPr sz="2300" spc="-4" dirty="0">
                <a:solidFill>
                  <a:prstClr val="black"/>
                </a:solidFill>
                <a:cs typeface="Calibri"/>
              </a:rPr>
              <a:t>C</a:t>
            </a:r>
            <a:r>
              <a:rPr sz="2300" dirty="0">
                <a:solidFill>
                  <a:prstClr val="black"/>
                </a:solidFill>
                <a:cs typeface="Calibri"/>
              </a:rPr>
              <a:t>o</a:t>
            </a:r>
            <a:r>
              <a:rPr sz="2300" spc="-20" dirty="0">
                <a:solidFill>
                  <a:prstClr val="black"/>
                </a:solidFill>
                <a:cs typeface="Calibri"/>
              </a:rPr>
              <a:t>mm</a:t>
            </a:r>
            <a:r>
              <a:rPr sz="2300" spc="-8" dirty="0">
                <a:solidFill>
                  <a:prstClr val="black"/>
                </a:solidFill>
                <a:cs typeface="Calibri"/>
              </a:rPr>
              <a:t>i</a:t>
            </a:r>
            <a:r>
              <a:rPr sz="2300" spc="-43" dirty="0">
                <a:solidFill>
                  <a:prstClr val="black"/>
                </a:solidFill>
                <a:cs typeface="Calibri"/>
              </a:rPr>
              <a:t>t</a:t>
            </a:r>
            <a:r>
              <a:rPr sz="2300" spc="-35" dirty="0">
                <a:solidFill>
                  <a:prstClr val="black"/>
                </a:solidFill>
                <a:cs typeface="Calibri"/>
              </a:rPr>
              <a:t>t</a:t>
            </a:r>
            <a:r>
              <a:rPr sz="2300" spc="-16" dirty="0">
                <a:solidFill>
                  <a:prstClr val="black"/>
                </a:solidFill>
                <a:cs typeface="Calibri"/>
              </a:rPr>
              <a:t>e</a:t>
            </a:r>
            <a:r>
              <a:rPr sz="2300" dirty="0">
                <a:solidFill>
                  <a:prstClr val="black"/>
                </a:solidFill>
                <a:cs typeface="Calibri"/>
              </a:rPr>
              <a:t>d	</a:t>
            </a:r>
            <a:r>
              <a:rPr sz="2300" spc="-27" dirty="0">
                <a:solidFill>
                  <a:prstClr val="black"/>
                </a:solidFill>
                <a:cs typeface="Calibri"/>
              </a:rPr>
              <a:t>t</a:t>
            </a:r>
            <a:r>
              <a:rPr sz="2300" dirty="0">
                <a:solidFill>
                  <a:prstClr val="black"/>
                </a:solidFill>
                <a:cs typeface="Calibri"/>
              </a:rPr>
              <a:t>o	</a:t>
            </a:r>
            <a:r>
              <a:rPr sz="2300" spc="-8" dirty="0">
                <a:solidFill>
                  <a:prstClr val="black"/>
                </a:solidFill>
                <a:cs typeface="Calibri"/>
              </a:rPr>
              <a:t>th</a:t>
            </a:r>
            <a:r>
              <a:rPr sz="2300" spc="-12" dirty="0">
                <a:solidFill>
                  <a:prstClr val="black"/>
                </a:solidFill>
                <a:cs typeface="Calibri"/>
              </a:rPr>
              <a:t>e	</a:t>
            </a:r>
            <a:r>
              <a:rPr sz="2300" spc="-35" dirty="0">
                <a:solidFill>
                  <a:prstClr val="black"/>
                </a:solidFill>
                <a:cs typeface="Calibri"/>
              </a:rPr>
              <a:t>e</a:t>
            </a:r>
            <a:r>
              <a:rPr sz="2300" spc="-23" dirty="0">
                <a:solidFill>
                  <a:prstClr val="black"/>
                </a:solidFill>
                <a:cs typeface="Calibri"/>
              </a:rPr>
              <a:t>f</a:t>
            </a:r>
            <a:r>
              <a:rPr sz="2300" spc="-51" dirty="0">
                <a:solidFill>
                  <a:prstClr val="black"/>
                </a:solidFill>
                <a:cs typeface="Calibri"/>
              </a:rPr>
              <a:t>f</a:t>
            </a:r>
            <a:r>
              <a:rPr sz="2300" dirty="0">
                <a:solidFill>
                  <a:prstClr val="black"/>
                </a:solidFill>
                <a:cs typeface="Calibri"/>
              </a:rPr>
              <a:t>o</a:t>
            </a:r>
            <a:r>
              <a:rPr sz="2300" spc="-16" dirty="0">
                <a:solidFill>
                  <a:prstClr val="black"/>
                </a:solidFill>
                <a:cs typeface="Calibri"/>
              </a:rPr>
              <a:t>r</a:t>
            </a:r>
            <a:r>
              <a:rPr sz="2300" spc="-8" dirty="0">
                <a:solidFill>
                  <a:prstClr val="black"/>
                </a:solidFill>
                <a:cs typeface="Calibri"/>
              </a:rPr>
              <a:t>ts	of	th</a:t>
            </a:r>
            <a:r>
              <a:rPr sz="2300" spc="-12" dirty="0">
                <a:solidFill>
                  <a:prstClr val="black"/>
                </a:solidFill>
                <a:cs typeface="Calibri"/>
              </a:rPr>
              <a:t>e	</a:t>
            </a:r>
            <a:r>
              <a:rPr sz="2300" spc="-16" dirty="0">
                <a:solidFill>
                  <a:prstClr val="black"/>
                </a:solidFill>
                <a:cs typeface="Calibri"/>
              </a:rPr>
              <a:t>B</a:t>
            </a:r>
            <a:r>
              <a:rPr sz="2300" spc="-63" dirty="0">
                <a:solidFill>
                  <a:prstClr val="black"/>
                </a:solidFill>
                <a:cs typeface="Calibri"/>
              </a:rPr>
              <a:t>r</a:t>
            </a:r>
            <a:r>
              <a:rPr sz="2300" dirty="0">
                <a:solidFill>
                  <a:prstClr val="black"/>
                </a:solidFill>
                <a:cs typeface="Calibri"/>
              </a:rPr>
              <a:t>az</a:t>
            </a:r>
            <a:r>
              <a:rPr sz="2300" spc="-8" dirty="0">
                <a:solidFill>
                  <a:prstClr val="black"/>
                </a:solidFill>
                <a:cs typeface="Calibri"/>
              </a:rPr>
              <a:t>ili</a:t>
            </a:r>
            <a:r>
              <a:rPr sz="2300" dirty="0">
                <a:solidFill>
                  <a:prstClr val="black"/>
                </a:solidFill>
                <a:cs typeface="Calibri"/>
              </a:rPr>
              <a:t>an	</a:t>
            </a:r>
            <a:r>
              <a:rPr sz="2300" spc="-12" dirty="0">
                <a:solidFill>
                  <a:prstClr val="black"/>
                </a:solidFill>
                <a:cs typeface="Calibri"/>
              </a:rPr>
              <a:t>Act</a:t>
            </a:r>
            <a:r>
              <a:rPr sz="2300" spc="-8" dirty="0">
                <a:solidFill>
                  <a:prstClr val="black"/>
                </a:solidFill>
                <a:cs typeface="Calibri"/>
              </a:rPr>
              <a:t>i</a:t>
            </a:r>
            <a:r>
              <a:rPr sz="2300" spc="-12" dirty="0">
                <a:solidFill>
                  <a:prstClr val="black"/>
                </a:solidFill>
                <a:cs typeface="Calibri"/>
              </a:rPr>
              <a:t>o</a:t>
            </a:r>
            <a:r>
              <a:rPr sz="2300" dirty="0">
                <a:solidFill>
                  <a:prstClr val="black"/>
                </a:solidFill>
                <a:cs typeface="Calibri"/>
              </a:rPr>
              <a:t>n </a:t>
            </a:r>
            <a:r>
              <a:rPr sz="2300" spc="-20" dirty="0">
                <a:solidFill>
                  <a:prstClr val="black"/>
                </a:solidFill>
                <a:cs typeface="Calibri"/>
              </a:rPr>
              <a:t>P</a:t>
            </a:r>
            <a:r>
              <a:rPr sz="2300" spc="-8" dirty="0">
                <a:solidFill>
                  <a:prstClr val="black"/>
                </a:solidFill>
                <a:cs typeface="Calibri"/>
              </a:rPr>
              <a:t>l</a:t>
            </a:r>
            <a:r>
              <a:rPr sz="2300" dirty="0">
                <a:solidFill>
                  <a:prstClr val="black"/>
                </a:solidFill>
                <a:cs typeface="Calibri"/>
              </a:rPr>
              <a:t>an s</a:t>
            </a:r>
            <a:r>
              <a:rPr sz="2300" spc="-8" dirty="0">
                <a:solidFill>
                  <a:prstClr val="black"/>
                </a:solidFill>
                <a:cs typeface="Calibri"/>
              </a:rPr>
              <a:t>ub</a:t>
            </a:r>
            <a:r>
              <a:rPr sz="2300" spc="-20" dirty="0">
                <a:solidFill>
                  <a:prstClr val="black"/>
                </a:solidFill>
                <a:cs typeface="Calibri"/>
              </a:rPr>
              <a:t>m</a:t>
            </a:r>
            <a:r>
              <a:rPr sz="2300" spc="-8" dirty="0">
                <a:solidFill>
                  <a:prstClr val="black"/>
                </a:solidFill>
                <a:cs typeface="Calibri"/>
              </a:rPr>
              <a:t>i</a:t>
            </a:r>
            <a:r>
              <a:rPr sz="2300" spc="-43" dirty="0">
                <a:solidFill>
                  <a:prstClr val="black"/>
                </a:solidFill>
                <a:cs typeface="Calibri"/>
              </a:rPr>
              <a:t>t</a:t>
            </a:r>
            <a:r>
              <a:rPr sz="2300" spc="-35" dirty="0">
                <a:solidFill>
                  <a:prstClr val="black"/>
                </a:solidFill>
                <a:cs typeface="Calibri"/>
              </a:rPr>
              <a:t>t</a:t>
            </a:r>
            <a:r>
              <a:rPr sz="2300" spc="-16" dirty="0">
                <a:solidFill>
                  <a:prstClr val="black"/>
                </a:solidFill>
                <a:cs typeface="Calibri"/>
              </a:rPr>
              <a:t>e</a:t>
            </a:r>
            <a:r>
              <a:rPr sz="2300" dirty="0">
                <a:solidFill>
                  <a:prstClr val="black"/>
                </a:solidFill>
                <a:cs typeface="Calibri"/>
              </a:rPr>
              <a:t>d</a:t>
            </a:r>
            <a:r>
              <a:rPr sz="2300" spc="-12" dirty="0">
                <a:solidFill>
                  <a:prstClr val="black"/>
                </a:solidFill>
                <a:cs typeface="Calibri"/>
              </a:rPr>
              <a:t> </a:t>
            </a:r>
            <a:r>
              <a:rPr sz="2300" spc="-27" dirty="0">
                <a:solidFill>
                  <a:prstClr val="black"/>
                </a:solidFill>
                <a:cs typeface="Calibri"/>
              </a:rPr>
              <a:t>t</a:t>
            </a:r>
            <a:r>
              <a:rPr sz="2300" dirty="0">
                <a:solidFill>
                  <a:prstClr val="black"/>
                </a:solidFill>
                <a:cs typeface="Calibri"/>
              </a:rPr>
              <a:t>o</a:t>
            </a:r>
            <a:r>
              <a:rPr sz="2300" spc="-4" dirty="0">
                <a:solidFill>
                  <a:prstClr val="black"/>
                </a:solidFill>
                <a:cs typeface="Calibri"/>
              </a:rPr>
              <a:t> </a:t>
            </a:r>
            <a:r>
              <a:rPr sz="2300" spc="-8" dirty="0">
                <a:solidFill>
                  <a:prstClr val="black"/>
                </a:solidFill>
                <a:cs typeface="Calibri"/>
              </a:rPr>
              <a:t>I</a:t>
            </a:r>
            <a:r>
              <a:rPr sz="2300" spc="-4" dirty="0">
                <a:solidFill>
                  <a:prstClr val="black"/>
                </a:solidFill>
                <a:cs typeface="Calibri"/>
              </a:rPr>
              <a:t>C</a:t>
            </a:r>
            <a:r>
              <a:rPr sz="2300" spc="-43" dirty="0">
                <a:solidFill>
                  <a:prstClr val="black"/>
                </a:solidFill>
                <a:cs typeface="Calibri"/>
              </a:rPr>
              <a:t>A</a:t>
            </a:r>
            <a:r>
              <a:rPr sz="2300" spc="-35" dirty="0">
                <a:solidFill>
                  <a:prstClr val="black"/>
                </a:solidFill>
                <a:cs typeface="Calibri"/>
              </a:rPr>
              <a:t>O</a:t>
            </a:r>
            <a:r>
              <a:rPr sz="2300" dirty="0">
                <a:solidFill>
                  <a:prstClr val="black"/>
                </a:solidFill>
                <a:cs typeface="Calibri"/>
              </a:rPr>
              <a:t>.</a:t>
            </a:r>
          </a:p>
        </p:txBody>
      </p:sp>
      <p:sp>
        <p:nvSpPr>
          <p:cNvPr id="6" name="object 6"/>
          <p:cNvSpPr/>
          <p:nvPr/>
        </p:nvSpPr>
        <p:spPr>
          <a:xfrm>
            <a:off x="1497254" y="543564"/>
            <a:ext cx="109467" cy="68464"/>
          </a:xfrm>
          <a:prstGeom prst="rect">
            <a:avLst/>
          </a:prstGeom>
          <a:blipFill>
            <a:blip r:embed="rId2" cstate="print"/>
            <a:stretch>
              <a:fillRect/>
            </a:stretch>
          </a:blipFill>
        </p:spPr>
        <p:txBody>
          <a:bodyPr wrap="square" lIns="0" tIns="0" rIns="0" bIns="0" rtlCol="0">
            <a:noAutofit/>
          </a:bodyPr>
          <a:lstStyle/>
          <a:p>
            <a:endParaRPr smtClean="0">
              <a:solidFill>
                <a:prstClr val="black"/>
              </a:solidFill>
            </a:endParaRPr>
          </a:p>
        </p:txBody>
      </p:sp>
      <p:sp>
        <p:nvSpPr>
          <p:cNvPr id="7" name="object 7"/>
          <p:cNvSpPr/>
          <p:nvPr/>
        </p:nvSpPr>
        <p:spPr>
          <a:xfrm>
            <a:off x="1559806" y="61099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8" name="object 8"/>
          <p:cNvSpPr/>
          <p:nvPr/>
        </p:nvSpPr>
        <p:spPr>
          <a:xfrm>
            <a:off x="1559806" y="61306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9" name="object 9"/>
          <p:cNvSpPr/>
          <p:nvPr/>
        </p:nvSpPr>
        <p:spPr>
          <a:xfrm>
            <a:off x="1557199" y="61514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0" name="object 10"/>
          <p:cNvSpPr/>
          <p:nvPr/>
        </p:nvSpPr>
        <p:spPr>
          <a:xfrm>
            <a:off x="1557199" y="61721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1" name="object 11"/>
          <p:cNvSpPr/>
          <p:nvPr/>
        </p:nvSpPr>
        <p:spPr>
          <a:xfrm>
            <a:off x="1481615" y="609954"/>
            <a:ext cx="130318" cy="12447"/>
          </a:xfrm>
          <a:prstGeom prst="rect">
            <a:avLst/>
          </a:prstGeom>
          <a:blipFill>
            <a:blip r:embed="rId3" cstate="print"/>
            <a:stretch>
              <a:fillRect/>
            </a:stretch>
          </a:blipFill>
        </p:spPr>
        <p:txBody>
          <a:bodyPr wrap="square" lIns="0" tIns="0" rIns="0" bIns="0" rtlCol="0">
            <a:noAutofit/>
          </a:bodyPr>
          <a:lstStyle/>
          <a:p>
            <a:endParaRPr smtClean="0">
              <a:solidFill>
                <a:prstClr val="black"/>
              </a:solidFill>
            </a:endParaRPr>
          </a:p>
        </p:txBody>
      </p:sp>
      <p:sp>
        <p:nvSpPr>
          <p:cNvPr id="12" name="object 12"/>
          <p:cNvSpPr/>
          <p:nvPr/>
        </p:nvSpPr>
        <p:spPr>
          <a:xfrm>
            <a:off x="1554593" y="62136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3" name="object 13"/>
          <p:cNvSpPr/>
          <p:nvPr/>
        </p:nvSpPr>
        <p:spPr>
          <a:xfrm>
            <a:off x="1554593" y="623439"/>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4" name="object 14"/>
          <p:cNvSpPr/>
          <p:nvPr/>
        </p:nvSpPr>
        <p:spPr>
          <a:xfrm>
            <a:off x="1554593" y="62551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5" name="object 15"/>
          <p:cNvSpPr/>
          <p:nvPr/>
        </p:nvSpPr>
        <p:spPr>
          <a:xfrm>
            <a:off x="1551987" y="62966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6" name="object 16"/>
          <p:cNvSpPr/>
          <p:nvPr/>
        </p:nvSpPr>
        <p:spPr>
          <a:xfrm>
            <a:off x="1551987" y="6317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7" name="object 17"/>
          <p:cNvSpPr/>
          <p:nvPr/>
        </p:nvSpPr>
        <p:spPr>
          <a:xfrm>
            <a:off x="1549380" y="63796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8" name="object 18"/>
          <p:cNvSpPr/>
          <p:nvPr/>
        </p:nvSpPr>
        <p:spPr>
          <a:xfrm>
            <a:off x="1458157" y="620328"/>
            <a:ext cx="158988" cy="26970"/>
          </a:xfrm>
          <a:prstGeom prst="rect">
            <a:avLst/>
          </a:prstGeom>
          <a:blipFill>
            <a:blip r:embed="rId4" cstate="print"/>
            <a:stretch>
              <a:fillRect/>
            </a:stretch>
          </a:blipFill>
        </p:spPr>
        <p:txBody>
          <a:bodyPr wrap="square" lIns="0" tIns="0" rIns="0" bIns="0" rtlCol="0">
            <a:noAutofit/>
          </a:bodyPr>
          <a:lstStyle/>
          <a:p>
            <a:endParaRPr smtClean="0">
              <a:solidFill>
                <a:prstClr val="black"/>
              </a:solidFill>
            </a:endParaRPr>
          </a:p>
        </p:txBody>
      </p:sp>
      <p:sp>
        <p:nvSpPr>
          <p:cNvPr id="19" name="object 19"/>
          <p:cNvSpPr/>
          <p:nvPr/>
        </p:nvSpPr>
        <p:spPr>
          <a:xfrm>
            <a:off x="1546774" y="64626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0" name="object 20"/>
          <p:cNvSpPr/>
          <p:nvPr/>
        </p:nvSpPr>
        <p:spPr>
          <a:xfrm>
            <a:off x="1538955" y="6690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1" name="object 21"/>
          <p:cNvSpPr/>
          <p:nvPr/>
        </p:nvSpPr>
        <p:spPr>
          <a:xfrm>
            <a:off x="1538955" y="67115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2" name="object 22"/>
          <p:cNvSpPr/>
          <p:nvPr/>
        </p:nvSpPr>
        <p:spPr>
          <a:xfrm>
            <a:off x="1538955" y="6732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3" name="object 23"/>
          <p:cNvSpPr/>
          <p:nvPr/>
        </p:nvSpPr>
        <p:spPr>
          <a:xfrm>
            <a:off x="1536348" y="67738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4" name="object 24"/>
          <p:cNvSpPr/>
          <p:nvPr/>
        </p:nvSpPr>
        <p:spPr>
          <a:xfrm>
            <a:off x="1536348" y="67945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5" name="object 25"/>
          <p:cNvSpPr/>
          <p:nvPr/>
        </p:nvSpPr>
        <p:spPr>
          <a:xfrm>
            <a:off x="1197519" y="537341"/>
            <a:ext cx="289309" cy="163900"/>
          </a:xfrm>
          <a:prstGeom prst="rect">
            <a:avLst/>
          </a:prstGeom>
          <a:blipFill>
            <a:blip r:embed="rId5" cstate="print"/>
            <a:stretch>
              <a:fillRect/>
            </a:stretch>
          </a:blipFill>
        </p:spPr>
        <p:txBody>
          <a:bodyPr wrap="square" lIns="0" tIns="0" rIns="0" bIns="0" rtlCol="0">
            <a:noAutofit/>
          </a:bodyPr>
          <a:lstStyle/>
          <a:p>
            <a:endParaRPr smtClean="0">
              <a:solidFill>
                <a:prstClr val="black"/>
              </a:solidFill>
            </a:endParaRPr>
          </a:p>
        </p:txBody>
      </p:sp>
      <p:sp>
        <p:nvSpPr>
          <p:cNvPr id="26" name="object 26"/>
          <p:cNvSpPr/>
          <p:nvPr/>
        </p:nvSpPr>
        <p:spPr>
          <a:xfrm>
            <a:off x="1471189" y="70020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7" name="object 27"/>
          <p:cNvSpPr/>
          <p:nvPr/>
        </p:nvSpPr>
        <p:spPr>
          <a:xfrm>
            <a:off x="1471189" y="70227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8" name="object 28"/>
          <p:cNvSpPr/>
          <p:nvPr/>
        </p:nvSpPr>
        <p:spPr>
          <a:xfrm>
            <a:off x="1473796" y="70435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9" name="object 29"/>
          <p:cNvSpPr/>
          <p:nvPr/>
        </p:nvSpPr>
        <p:spPr>
          <a:xfrm>
            <a:off x="1473796" y="70642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0" name="object 30"/>
          <p:cNvSpPr/>
          <p:nvPr/>
        </p:nvSpPr>
        <p:spPr>
          <a:xfrm>
            <a:off x="1580657" y="72302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1" name="object 31"/>
          <p:cNvSpPr/>
          <p:nvPr/>
        </p:nvSpPr>
        <p:spPr>
          <a:xfrm>
            <a:off x="1119327" y="82053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2" name="object 32"/>
          <p:cNvSpPr/>
          <p:nvPr/>
        </p:nvSpPr>
        <p:spPr>
          <a:xfrm>
            <a:off x="1116722" y="645224"/>
            <a:ext cx="518669" cy="184647"/>
          </a:xfrm>
          <a:prstGeom prst="rect">
            <a:avLst/>
          </a:prstGeom>
          <a:blipFill>
            <a:blip r:embed="rId6" cstate="print"/>
            <a:stretch>
              <a:fillRect/>
            </a:stretch>
          </a:blipFill>
        </p:spPr>
        <p:txBody>
          <a:bodyPr wrap="square" lIns="0" tIns="0" rIns="0" bIns="0" rtlCol="0">
            <a:noAutofit/>
          </a:bodyPr>
          <a:lstStyle/>
          <a:p>
            <a:endParaRPr smtClean="0">
              <a:solidFill>
                <a:prstClr val="black"/>
              </a:solidFill>
            </a:endParaRPr>
          </a:p>
        </p:txBody>
      </p:sp>
      <p:sp>
        <p:nvSpPr>
          <p:cNvPr id="33" name="object 33"/>
          <p:cNvSpPr/>
          <p:nvPr/>
        </p:nvSpPr>
        <p:spPr>
          <a:xfrm>
            <a:off x="1502466" y="82883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4" name="object 34"/>
          <p:cNvSpPr/>
          <p:nvPr/>
        </p:nvSpPr>
        <p:spPr>
          <a:xfrm>
            <a:off x="1119327" y="83298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5" name="object 35"/>
          <p:cNvSpPr/>
          <p:nvPr/>
        </p:nvSpPr>
        <p:spPr>
          <a:xfrm>
            <a:off x="1119327" y="83505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6" name="object 36"/>
          <p:cNvSpPr/>
          <p:nvPr/>
        </p:nvSpPr>
        <p:spPr>
          <a:xfrm>
            <a:off x="1119327" y="8371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7" name="object 37"/>
          <p:cNvSpPr/>
          <p:nvPr/>
        </p:nvSpPr>
        <p:spPr>
          <a:xfrm>
            <a:off x="1119327" y="83920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8" name="object 38"/>
          <p:cNvSpPr/>
          <p:nvPr/>
        </p:nvSpPr>
        <p:spPr>
          <a:xfrm>
            <a:off x="1119327" y="8412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9" name="object 39"/>
          <p:cNvSpPr/>
          <p:nvPr/>
        </p:nvSpPr>
        <p:spPr>
          <a:xfrm>
            <a:off x="1116721" y="827797"/>
            <a:ext cx="648988" cy="141078"/>
          </a:xfrm>
          <a:prstGeom prst="rect">
            <a:avLst/>
          </a:prstGeom>
          <a:blipFill>
            <a:blip r:embed="rId7" cstate="print"/>
            <a:stretch>
              <a:fillRect/>
            </a:stretch>
          </a:blipFill>
        </p:spPr>
        <p:txBody>
          <a:bodyPr wrap="square" lIns="0" tIns="0" rIns="0" bIns="0" rtlCol="0">
            <a:noAutofit/>
          </a:bodyPr>
          <a:lstStyle/>
          <a:p>
            <a:endParaRPr smtClean="0">
              <a:solidFill>
                <a:prstClr val="black"/>
              </a:solidFill>
            </a:endParaRPr>
          </a:p>
        </p:txBody>
      </p:sp>
      <p:sp>
        <p:nvSpPr>
          <p:cNvPr id="40" name="object 40"/>
          <p:cNvSpPr/>
          <p:nvPr/>
        </p:nvSpPr>
        <p:spPr>
          <a:xfrm>
            <a:off x="1567625" y="9678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41" name="object 41"/>
          <p:cNvSpPr/>
          <p:nvPr/>
        </p:nvSpPr>
        <p:spPr>
          <a:xfrm>
            <a:off x="1538955" y="966801"/>
            <a:ext cx="213722" cy="43568"/>
          </a:xfrm>
          <a:prstGeom prst="rect">
            <a:avLst/>
          </a:prstGeom>
          <a:blipFill>
            <a:blip r:embed="rId8" cstate="print"/>
            <a:stretch>
              <a:fillRect/>
            </a:stretch>
          </a:blipFill>
        </p:spPr>
        <p:txBody>
          <a:bodyPr wrap="square" lIns="0" tIns="0" rIns="0" bIns="0" rtlCol="0">
            <a:noAutofit/>
          </a:bodyPr>
          <a:lstStyle/>
          <a:p>
            <a:endParaRPr smtClean="0">
              <a:solidFill>
                <a:prstClr val="black"/>
              </a:solidFill>
            </a:endParaRPr>
          </a:p>
        </p:txBody>
      </p:sp>
      <p:sp>
        <p:nvSpPr>
          <p:cNvPr id="42" name="object 42"/>
          <p:cNvSpPr/>
          <p:nvPr/>
        </p:nvSpPr>
        <p:spPr>
          <a:xfrm>
            <a:off x="1742251" y="100933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43" name="object 43"/>
          <p:cNvSpPr/>
          <p:nvPr/>
        </p:nvSpPr>
        <p:spPr>
          <a:xfrm>
            <a:off x="1168849" y="968875"/>
            <a:ext cx="466542" cy="107888"/>
          </a:xfrm>
          <a:prstGeom prst="rect">
            <a:avLst/>
          </a:prstGeom>
          <a:blipFill>
            <a:blip r:embed="rId9" cstate="print"/>
            <a:stretch>
              <a:fillRect/>
            </a:stretch>
          </a:blipFill>
        </p:spPr>
        <p:txBody>
          <a:bodyPr wrap="square" lIns="0" tIns="0" rIns="0" bIns="0" rtlCol="0">
            <a:noAutofit/>
          </a:bodyPr>
          <a:lstStyle/>
          <a:p>
            <a:endParaRPr smtClean="0">
              <a:solidFill>
                <a:prstClr val="black"/>
              </a:solidFill>
            </a:endParaRPr>
          </a:p>
        </p:txBody>
      </p:sp>
      <p:sp>
        <p:nvSpPr>
          <p:cNvPr id="44" name="object 44"/>
          <p:cNvSpPr txBox="1"/>
          <p:nvPr/>
        </p:nvSpPr>
        <p:spPr>
          <a:xfrm>
            <a:off x="3200400" y="438150"/>
            <a:ext cx="3445290" cy="300398"/>
          </a:xfrm>
          <a:prstGeom prst="rect">
            <a:avLst/>
          </a:prstGeom>
        </p:spPr>
        <p:txBody>
          <a:bodyPr vert="horz" wrap="square" lIns="0" tIns="0" rIns="0" bIns="0" rtlCol="0">
            <a:noAutofit/>
          </a:bodyPr>
          <a:lstStyle/>
          <a:p>
            <a:pPr marL="9941"/>
            <a:r>
              <a:rPr sz="2100" spc="27" dirty="0">
                <a:solidFill>
                  <a:srgbClr val="948A53"/>
                </a:solidFill>
                <a:cs typeface="Calibri"/>
              </a:rPr>
              <a:t>B</a:t>
            </a:r>
            <a:r>
              <a:rPr sz="2100" spc="-47" dirty="0">
                <a:solidFill>
                  <a:srgbClr val="948A53"/>
                </a:solidFill>
                <a:cs typeface="Calibri"/>
              </a:rPr>
              <a:t>r</a:t>
            </a:r>
            <a:r>
              <a:rPr sz="2100" spc="27" dirty="0">
                <a:solidFill>
                  <a:srgbClr val="948A53"/>
                </a:solidFill>
                <a:cs typeface="Calibri"/>
              </a:rPr>
              <a:t>a</a:t>
            </a:r>
            <a:r>
              <a:rPr sz="2100" spc="-8" dirty="0">
                <a:solidFill>
                  <a:srgbClr val="948A53"/>
                </a:solidFill>
                <a:cs typeface="Calibri"/>
              </a:rPr>
              <a:t>z</a:t>
            </a:r>
            <a:r>
              <a:rPr sz="2100" spc="27" dirty="0">
                <a:solidFill>
                  <a:srgbClr val="948A53"/>
                </a:solidFill>
                <a:cs typeface="Calibri"/>
              </a:rPr>
              <a:t>ilia</a:t>
            </a:r>
            <a:r>
              <a:rPr sz="2100" spc="20" dirty="0">
                <a:solidFill>
                  <a:srgbClr val="948A53"/>
                </a:solidFill>
                <a:cs typeface="Calibri"/>
              </a:rPr>
              <a:t>n</a:t>
            </a:r>
            <a:r>
              <a:rPr sz="2100" spc="23" dirty="0">
                <a:solidFill>
                  <a:srgbClr val="948A53"/>
                </a:solidFill>
                <a:cs typeface="Calibri"/>
              </a:rPr>
              <a:t> </a:t>
            </a:r>
            <a:r>
              <a:rPr sz="2100" spc="27" dirty="0">
                <a:solidFill>
                  <a:srgbClr val="948A53"/>
                </a:solidFill>
                <a:cs typeface="Calibri"/>
              </a:rPr>
              <a:t>Bi</a:t>
            </a:r>
            <a:r>
              <a:rPr sz="2100" spc="20" dirty="0">
                <a:solidFill>
                  <a:srgbClr val="948A53"/>
                </a:solidFill>
                <a:cs typeface="Calibri"/>
              </a:rPr>
              <a:t>oj</a:t>
            </a:r>
            <a:r>
              <a:rPr sz="2100" spc="-16" dirty="0">
                <a:solidFill>
                  <a:srgbClr val="948A53"/>
                </a:solidFill>
                <a:cs typeface="Calibri"/>
              </a:rPr>
              <a:t>e</a:t>
            </a:r>
            <a:r>
              <a:rPr sz="2100" spc="20" dirty="0">
                <a:solidFill>
                  <a:srgbClr val="948A53"/>
                </a:solidFill>
                <a:cs typeface="Calibri"/>
              </a:rPr>
              <a:t>t</a:t>
            </a:r>
            <a:r>
              <a:rPr sz="2100" spc="12" dirty="0">
                <a:solidFill>
                  <a:srgbClr val="948A53"/>
                </a:solidFill>
                <a:cs typeface="Calibri"/>
              </a:rPr>
              <a:t>f</a:t>
            </a:r>
            <a:r>
              <a:rPr sz="2100" spc="20" dirty="0">
                <a:solidFill>
                  <a:srgbClr val="948A53"/>
                </a:solidFill>
                <a:cs typeface="Calibri"/>
              </a:rPr>
              <a:t>u</a:t>
            </a:r>
            <a:r>
              <a:rPr sz="2100" spc="4" dirty="0">
                <a:solidFill>
                  <a:srgbClr val="948A53"/>
                </a:solidFill>
                <a:cs typeface="Calibri"/>
              </a:rPr>
              <a:t>e</a:t>
            </a:r>
            <a:r>
              <a:rPr sz="2100" spc="31" dirty="0">
                <a:solidFill>
                  <a:srgbClr val="948A53"/>
                </a:solidFill>
                <a:cs typeface="Calibri"/>
              </a:rPr>
              <a:t>l</a:t>
            </a:r>
            <a:r>
              <a:rPr sz="2100" spc="16" dirty="0">
                <a:solidFill>
                  <a:srgbClr val="948A53"/>
                </a:solidFill>
                <a:cs typeface="Calibri"/>
              </a:rPr>
              <a:t> </a:t>
            </a:r>
            <a:r>
              <a:rPr sz="2100" spc="20" dirty="0">
                <a:solidFill>
                  <a:srgbClr val="948A53"/>
                </a:solidFill>
                <a:cs typeface="Calibri"/>
              </a:rPr>
              <a:t>P</a:t>
            </a:r>
            <a:r>
              <a:rPr sz="2100" spc="27" dirty="0">
                <a:solidFill>
                  <a:srgbClr val="948A53"/>
                </a:solidFill>
                <a:cs typeface="Calibri"/>
              </a:rPr>
              <a:t>l</a:t>
            </a:r>
            <a:r>
              <a:rPr sz="2100" spc="8" dirty="0">
                <a:solidFill>
                  <a:srgbClr val="948A53"/>
                </a:solidFill>
                <a:cs typeface="Calibri"/>
              </a:rPr>
              <a:t>a</a:t>
            </a:r>
            <a:r>
              <a:rPr sz="2100" spc="20" dirty="0">
                <a:solidFill>
                  <a:srgbClr val="948A53"/>
                </a:solidFill>
                <a:cs typeface="Calibri"/>
              </a:rPr>
              <a:t>t</a:t>
            </a:r>
            <a:r>
              <a:rPr sz="2100" spc="-16" dirty="0">
                <a:solidFill>
                  <a:srgbClr val="948A53"/>
                </a:solidFill>
                <a:cs typeface="Calibri"/>
              </a:rPr>
              <a:t>f</a:t>
            </a:r>
            <a:r>
              <a:rPr sz="2100" spc="20" dirty="0">
                <a:solidFill>
                  <a:srgbClr val="948A53"/>
                </a:solidFill>
                <a:cs typeface="Calibri"/>
              </a:rPr>
              <a:t>o</a:t>
            </a:r>
            <a:r>
              <a:rPr sz="2100" dirty="0">
                <a:solidFill>
                  <a:srgbClr val="948A53"/>
                </a:solidFill>
                <a:cs typeface="Calibri"/>
              </a:rPr>
              <a:t>r</a:t>
            </a:r>
            <a:r>
              <a:rPr sz="2100" spc="16" dirty="0">
                <a:solidFill>
                  <a:srgbClr val="948A53"/>
                </a:solidFill>
                <a:cs typeface="Calibri"/>
              </a:rPr>
              <a:t>m</a:t>
            </a:r>
            <a:endParaRPr sz="2100" dirty="0">
              <a:solidFill>
                <a:prstClr val="black"/>
              </a:solidFill>
              <a:cs typeface="Calibri"/>
            </a:endParaRPr>
          </a:p>
        </p:txBody>
      </p:sp>
    </p:spTree>
    <p:extLst>
      <p:ext uri="{BB962C8B-B14F-4D97-AF65-F5344CB8AC3E}">
        <p14:creationId xmlns:p14="http://schemas.microsoft.com/office/powerpoint/2010/main" val="256467247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868231" y="4684647"/>
            <a:ext cx="709149" cy="138313"/>
          </a:xfrm>
          <a:prstGeom prst="rect">
            <a:avLst/>
          </a:prstGeom>
        </p:spPr>
        <p:txBody>
          <a:bodyPr vert="horz" wrap="square" lIns="0" tIns="0" rIns="0" bIns="0" rtlCol="0">
            <a:noAutofit/>
          </a:bodyPr>
          <a:lstStyle/>
          <a:p>
            <a:pPr marL="9941"/>
            <a:r>
              <a:rPr sz="900" spc="-20" dirty="0">
                <a:solidFill>
                  <a:prstClr val="black"/>
                </a:solidFill>
                <a:cs typeface="Calibri"/>
              </a:rPr>
              <a:t>F</a:t>
            </a:r>
            <a:r>
              <a:rPr sz="900" spc="8" dirty="0">
                <a:solidFill>
                  <a:prstClr val="black"/>
                </a:solidFill>
                <a:cs typeface="Calibri"/>
              </a:rPr>
              <a:t>o</a:t>
            </a:r>
            <a:r>
              <a:rPr sz="900" dirty="0">
                <a:solidFill>
                  <a:prstClr val="black"/>
                </a:solidFill>
                <a:cs typeface="Calibri"/>
              </a:rPr>
              <a:t>nte</a:t>
            </a:r>
            <a:r>
              <a:rPr sz="900" spc="4" dirty="0">
                <a:solidFill>
                  <a:prstClr val="black"/>
                </a:solidFill>
                <a:cs typeface="Calibri"/>
              </a:rPr>
              <a:t>: </a:t>
            </a:r>
            <a:r>
              <a:rPr sz="900" spc="-8" dirty="0">
                <a:solidFill>
                  <a:prstClr val="black"/>
                </a:solidFill>
                <a:cs typeface="Calibri"/>
              </a:rPr>
              <a:t> </a:t>
            </a:r>
            <a:r>
              <a:rPr sz="900" spc="-4" dirty="0">
                <a:solidFill>
                  <a:prstClr val="black"/>
                </a:solidFill>
                <a:cs typeface="Calibri"/>
              </a:rPr>
              <a:t>S</a:t>
            </a:r>
            <a:r>
              <a:rPr sz="900" spc="23" dirty="0">
                <a:solidFill>
                  <a:prstClr val="black"/>
                </a:solidFill>
                <a:cs typeface="Calibri"/>
              </a:rPr>
              <a:t>A</a:t>
            </a:r>
            <a:r>
              <a:rPr sz="900" spc="8" dirty="0">
                <a:solidFill>
                  <a:prstClr val="black"/>
                </a:solidFill>
                <a:cs typeface="Calibri"/>
              </a:rPr>
              <a:t>B</a:t>
            </a:r>
            <a:r>
              <a:rPr sz="900" spc="12" dirty="0">
                <a:solidFill>
                  <a:prstClr val="black"/>
                </a:solidFill>
                <a:cs typeface="Calibri"/>
              </a:rPr>
              <a:t>B</a:t>
            </a:r>
            <a:endParaRPr sz="900">
              <a:solidFill>
                <a:prstClr val="black"/>
              </a:solidFill>
              <a:cs typeface="Calibri"/>
            </a:endParaRPr>
          </a:p>
        </p:txBody>
      </p:sp>
      <p:sp>
        <p:nvSpPr>
          <p:cNvPr id="3" name="object 3"/>
          <p:cNvSpPr/>
          <p:nvPr/>
        </p:nvSpPr>
        <p:spPr>
          <a:xfrm>
            <a:off x="1800894" y="977179"/>
            <a:ext cx="6121050" cy="3699171"/>
          </a:xfrm>
          <a:prstGeom prst="rect">
            <a:avLst/>
          </a:prstGeom>
          <a:blipFill>
            <a:blip r:embed="rId2" cstate="print"/>
            <a:stretch>
              <a:fillRect/>
            </a:stretch>
          </a:blipFill>
        </p:spPr>
        <p:txBody>
          <a:bodyPr wrap="square" lIns="0" tIns="0" rIns="0" bIns="0" rtlCol="0">
            <a:noAutofit/>
          </a:bodyPr>
          <a:lstStyle/>
          <a:p>
            <a:endParaRPr smtClean="0">
              <a:solidFill>
                <a:prstClr val="black"/>
              </a:solidFill>
            </a:endParaRPr>
          </a:p>
        </p:txBody>
      </p:sp>
      <p:sp>
        <p:nvSpPr>
          <p:cNvPr id="4" name="object 4"/>
          <p:cNvSpPr txBox="1">
            <a:spLocks noGrp="1"/>
          </p:cNvSpPr>
          <p:nvPr>
            <p:ph type="title"/>
          </p:nvPr>
        </p:nvSpPr>
        <p:spPr>
          <a:prstGeom prst="rect">
            <a:avLst/>
          </a:prstGeom>
        </p:spPr>
        <p:txBody>
          <a:bodyPr vert="horz" wrap="square" lIns="0" tIns="0" rIns="0" bIns="0" rtlCol="0">
            <a:noAutofit/>
          </a:bodyPr>
          <a:lstStyle/>
          <a:p>
            <a:pPr marL="355861"/>
            <a:r>
              <a:rPr sz="2200" spc="-12" dirty="0">
                <a:solidFill>
                  <a:srgbClr val="948A53"/>
                </a:solidFill>
                <a:latin typeface="Calibri"/>
                <a:cs typeface="Calibri"/>
              </a:rPr>
              <a:t>S</a:t>
            </a:r>
            <a:r>
              <a:rPr sz="2200" spc="43" dirty="0">
                <a:solidFill>
                  <a:srgbClr val="948A53"/>
                </a:solidFill>
                <a:latin typeface="Calibri"/>
                <a:cs typeface="Calibri"/>
              </a:rPr>
              <a:t>A</a:t>
            </a:r>
            <a:r>
              <a:rPr sz="2200" spc="27" dirty="0">
                <a:solidFill>
                  <a:srgbClr val="948A53"/>
                </a:solidFill>
                <a:latin typeface="Calibri"/>
                <a:cs typeface="Calibri"/>
              </a:rPr>
              <a:t>B</a:t>
            </a:r>
            <a:r>
              <a:rPr sz="2200" spc="23" dirty="0">
                <a:solidFill>
                  <a:srgbClr val="948A53"/>
                </a:solidFill>
                <a:latin typeface="Calibri"/>
                <a:cs typeface="Calibri"/>
              </a:rPr>
              <a:t>B </a:t>
            </a:r>
            <a:r>
              <a:rPr sz="2200" spc="-8" dirty="0">
                <a:solidFill>
                  <a:srgbClr val="948A53"/>
                </a:solidFill>
                <a:latin typeface="Calibri"/>
                <a:cs typeface="Calibri"/>
              </a:rPr>
              <a:t>-</a:t>
            </a:r>
            <a:r>
              <a:rPr sz="2200" spc="8" dirty="0">
                <a:solidFill>
                  <a:srgbClr val="948A53"/>
                </a:solidFill>
                <a:latin typeface="Calibri"/>
                <a:cs typeface="Calibri"/>
              </a:rPr>
              <a:t> </a:t>
            </a:r>
            <a:r>
              <a:rPr sz="2200" spc="27" dirty="0">
                <a:solidFill>
                  <a:srgbClr val="948A53"/>
                </a:solidFill>
                <a:latin typeface="Calibri"/>
                <a:cs typeface="Calibri"/>
              </a:rPr>
              <a:t>Bi</a:t>
            </a:r>
            <a:r>
              <a:rPr sz="2200" spc="4" dirty="0">
                <a:solidFill>
                  <a:srgbClr val="948A53"/>
                </a:solidFill>
                <a:latin typeface="Calibri"/>
                <a:cs typeface="Calibri"/>
              </a:rPr>
              <a:t>o</a:t>
            </a:r>
            <a:r>
              <a:rPr sz="2200" spc="35" dirty="0">
                <a:solidFill>
                  <a:srgbClr val="948A53"/>
                </a:solidFill>
                <a:latin typeface="Calibri"/>
                <a:cs typeface="Calibri"/>
              </a:rPr>
              <a:t>j</a:t>
            </a:r>
            <a:r>
              <a:rPr sz="2200" spc="-23" dirty="0">
                <a:solidFill>
                  <a:srgbClr val="948A53"/>
                </a:solidFill>
                <a:latin typeface="Calibri"/>
                <a:cs typeface="Calibri"/>
              </a:rPr>
              <a:t>e</a:t>
            </a:r>
            <a:r>
              <a:rPr sz="2200" spc="20" dirty="0">
                <a:solidFill>
                  <a:srgbClr val="948A53"/>
                </a:solidFill>
                <a:latin typeface="Calibri"/>
                <a:cs typeface="Calibri"/>
              </a:rPr>
              <a:t>tfu</a:t>
            </a:r>
            <a:r>
              <a:rPr sz="2200" spc="-4" dirty="0">
                <a:solidFill>
                  <a:srgbClr val="948A53"/>
                </a:solidFill>
                <a:latin typeface="Calibri"/>
                <a:cs typeface="Calibri"/>
              </a:rPr>
              <a:t>e</a:t>
            </a:r>
            <a:r>
              <a:rPr sz="2200" spc="31" dirty="0">
                <a:solidFill>
                  <a:srgbClr val="948A53"/>
                </a:solidFill>
                <a:latin typeface="Calibri"/>
                <a:cs typeface="Calibri"/>
              </a:rPr>
              <a:t>l</a:t>
            </a:r>
            <a:r>
              <a:rPr sz="2200" spc="20" dirty="0">
                <a:solidFill>
                  <a:srgbClr val="948A53"/>
                </a:solidFill>
                <a:latin typeface="Calibri"/>
                <a:cs typeface="Calibri"/>
              </a:rPr>
              <a:t> </a:t>
            </a:r>
            <a:r>
              <a:rPr sz="2200" spc="-43" dirty="0">
                <a:solidFill>
                  <a:srgbClr val="948A53"/>
                </a:solidFill>
                <a:latin typeface="Calibri"/>
                <a:cs typeface="Calibri"/>
              </a:rPr>
              <a:t>g</a:t>
            </a:r>
            <a:r>
              <a:rPr sz="2200" spc="20" dirty="0">
                <a:solidFill>
                  <a:srgbClr val="948A53"/>
                </a:solidFill>
                <a:latin typeface="Calibri"/>
                <a:cs typeface="Calibri"/>
              </a:rPr>
              <a:t>ap</a:t>
            </a:r>
            <a:r>
              <a:rPr sz="2200" spc="12" dirty="0">
                <a:solidFill>
                  <a:srgbClr val="948A53"/>
                </a:solidFill>
                <a:latin typeface="Calibri"/>
                <a:cs typeface="Calibri"/>
              </a:rPr>
              <a:t> </a:t>
            </a:r>
            <a:r>
              <a:rPr sz="2200" spc="20" dirty="0">
                <a:solidFill>
                  <a:srgbClr val="948A53"/>
                </a:solidFill>
                <a:latin typeface="Calibri"/>
                <a:cs typeface="Calibri"/>
              </a:rPr>
              <a:t>ana</a:t>
            </a:r>
            <a:r>
              <a:rPr sz="2200" spc="27" dirty="0">
                <a:solidFill>
                  <a:srgbClr val="948A53"/>
                </a:solidFill>
                <a:latin typeface="Calibri"/>
                <a:cs typeface="Calibri"/>
              </a:rPr>
              <a:t>l</a:t>
            </a:r>
            <a:r>
              <a:rPr sz="2200" spc="23" dirty="0">
                <a:solidFill>
                  <a:srgbClr val="948A53"/>
                </a:solidFill>
                <a:latin typeface="Calibri"/>
                <a:cs typeface="Calibri"/>
              </a:rPr>
              <a:t>y</a:t>
            </a:r>
            <a:r>
              <a:rPr sz="2200" spc="8" dirty="0">
                <a:solidFill>
                  <a:srgbClr val="948A53"/>
                </a:solidFill>
                <a:latin typeface="Calibri"/>
                <a:cs typeface="Calibri"/>
              </a:rPr>
              <a:t>s</a:t>
            </a:r>
            <a:r>
              <a:rPr sz="2200" spc="27" dirty="0">
                <a:solidFill>
                  <a:srgbClr val="948A53"/>
                </a:solidFill>
                <a:latin typeface="Calibri"/>
                <a:cs typeface="Calibri"/>
              </a:rPr>
              <a:t>i</a:t>
            </a:r>
            <a:r>
              <a:rPr sz="2200" spc="8" dirty="0">
                <a:solidFill>
                  <a:srgbClr val="948A53"/>
                </a:solidFill>
                <a:latin typeface="Calibri"/>
                <a:cs typeface="Calibri"/>
              </a:rPr>
              <a:t>s</a:t>
            </a:r>
            <a:endParaRPr sz="2200">
              <a:latin typeface="Calibri"/>
              <a:cs typeface="Calibri"/>
            </a:endParaRPr>
          </a:p>
        </p:txBody>
      </p:sp>
      <p:sp>
        <p:nvSpPr>
          <p:cNvPr id="5" name="object 5"/>
          <p:cNvSpPr/>
          <p:nvPr/>
        </p:nvSpPr>
        <p:spPr>
          <a:xfrm>
            <a:off x="1497254" y="543564"/>
            <a:ext cx="109467" cy="68464"/>
          </a:xfrm>
          <a:prstGeom prst="rect">
            <a:avLst/>
          </a:prstGeom>
          <a:blipFill>
            <a:blip r:embed="rId3" cstate="print"/>
            <a:stretch>
              <a:fillRect/>
            </a:stretch>
          </a:blipFill>
        </p:spPr>
        <p:txBody>
          <a:bodyPr wrap="square" lIns="0" tIns="0" rIns="0" bIns="0" rtlCol="0">
            <a:noAutofit/>
          </a:bodyPr>
          <a:lstStyle/>
          <a:p>
            <a:endParaRPr smtClean="0">
              <a:solidFill>
                <a:prstClr val="black"/>
              </a:solidFill>
            </a:endParaRPr>
          </a:p>
        </p:txBody>
      </p:sp>
      <p:sp>
        <p:nvSpPr>
          <p:cNvPr id="6" name="object 6"/>
          <p:cNvSpPr/>
          <p:nvPr/>
        </p:nvSpPr>
        <p:spPr>
          <a:xfrm>
            <a:off x="1559806" y="61099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7" name="object 7"/>
          <p:cNvSpPr/>
          <p:nvPr/>
        </p:nvSpPr>
        <p:spPr>
          <a:xfrm>
            <a:off x="1559806" y="61306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8" name="object 8"/>
          <p:cNvSpPr/>
          <p:nvPr/>
        </p:nvSpPr>
        <p:spPr>
          <a:xfrm>
            <a:off x="1557199" y="61514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9" name="object 9"/>
          <p:cNvSpPr/>
          <p:nvPr/>
        </p:nvSpPr>
        <p:spPr>
          <a:xfrm>
            <a:off x="1557199" y="61721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0" name="object 10"/>
          <p:cNvSpPr/>
          <p:nvPr/>
        </p:nvSpPr>
        <p:spPr>
          <a:xfrm>
            <a:off x="1481615" y="609954"/>
            <a:ext cx="130318" cy="12447"/>
          </a:xfrm>
          <a:prstGeom prst="rect">
            <a:avLst/>
          </a:prstGeom>
          <a:blipFill>
            <a:blip r:embed="rId4" cstate="print"/>
            <a:stretch>
              <a:fillRect/>
            </a:stretch>
          </a:blipFill>
        </p:spPr>
        <p:txBody>
          <a:bodyPr wrap="square" lIns="0" tIns="0" rIns="0" bIns="0" rtlCol="0">
            <a:noAutofit/>
          </a:bodyPr>
          <a:lstStyle/>
          <a:p>
            <a:endParaRPr smtClean="0">
              <a:solidFill>
                <a:prstClr val="black"/>
              </a:solidFill>
            </a:endParaRPr>
          </a:p>
        </p:txBody>
      </p:sp>
      <p:sp>
        <p:nvSpPr>
          <p:cNvPr id="11" name="object 11"/>
          <p:cNvSpPr/>
          <p:nvPr/>
        </p:nvSpPr>
        <p:spPr>
          <a:xfrm>
            <a:off x="1554593" y="62136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2" name="object 12"/>
          <p:cNvSpPr/>
          <p:nvPr/>
        </p:nvSpPr>
        <p:spPr>
          <a:xfrm>
            <a:off x="1554593" y="623439"/>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3" name="object 13"/>
          <p:cNvSpPr/>
          <p:nvPr/>
        </p:nvSpPr>
        <p:spPr>
          <a:xfrm>
            <a:off x="1554593" y="62551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4" name="object 14"/>
          <p:cNvSpPr/>
          <p:nvPr/>
        </p:nvSpPr>
        <p:spPr>
          <a:xfrm>
            <a:off x="1551987" y="62966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5" name="object 15"/>
          <p:cNvSpPr/>
          <p:nvPr/>
        </p:nvSpPr>
        <p:spPr>
          <a:xfrm>
            <a:off x="1551987" y="6317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6" name="object 16"/>
          <p:cNvSpPr/>
          <p:nvPr/>
        </p:nvSpPr>
        <p:spPr>
          <a:xfrm>
            <a:off x="1549380" y="63796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7" name="object 17"/>
          <p:cNvSpPr/>
          <p:nvPr/>
        </p:nvSpPr>
        <p:spPr>
          <a:xfrm>
            <a:off x="1458157" y="620328"/>
            <a:ext cx="158988" cy="26970"/>
          </a:xfrm>
          <a:prstGeom prst="rect">
            <a:avLst/>
          </a:prstGeom>
          <a:blipFill>
            <a:blip r:embed="rId5" cstate="print"/>
            <a:stretch>
              <a:fillRect/>
            </a:stretch>
          </a:blipFill>
        </p:spPr>
        <p:txBody>
          <a:bodyPr wrap="square" lIns="0" tIns="0" rIns="0" bIns="0" rtlCol="0">
            <a:noAutofit/>
          </a:bodyPr>
          <a:lstStyle/>
          <a:p>
            <a:endParaRPr smtClean="0">
              <a:solidFill>
                <a:prstClr val="black"/>
              </a:solidFill>
            </a:endParaRPr>
          </a:p>
        </p:txBody>
      </p:sp>
      <p:sp>
        <p:nvSpPr>
          <p:cNvPr id="18" name="object 18"/>
          <p:cNvSpPr/>
          <p:nvPr/>
        </p:nvSpPr>
        <p:spPr>
          <a:xfrm>
            <a:off x="1546774" y="64626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9" name="object 19"/>
          <p:cNvSpPr/>
          <p:nvPr/>
        </p:nvSpPr>
        <p:spPr>
          <a:xfrm>
            <a:off x="1538955" y="6690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0" name="object 20"/>
          <p:cNvSpPr/>
          <p:nvPr/>
        </p:nvSpPr>
        <p:spPr>
          <a:xfrm>
            <a:off x="1538955" y="67115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1" name="object 21"/>
          <p:cNvSpPr/>
          <p:nvPr/>
        </p:nvSpPr>
        <p:spPr>
          <a:xfrm>
            <a:off x="1538955" y="6732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2" name="object 22"/>
          <p:cNvSpPr/>
          <p:nvPr/>
        </p:nvSpPr>
        <p:spPr>
          <a:xfrm>
            <a:off x="1536348" y="67738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3" name="object 23"/>
          <p:cNvSpPr/>
          <p:nvPr/>
        </p:nvSpPr>
        <p:spPr>
          <a:xfrm>
            <a:off x="1536348" y="67945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4" name="object 24"/>
          <p:cNvSpPr/>
          <p:nvPr/>
        </p:nvSpPr>
        <p:spPr>
          <a:xfrm>
            <a:off x="1197519" y="537341"/>
            <a:ext cx="289309" cy="163900"/>
          </a:xfrm>
          <a:prstGeom prst="rect">
            <a:avLst/>
          </a:prstGeom>
          <a:blipFill>
            <a:blip r:embed="rId6" cstate="print"/>
            <a:stretch>
              <a:fillRect/>
            </a:stretch>
          </a:blipFill>
        </p:spPr>
        <p:txBody>
          <a:bodyPr wrap="square" lIns="0" tIns="0" rIns="0" bIns="0" rtlCol="0">
            <a:noAutofit/>
          </a:bodyPr>
          <a:lstStyle/>
          <a:p>
            <a:endParaRPr smtClean="0">
              <a:solidFill>
                <a:prstClr val="black"/>
              </a:solidFill>
            </a:endParaRPr>
          </a:p>
        </p:txBody>
      </p:sp>
      <p:sp>
        <p:nvSpPr>
          <p:cNvPr id="25" name="object 25"/>
          <p:cNvSpPr/>
          <p:nvPr/>
        </p:nvSpPr>
        <p:spPr>
          <a:xfrm>
            <a:off x="1471189" y="70020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6" name="object 26"/>
          <p:cNvSpPr/>
          <p:nvPr/>
        </p:nvSpPr>
        <p:spPr>
          <a:xfrm>
            <a:off x="1471189" y="70227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7" name="object 27"/>
          <p:cNvSpPr/>
          <p:nvPr/>
        </p:nvSpPr>
        <p:spPr>
          <a:xfrm>
            <a:off x="1473796" y="70435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8" name="object 28"/>
          <p:cNvSpPr/>
          <p:nvPr/>
        </p:nvSpPr>
        <p:spPr>
          <a:xfrm>
            <a:off x="1473796" y="70642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9" name="object 29"/>
          <p:cNvSpPr/>
          <p:nvPr/>
        </p:nvSpPr>
        <p:spPr>
          <a:xfrm>
            <a:off x="1580657" y="72302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0" name="object 30"/>
          <p:cNvSpPr/>
          <p:nvPr/>
        </p:nvSpPr>
        <p:spPr>
          <a:xfrm>
            <a:off x="1119327" y="82053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1" name="object 31"/>
          <p:cNvSpPr/>
          <p:nvPr/>
        </p:nvSpPr>
        <p:spPr>
          <a:xfrm>
            <a:off x="1116722" y="645224"/>
            <a:ext cx="518669" cy="184647"/>
          </a:xfrm>
          <a:prstGeom prst="rect">
            <a:avLst/>
          </a:prstGeom>
          <a:blipFill>
            <a:blip r:embed="rId7" cstate="print"/>
            <a:stretch>
              <a:fillRect/>
            </a:stretch>
          </a:blipFill>
        </p:spPr>
        <p:txBody>
          <a:bodyPr wrap="square" lIns="0" tIns="0" rIns="0" bIns="0" rtlCol="0">
            <a:noAutofit/>
          </a:bodyPr>
          <a:lstStyle/>
          <a:p>
            <a:endParaRPr smtClean="0">
              <a:solidFill>
                <a:prstClr val="black"/>
              </a:solidFill>
            </a:endParaRPr>
          </a:p>
        </p:txBody>
      </p:sp>
      <p:sp>
        <p:nvSpPr>
          <p:cNvPr id="32" name="object 32"/>
          <p:cNvSpPr/>
          <p:nvPr/>
        </p:nvSpPr>
        <p:spPr>
          <a:xfrm>
            <a:off x="1502466" y="82883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3" name="object 33"/>
          <p:cNvSpPr/>
          <p:nvPr/>
        </p:nvSpPr>
        <p:spPr>
          <a:xfrm>
            <a:off x="1119327" y="83298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4" name="object 34"/>
          <p:cNvSpPr/>
          <p:nvPr/>
        </p:nvSpPr>
        <p:spPr>
          <a:xfrm>
            <a:off x="1119327" y="83505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5" name="object 35"/>
          <p:cNvSpPr/>
          <p:nvPr/>
        </p:nvSpPr>
        <p:spPr>
          <a:xfrm>
            <a:off x="1119327" y="8371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6" name="object 36"/>
          <p:cNvSpPr/>
          <p:nvPr/>
        </p:nvSpPr>
        <p:spPr>
          <a:xfrm>
            <a:off x="1119327" y="83920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7" name="object 37"/>
          <p:cNvSpPr/>
          <p:nvPr/>
        </p:nvSpPr>
        <p:spPr>
          <a:xfrm>
            <a:off x="1119327" y="8412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8" name="object 38"/>
          <p:cNvSpPr/>
          <p:nvPr/>
        </p:nvSpPr>
        <p:spPr>
          <a:xfrm>
            <a:off x="1116721" y="827797"/>
            <a:ext cx="648988" cy="141078"/>
          </a:xfrm>
          <a:prstGeom prst="rect">
            <a:avLst/>
          </a:prstGeom>
          <a:blipFill>
            <a:blip r:embed="rId8" cstate="print"/>
            <a:stretch>
              <a:fillRect/>
            </a:stretch>
          </a:blipFill>
        </p:spPr>
        <p:txBody>
          <a:bodyPr wrap="square" lIns="0" tIns="0" rIns="0" bIns="0" rtlCol="0">
            <a:noAutofit/>
          </a:bodyPr>
          <a:lstStyle/>
          <a:p>
            <a:endParaRPr smtClean="0">
              <a:solidFill>
                <a:prstClr val="black"/>
              </a:solidFill>
            </a:endParaRPr>
          </a:p>
        </p:txBody>
      </p:sp>
      <p:sp>
        <p:nvSpPr>
          <p:cNvPr id="39" name="object 39"/>
          <p:cNvSpPr/>
          <p:nvPr/>
        </p:nvSpPr>
        <p:spPr>
          <a:xfrm>
            <a:off x="1567625" y="9678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40" name="object 40"/>
          <p:cNvSpPr/>
          <p:nvPr/>
        </p:nvSpPr>
        <p:spPr>
          <a:xfrm>
            <a:off x="1538955" y="966801"/>
            <a:ext cx="213722" cy="43568"/>
          </a:xfrm>
          <a:prstGeom prst="rect">
            <a:avLst/>
          </a:prstGeom>
          <a:blipFill>
            <a:blip r:embed="rId9" cstate="print"/>
            <a:stretch>
              <a:fillRect/>
            </a:stretch>
          </a:blipFill>
        </p:spPr>
        <p:txBody>
          <a:bodyPr wrap="square" lIns="0" tIns="0" rIns="0" bIns="0" rtlCol="0">
            <a:noAutofit/>
          </a:bodyPr>
          <a:lstStyle/>
          <a:p>
            <a:endParaRPr smtClean="0">
              <a:solidFill>
                <a:prstClr val="black"/>
              </a:solidFill>
            </a:endParaRPr>
          </a:p>
        </p:txBody>
      </p:sp>
      <p:sp>
        <p:nvSpPr>
          <p:cNvPr id="41" name="object 41"/>
          <p:cNvSpPr/>
          <p:nvPr/>
        </p:nvSpPr>
        <p:spPr>
          <a:xfrm>
            <a:off x="1742251" y="100933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42" name="object 42"/>
          <p:cNvSpPr/>
          <p:nvPr/>
        </p:nvSpPr>
        <p:spPr>
          <a:xfrm>
            <a:off x="1168849" y="968875"/>
            <a:ext cx="466542" cy="107888"/>
          </a:xfrm>
          <a:prstGeom prst="rect">
            <a:avLst/>
          </a:prstGeom>
          <a:blipFill>
            <a:blip r:embed="rId10" cstate="print"/>
            <a:stretch>
              <a:fillRect/>
            </a:stretch>
          </a:blipFill>
        </p:spPr>
        <p:txBody>
          <a:bodyPr wrap="square" lIns="0" tIns="0" rIns="0" bIns="0" rtlCol="0">
            <a:noAutofit/>
          </a:bodyPr>
          <a:lstStyle/>
          <a:p>
            <a:endParaRPr smtClean="0">
              <a:solidFill>
                <a:prstClr val="black"/>
              </a:solidFill>
            </a:endParaRPr>
          </a:p>
        </p:txBody>
      </p:sp>
    </p:spTree>
    <p:extLst>
      <p:ext uri="{BB962C8B-B14F-4D97-AF65-F5344CB8AC3E}">
        <p14:creationId xmlns:p14="http://schemas.microsoft.com/office/powerpoint/2010/main" val="362775047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239181" y="577108"/>
            <a:ext cx="4420505" cy="354858"/>
          </a:xfrm>
          <a:prstGeom prst="rect">
            <a:avLst/>
          </a:prstGeom>
        </p:spPr>
        <p:txBody>
          <a:bodyPr vert="horz" wrap="square" lIns="0" tIns="0" rIns="0" bIns="0" rtlCol="0">
            <a:noAutofit/>
          </a:bodyPr>
          <a:lstStyle/>
          <a:p>
            <a:pPr marL="9941">
              <a:tabLst>
                <a:tab pos="1675930" algn="l"/>
                <a:tab pos="2540237" algn="l"/>
              </a:tabLst>
            </a:pPr>
            <a:r>
              <a:rPr sz="2500" spc="27" dirty="0">
                <a:solidFill>
                  <a:srgbClr val="948A53"/>
                </a:solidFill>
                <a:cs typeface="Calibri"/>
              </a:rPr>
              <a:t>S</a:t>
            </a:r>
            <a:r>
              <a:rPr sz="2500" spc="20" dirty="0">
                <a:solidFill>
                  <a:srgbClr val="948A53"/>
                </a:solidFill>
                <a:cs typeface="Calibri"/>
              </a:rPr>
              <a:t>u</a:t>
            </a:r>
            <a:r>
              <a:rPr sz="2500" spc="-4" dirty="0">
                <a:solidFill>
                  <a:srgbClr val="948A53"/>
                </a:solidFill>
                <a:cs typeface="Calibri"/>
              </a:rPr>
              <a:t>s</a:t>
            </a:r>
            <a:r>
              <a:rPr sz="2500" dirty="0">
                <a:solidFill>
                  <a:srgbClr val="948A53"/>
                </a:solidFill>
                <a:cs typeface="Calibri"/>
              </a:rPr>
              <a:t>t</a:t>
            </a:r>
            <a:r>
              <a:rPr sz="2500" spc="35" dirty="0">
                <a:solidFill>
                  <a:srgbClr val="948A53"/>
                </a:solidFill>
                <a:cs typeface="Calibri"/>
              </a:rPr>
              <a:t>a</a:t>
            </a:r>
            <a:r>
              <a:rPr sz="2500" spc="43" dirty="0">
                <a:solidFill>
                  <a:srgbClr val="948A53"/>
                </a:solidFill>
                <a:cs typeface="Calibri"/>
              </a:rPr>
              <a:t>i</a:t>
            </a:r>
            <a:r>
              <a:rPr sz="2500" spc="20" dirty="0">
                <a:solidFill>
                  <a:srgbClr val="948A53"/>
                </a:solidFill>
                <a:cs typeface="Calibri"/>
              </a:rPr>
              <a:t>n</a:t>
            </a:r>
            <a:r>
              <a:rPr sz="2500" spc="35" dirty="0">
                <a:solidFill>
                  <a:srgbClr val="948A53"/>
                </a:solidFill>
                <a:cs typeface="Calibri"/>
              </a:rPr>
              <a:t>a</a:t>
            </a:r>
            <a:r>
              <a:rPr sz="2500" spc="20" dirty="0">
                <a:solidFill>
                  <a:srgbClr val="948A53"/>
                </a:solidFill>
                <a:cs typeface="Calibri"/>
              </a:rPr>
              <a:t>b</a:t>
            </a:r>
            <a:r>
              <a:rPr sz="2500" spc="31" dirty="0">
                <a:solidFill>
                  <a:srgbClr val="948A53"/>
                </a:solidFill>
                <a:cs typeface="Calibri"/>
              </a:rPr>
              <a:t>l</a:t>
            </a:r>
            <a:r>
              <a:rPr sz="2500" spc="12" dirty="0">
                <a:solidFill>
                  <a:srgbClr val="948A53"/>
                </a:solidFill>
                <a:cs typeface="Calibri"/>
              </a:rPr>
              <a:t>e	</a:t>
            </a:r>
            <a:r>
              <a:rPr sz="2500" spc="23" dirty="0">
                <a:solidFill>
                  <a:srgbClr val="948A53"/>
                </a:solidFill>
                <a:cs typeface="Calibri"/>
              </a:rPr>
              <a:t>D</a:t>
            </a:r>
            <a:r>
              <a:rPr sz="2500" spc="27" dirty="0">
                <a:solidFill>
                  <a:srgbClr val="948A53"/>
                </a:solidFill>
                <a:cs typeface="Calibri"/>
              </a:rPr>
              <a:t>S</a:t>
            </a:r>
            <a:r>
              <a:rPr sz="2500" spc="12" dirty="0">
                <a:solidFill>
                  <a:srgbClr val="948A53"/>
                </a:solidFill>
                <a:cs typeface="Calibri"/>
              </a:rPr>
              <a:t>H</a:t>
            </a:r>
            <a:r>
              <a:rPr sz="2500" spc="-16" dirty="0">
                <a:solidFill>
                  <a:srgbClr val="948A53"/>
                </a:solidFill>
                <a:cs typeface="Calibri"/>
              </a:rPr>
              <a:t>C	</a:t>
            </a:r>
            <a:r>
              <a:rPr sz="2500" dirty="0">
                <a:solidFill>
                  <a:srgbClr val="948A53"/>
                </a:solidFill>
                <a:cs typeface="Calibri"/>
              </a:rPr>
              <a:t>v</a:t>
            </a:r>
            <a:r>
              <a:rPr sz="2500" spc="35" dirty="0">
                <a:solidFill>
                  <a:srgbClr val="948A53"/>
                </a:solidFill>
                <a:cs typeface="Calibri"/>
              </a:rPr>
              <a:t>a</a:t>
            </a:r>
            <a:r>
              <a:rPr sz="2500" spc="43" dirty="0">
                <a:solidFill>
                  <a:srgbClr val="948A53"/>
                </a:solidFill>
                <a:cs typeface="Calibri"/>
              </a:rPr>
              <a:t>l</a:t>
            </a:r>
            <a:r>
              <a:rPr sz="2500" spc="20" dirty="0">
                <a:solidFill>
                  <a:srgbClr val="948A53"/>
                </a:solidFill>
                <a:cs typeface="Calibri"/>
              </a:rPr>
              <a:t>u</a:t>
            </a:r>
            <a:r>
              <a:rPr sz="2500" spc="12" dirty="0">
                <a:solidFill>
                  <a:srgbClr val="948A53"/>
                </a:solidFill>
                <a:cs typeface="Calibri"/>
              </a:rPr>
              <a:t>e</a:t>
            </a:r>
            <a:r>
              <a:rPr sz="2500" spc="-8" dirty="0">
                <a:solidFill>
                  <a:srgbClr val="948A53"/>
                </a:solidFill>
                <a:cs typeface="Calibri"/>
              </a:rPr>
              <a:t> </a:t>
            </a:r>
            <a:r>
              <a:rPr sz="2500" spc="-12" dirty="0">
                <a:solidFill>
                  <a:srgbClr val="948A53"/>
                </a:solidFill>
                <a:cs typeface="Calibri"/>
              </a:rPr>
              <a:t>c</a:t>
            </a:r>
            <a:r>
              <a:rPr sz="2500" spc="20" dirty="0">
                <a:solidFill>
                  <a:srgbClr val="948A53"/>
                </a:solidFill>
                <a:cs typeface="Calibri"/>
              </a:rPr>
              <a:t>h</a:t>
            </a:r>
            <a:r>
              <a:rPr sz="2500" spc="35" dirty="0">
                <a:solidFill>
                  <a:srgbClr val="948A53"/>
                </a:solidFill>
                <a:cs typeface="Calibri"/>
              </a:rPr>
              <a:t>a</a:t>
            </a:r>
            <a:r>
              <a:rPr sz="2500" spc="43" dirty="0">
                <a:solidFill>
                  <a:srgbClr val="948A53"/>
                </a:solidFill>
                <a:cs typeface="Calibri"/>
              </a:rPr>
              <a:t>i</a:t>
            </a:r>
            <a:r>
              <a:rPr sz="2500" spc="23" dirty="0">
                <a:solidFill>
                  <a:srgbClr val="948A53"/>
                </a:solidFill>
                <a:cs typeface="Calibri"/>
              </a:rPr>
              <a:t>n</a:t>
            </a:r>
            <a:endParaRPr sz="2500">
              <a:solidFill>
                <a:prstClr val="black"/>
              </a:solidFill>
              <a:cs typeface="Calibri"/>
            </a:endParaRPr>
          </a:p>
        </p:txBody>
      </p:sp>
      <p:sp>
        <p:nvSpPr>
          <p:cNvPr id="3" name="object 3"/>
          <p:cNvSpPr/>
          <p:nvPr/>
        </p:nvSpPr>
        <p:spPr>
          <a:xfrm>
            <a:off x="777893" y="1167013"/>
            <a:ext cx="7703114" cy="3366182"/>
          </a:xfrm>
          <a:prstGeom prst="rect">
            <a:avLst/>
          </a:prstGeom>
          <a:blipFill>
            <a:blip r:embed="rId2" cstate="print"/>
            <a:stretch>
              <a:fillRect/>
            </a:stretch>
          </a:blipFill>
        </p:spPr>
        <p:txBody>
          <a:bodyPr wrap="square" lIns="0" tIns="0" rIns="0" bIns="0" rtlCol="0">
            <a:noAutofit/>
          </a:bodyPr>
          <a:lstStyle/>
          <a:p>
            <a:endParaRPr smtClean="0">
              <a:solidFill>
                <a:prstClr val="black"/>
              </a:solidFill>
            </a:endParaRPr>
          </a:p>
        </p:txBody>
      </p:sp>
      <p:sp>
        <p:nvSpPr>
          <p:cNvPr id="4" name="object 4"/>
          <p:cNvSpPr/>
          <p:nvPr/>
        </p:nvSpPr>
        <p:spPr>
          <a:xfrm>
            <a:off x="1497254" y="543564"/>
            <a:ext cx="109467" cy="68464"/>
          </a:xfrm>
          <a:prstGeom prst="rect">
            <a:avLst/>
          </a:prstGeom>
          <a:blipFill>
            <a:blip r:embed="rId3" cstate="print"/>
            <a:stretch>
              <a:fillRect/>
            </a:stretch>
          </a:blipFill>
        </p:spPr>
        <p:txBody>
          <a:bodyPr wrap="square" lIns="0" tIns="0" rIns="0" bIns="0" rtlCol="0">
            <a:noAutofit/>
          </a:bodyPr>
          <a:lstStyle/>
          <a:p>
            <a:endParaRPr smtClean="0">
              <a:solidFill>
                <a:prstClr val="black"/>
              </a:solidFill>
            </a:endParaRPr>
          </a:p>
        </p:txBody>
      </p:sp>
      <p:sp>
        <p:nvSpPr>
          <p:cNvPr id="5" name="object 5"/>
          <p:cNvSpPr/>
          <p:nvPr/>
        </p:nvSpPr>
        <p:spPr>
          <a:xfrm>
            <a:off x="1559806" y="61099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6" name="object 6"/>
          <p:cNvSpPr/>
          <p:nvPr/>
        </p:nvSpPr>
        <p:spPr>
          <a:xfrm>
            <a:off x="1559806" y="61306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7" name="object 7"/>
          <p:cNvSpPr/>
          <p:nvPr/>
        </p:nvSpPr>
        <p:spPr>
          <a:xfrm>
            <a:off x="1557199" y="61514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8" name="object 8"/>
          <p:cNvSpPr/>
          <p:nvPr/>
        </p:nvSpPr>
        <p:spPr>
          <a:xfrm>
            <a:off x="1557199" y="61721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9" name="object 9"/>
          <p:cNvSpPr/>
          <p:nvPr/>
        </p:nvSpPr>
        <p:spPr>
          <a:xfrm>
            <a:off x="1481615" y="609954"/>
            <a:ext cx="130318" cy="12447"/>
          </a:xfrm>
          <a:prstGeom prst="rect">
            <a:avLst/>
          </a:prstGeom>
          <a:blipFill>
            <a:blip r:embed="rId4" cstate="print"/>
            <a:stretch>
              <a:fillRect/>
            </a:stretch>
          </a:blipFill>
        </p:spPr>
        <p:txBody>
          <a:bodyPr wrap="square" lIns="0" tIns="0" rIns="0" bIns="0" rtlCol="0">
            <a:noAutofit/>
          </a:bodyPr>
          <a:lstStyle/>
          <a:p>
            <a:endParaRPr smtClean="0">
              <a:solidFill>
                <a:prstClr val="black"/>
              </a:solidFill>
            </a:endParaRPr>
          </a:p>
        </p:txBody>
      </p:sp>
      <p:sp>
        <p:nvSpPr>
          <p:cNvPr id="10" name="object 10"/>
          <p:cNvSpPr/>
          <p:nvPr/>
        </p:nvSpPr>
        <p:spPr>
          <a:xfrm>
            <a:off x="1554593" y="62136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1" name="object 11"/>
          <p:cNvSpPr/>
          <p:nvPr/>
        </p:nvSpPr>
        <p:spPr>
          <a:xfrm>
            <a:off x="1554593" y="623439"/>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2" name="object 12"/>
          <p:cNvSpPr/>
          <p:nvPr/>
        </p:nvSpPr>
        <p:spPr>
          <a:xfrm>
            <a:off x="1554593" y="62551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3" name="object 13"/>
          <p:cNvSpPr/>
          <p:nvPr/>
        </p:nvSpPr>
        <p:spPr>
          <a:xfrm>
            <a:off x="1551987" y="62966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4" name="object 14"/>
          <p:cNvSpPr/>
          <p:nvPr/>
        </p:nvSpPr>
        <p:spPr>
          <a:xfrm>
            <a:off x="1551987" y="6317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5" name="object 15"/>
          <p:cNvSpPr/>
          <p:nvPr/>
        </p:nvSpPr>
        <p:spPr>
          <a:xfrm>
            <a:off x="1549380" y="63796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6" name="object 16"/>
          <p:cNvSpPr/>
          <p:nvPr/>
        </p:nvSpPr>
        <p:spPr>
          <a:xfrm>
            <a:off x="1458157" y="620328"/>
            <a:ext cx="158988" cy="26970"/>
          </a:xfrm>
          <a:prstGeom prst="rect">
            <a:avLst/>
          </a:prstGeom>
          <a:blipFill>
            <a:blip r:embed="rId5" cstate="print"/>
            <a:stretch>
              <a:fillRect/>
            </a:stretch>
          </a:blipFill>
        </p:spPr>
        <p:txBody>
          <a:bodyPr wrap="square" lIns="0" tIns="0" rIns="0" bIns="0" rtlCol="0">
            <a:noAutofit/>
          </a:bodyPr>
          <a:lstStyle/>
          <a:p>
            <a:endParaRPr smtClean="0">
              <a:solidFill>
                <a:prstClr val="black"/>
              </a:solidFill>
            </a:endParaRPr>
          </a:p>
        </p:txBody>
      </p:sp>
      <p:sp>
        <p:nvSpPr>
          <p:cNvPr id="17" name="object 17"/>
          <p:cNvSpPr/>
          <p:nvPr/>
        </p:nvSpPr>
        <p:spPr>
          <a:xfrm>
            <a:off x="1546774" y="64626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8" name="object 18"/>
          <p:cNvSpPr/>
          <p:nvPr/>
        </p:nvSpPr>
        <p:spPr>
          <a:xfrm>
            <a:off x="1538955" y="6690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9" name="object 19"/>
          <p:cNvSpPr/>
          <p:nvPr/>
        </p:nvSpPr>
        <p:spPr>
          <a:xfrm>
            <a:off x="1538955" y="67115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0" name="object 20"/>
          <p:cNvSpPr/>
          <p:nvPr/>
        </p:nvSpPr>
        <p:spPr>
          <a:xfrm>
            <a:off x="1538955" y="6732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1" name="object 21"/>
          <p:cNvSpPr/>
          <p:nvPr/>
        </p:nvSpPr>
        <p:spPr>
          <a:xfrm>
            <a:off x="1536348" y="67738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2" name="object 22"/>
          <p:cNvSpPr/>
          <p:nvPr/>
        </p:nvSpPr>
        <p:spPr>
          <a:xfrm>
            <a:off x="1536348" y="67945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3" name="object 23"/>
          <p:cNvSpPr/>
          <p:nvPr/>
        </p:nvSpPr>
        <p:spPr>
          <a:xfrm>
            <a:off x="1197519" y="537341"/>
            <a:ext cx="289309" cy="163900"/>
          </a:xfrm>
          <a:prstGeom prst="rect">
            <a:avLst/>
          </a:prstGeom>
          <a:blipFill>
            <a:blip r:embed="rId6" cstate="print"/>
            <a:stretch>
              <a:fillRect/>
            </a:stretch>
          </a:blipFill>
        </p:spPr>
        <p:txBody>
          <a:bodyPr wrap="square" lIns="0" tIns="0" rIns="0" bIns="0" rtlCol="0">
            <a:noAutofit/>
          </a:bodyPr>
          <a:lstStyle/>
          <a:p>
            <a:endParaRPr smtClean="0">
              <a:solidFill>
                <a:prstClr val="black"/>
              </a:solidFill>
            </a:endParaRPr>
          </a:p>
        </p:txBody>
      </p:sp>
      <p:sp>
        <p:nvSpPr>
          <p:cNvPr id="24" name="object 24"/>
          <p:cNvSpPr/>
          <p:nvPr/>
        </p:nvSpPr>
        <p:spPr>
          <a:xfrm>
            <a:off x="1471189" y="70020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5" name="object 25"/>
          <p:cNvSpPr/>
          <p:nvPr/>
        </p:nvSpPr>
        <p:spPr>
          <a:xfrm>
            <a:off x="1471189" y="70227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6" name="object 26"/>
          <p:cNvSpPr/>
          <p:nvPr/>
        </p:nvSpPr>
        <p:spPr>
          <a:xfrm>
            <a:off x="1473796" y="70435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7" name="object 27"/>
          <p:cNvSpPr/>
          <p:nvPr/>
        </p:nvSpPr>
        <p:spPr>
          <a:xfrm>
            <a:off x="1473796" y="70642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8" name="object 28"/>
          <p:cNvSpPr/>
          <p:nvPr/>
        </p:nvSpPr>
        <p:spPr>
          <a:xfrm>
            <a:off x="1580657" y="72302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9" name="object 29"/>
          <p:cNvSpPr/>
          <p:nvPr/>
        </p:nvSpPr>
        <p:spPr>
          <a:xfrm>
            <a:off x="1119327" y="82053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0" name="object 30"/>
          <p:cNvSpPr/>
          <p:nvPr/>
        </p:nvSpPr>
        <p:spPr>
          <a:xfrm>
            <a:off x="1116722" y="645224"/>
            <a:ext cx="518669" cy="184647"/>
          </a:xfrm>
          <a:prstGeom prst="rect">
            <a:avLst/>
          </a:prstGeom>
          <a:blipFill>
            <a:blip r:embed="rId7" cstate="print"/>
            <a:stretch>
              <a:fillRect/>
            </a:stretch>
          </a:blipFill>
        </p:spPr>
        <p:txBody>
          <a:bodyPr wrap="square" lIns="0" tIns="0" rIns="0" bIns="0" rtlCol="0">
            <a:noAutofit/>
          </a:bodyPr>
          <a:lstStyle/>
          <a:p>
            <a:endParaRPr smtClean="0">
              <a:solidFill>
                <a:prstClr val="black"/>
              </a:solidFill>
            </a:endParaRPr>
          </a:p>
        </p:txBody>
      </p:sp>
      <p:sp>
        <p:nvSpPr>
          <p:cNvPr id="31" name="object 31"/>
          <p:cNvSpPr/>
          <p:nvPr/>
        </p:nvSpPr>
        <p:spPr>
          <a:xfrm>
            <a:off x="1502466" y="82883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2" name="object 32"/>
          <p:cNvSpPr/>
          <p:nvPr/>
        </p:nvSpPr>
        <p:spPr>
          <a:xfrm>
            <a:off x="1119327" y="83298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3" name="object 33"/>
          <p:cNvSpPr/>
          <p:nvPr/>
        </p:nvSpPr>
        <p:spPr>
          <a:xfrm>
            <a:off x="1119327" y="83505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4" name="object 34"/>
          <p:cNvSpPr/>
          <p:nvPr/>
        </p:nvSpPr>
        <p:spPr>
          <a:xfrm>
            <a:off x="1119327" y="8371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5" name="object 35"/>
          <p:cNvSpPr/>
          <p:nvPr/>
        </p:nvSpPr>
        <p:spPr>
          <a:xfrm>
            <a:off x="1119327" y="83920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6" name="object 36"/>
          <p:cNvSpPr/>
          <p:nvPr/>
        </p:nvSpPr>
        <p:spPr>
          <a:xfrm>
            <a:off x="1119327" y="8412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7" name="object 37"/>
          <p:cNvSpPr/>
          <p:nvPr/>
        </p:nvSpPr>
        <p:spPr>
          <a:xfrm>
            <a:off x="1116721" y="827797"/>
            <a:ext cx="648988" cy="141078"/>
          </a:xfrm>
          <a:prstGeom prst="rect">
            <a:avLst/>
          </a:prstGeom>
          <a:blipFill>
            <a:blip r:embed="rId8" cstate="print"/>
            <a:stretch>
              <a:fillRect/>
            </a:stretch>
          </a:blipFill>
        </p:spPr>
        <p:txBody>
          <a:bodyPr wrap="square" lIns="0" tIns="0" rIns="0" bIns="0" rtlCol="0">
            <a:noAutofit/>
          </a:bodyPr>
          <a:lstStyle/>
          <a:p>
            <a:endParaRPr smtClean="0">
              <a:solidFill>
                <a:prstClr val="black"/>
              </a:solidFill>
            </a:endParaRPr>
          </a:p>
        </p:txBody>
      </p:sp>
      <p:sp>
        <p:nvSpPr>
          <p:cNvPr id="38" name="object 38"/>
          <p:cNvSpPr/>
          <p:nvPr/>
        </p:nvSpPr>
        <p:spPr>
          <a:xfrm>
            <a:off x="1567625" y="9678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9" name="object 39"/>
          <p:cNvSpPr/>
          <p:nvPr/>
        </p:nvSpPr>
        <p:spPr>
          <a:xfrm>
            <a:off x="1538955" y="966801"/>
            <a:ext cx="213722" cy="43568"/>
          </a:xfrm>
          <a:prstGeom prst="rect">
            <a:avLst/>
          </a:prstGeom>
          <a:blipFill>
            <a:blip r:embed="rId9" cstate="print"/>
            <a:stretch>
              <a:fillRect/>
            </a:stretch>
          </a:blipFill>
        </p:spPr>
        <p:txBody>
          <a:bodyPr wrap="square" lIns="0" tIns="0" rIns="0" bIns="0" rtlCol="0">
            <a:noAutofit/>
          </a:bodyPr>
          <a:lstStyle/>
          <a:p>
            <a:endParaRPr smtClean="0">
              <a:solidFill>
                <a:prstClr val="black"/>
              </a:solidFill>
            </a:endParaRPr>
          </a:p>
        </p:txBody>
      </p:sp>
      <p:sp>
        <p:nvSpPr>
          <p:cNvPr id="40" name="object 40"/>
          <p:cNvSpPr/>
          <p:nvPr/>
        </p:nvSpPr>
        <p:spPr>
          <a:xfrm>
            <a:off x="1742251" y="100933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41" name="object 41"/>
          <p:cNvSpPr/>
          <p:nvPr/>
        </p:nvSpPr>
        <p:spPr>
          <a:xfrm>
            <a:off x="1168849" y="968875"/>
            <a:ext cx="466542" cy="107888"/>
          </a:xfrm>
          <a:prstGeom prst="rect">
            <a:avLst/>
          </a:prstGeom>
          <a:blipFill>
            <a:blip r:embed="rId10" cstate="print"/>
            <a:stretch>
              <a:fillRect/>
            </a:stretch>
          </a:blipFill>
        </p:spPr>
        <p:txBody>
          <a:bodyPr wrap="square" lIns="0" tIns="0" rIns="0" bIns="0" rtlCol="0">
            <a:noAutofit/>
          </a:bodyPr>
          <a:lstStyle/>
          <a:p>
            <a:endParaRPr smtClean="0">
              <a:solidFill>
                <a:prstClr val="black"/>
              </a:solidFill>
            </a:endParaRPr>
          </a:p>
        </p:txBody>
      </p:sp>
    </p:spTree>
    <p:extLst>
      <p:ext uri="{BB962C8B-B14F-4D97-AF65-F5344CB8AC3E}">
        <p14:creationId xmlns:p14="http://schemas.microsoft.com/office/powerpoint/2010/main" val="70698070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93040" rIns="0" bIns="0" rtlCol="0">
            <a:noAutofit/>
          </a:bodyPr>
          <a:lstStyle/>
          <a:p>
            <a:pPr marL="506457"/>
            <a:r>
              <a:rPr sz="2200" spc="27" dirty="0">
                <a:solidFill>
                  <a:srgbClr val="948A53"/>
                </a:solidFill>
                <a:latin typeface="Calibri"/>
                <a:cs typeface="Calibri"/>
              </a:rPr>
              <a:t>Bi</a:t>
            </a:r>
            <a:r>
              <a:rPr sz="2200" spc="4" dirty="0">
                <a:solidFill>
                  <a:srgbClr val="948A53"/>
                </a:solidFill>
                <a:latin typeface="Calibri"/>
                <a:cs typeface="Calibri"/>
              </a:rPr>
              <a:t>o</a:t>
            </a:r>
            <a:r>
              <a:rPr sz="2200" spc="35" dirty="0">
                <a:solidFill>
                  <a:srgbClr val="948A53"/>
                </a:solidFill>
                <a:latin typeface="Calibri"/>
                <a:cs typeface="Calibri"/>
              </a:rPr>
              <a:t>j</a:t>
            </a:r>
            <a:r>
              <a:rPr sz="2200" spc="-23" dirty="0">
                <a:solidFill>
                  <a:srgbClr val="948A53"/>
                </a:solidFill>
                <a:latin typeface="Calibri"/>
                <a:cs typeface="Calibri"/>
              </a:rPr>
              <a:t>e</a:t>
            </a:r>
            <a:r>
              <a:rPr sz="2200" spc="20" dirty="0">
                <a:solidFill>
                  <a:srgbClr val="948A53"/>
                </a:solidFill>
                <a:latin typeface="Calibri"/>
                <a:cs typeface="Calibri"/>
              </a:rPr>
              <a:t>tfu</a:t>
            </a:r>
            <a:r>
              <a:rPr sz="2200" spc="-4" dirty="0">
                <a:solidFill>
                  <a:srgbClr val="948A53"/>
                </a:solidFill>
                <a:latin typeface="Calibri"/>
                <a:cs typeface="Calibri"/>
              </a:rPr>
              <a:t>e</a:t>
            </a:r>
            <a:r>
              <a:rPr sz="2200" spc="31" dirty="0">
                <a:solidFill>
                  <a:srgbClr val="948A53"/>
                </a:solidFill>
                <a:latin typeface="Calibri"/>
                <a:cs typeface="Calibri"/>
              </a:rPr>
              <a:t>l</a:t>
            </a:r>
            <a:r>
              <a:rPr sz="2200" spc="20" dirty="0">
                <a:solidFill>
                  <a:srgbClr val="948A53"/>
                </a:solidFill>
                <a:latin typeface="Calibri"/>
                <a:cs typeface="Calibri"/>
              </a:rPr>
              <a:t> </a:t>
            </a:r>
            <a:r>
              <a:rPr sz="2200" spc="12" dirty="0">
                <a:solidFill>
                  <a:srgbClr val="948A53"/>
                </a:solidFill>
                <a:latin typeface="Calibri"/>
                <a:cs typeface="Calibri"/>
              </a:rPr>
              <a:t>H</a:t>
            </a:r>
            <a:r>
              <a:rPr sz="2200" spc="-12" dirty="0">
                <a:solidFill>
                  <a:srgbClr val="948A53"/>
                </a:solidFill>
                <a:latin typeface="Calibri"/>
                <a:cs typeface="Calibri"/>
              </a:rPr>
              <a:t>E</a:t>
            </a:r>
            <a:r>
              <a:rPr sz="2200" spc="-137" dirty="0">
                <a:solidFill>
                  <a:srgbClr val="948A53"/>
                </a:solidFill>
                <a:latin typeface="Calibri"/>
                <a:cs typeface="Calibri"/>
              </a:rPr>
              <a:t>F</a:t>
            </a:r>
            <a:r>
              <a:rPr sz="2200" spc="47" dirty="0">
                <a:solidFill>
                  <a:srgbClr val="948A53"/>
                </a:solidFill>
                <a:latin typeface="Calibri"/>
                <a:cs typeface="Calibri"/>
              </a:rPr>
              <a:t>A</a:t>
            </a:r>
            <a:r>
              <a:rPr sz="2200" spc="8" dirty="0">
                <a:solidFill>
                  <a:srgbClr val="948A53"/>
                </a:solidFill>
                <a:latin typeface="Calibri"/>
                <a:cs typeface="Calibri"/>
              </a:rPr>
              <a:t> v</a:t>
            </a:r>
            <a:r>
              <a:rPr sz="2200" spc="20" dirty="0">
                <a:solidFill>
                  <a:srgbClr val="948A53"/>
                </a:solidFill>
                <a:latin typeface="Calibri"/>
                <a:cs typeface="Calibri"/>
              </a:rPr>
              <a:t>a</a:t>
            </a:r>
            <a:r>
              <a:rPr sz="2200" spc="27" dirty="0">
                <a:solidFill>
                  <a:srgbClr val="948A53"/>
                </a:solidFill>
                <a:latin typeface="Calibri"/>
                <a:cs typeface="Calibri"/>
              </a:rPr>
              <a:t>l</a:t>
            </a:r>
            <a:r>
              <a:rPr sz="2200" spc="20" dirty="0">
                <a:solidFill>
                  <a:srgbClr val="948A53"/>
                </a:solidFill>
                <a:latin typeface="Calibri"/>
                <a:cs typeface="Calibri"/>
              </a:rPr>
              <a:t>ue</a:t>
            </a:r>
            <a:r>
              <a:rPr sz="2200" spc="8" dirty="0">
                <a:solidFill>
                  <a:srgbClr val="948A53"/>
                </a:solidFill>
                <a:latin typeface="Calibri"/>
                <a:cs typeface="Calibri"/>
              </a:rPr>
              <a:t> </a:t>
            </a:r>
            <a:r>
              <a:rPr sz="2200" spc="-20" dirty="0">
                <a:solidFill>
                  <a:srgbClr val="948A53"/>
                </a:solidFill>
                <a:latin typeface="Calibri"/>
                <a:cs typeface="Calibri"/>
              </a:rPr>
              <a:t>c</a:t>
            </a:r>
            <a:r>
              <a:rPr sz="2200" spc="20" dirty="0">
                <a:solidFill>
                  <a:srgbClr val="948A53"/>
                </a:solidFill>
                <a:latin typeface="Calibri"/>
                <a:cs typeface="Calibri"/>
              </a:rPr>
              <a:t>ha</a:t>
            </a:r>
            <a:r>
              <a:rPr sz="2200" spc="27" dirty="0">
                <a:solidFill>
                  <a:srgbClr val="948A53"/>
                </a:solidFill>
                <a:latin typeface="Calibri"/>
                <a:cs typeface="Calibri"/>
              </a:rPr>
              <a:t>i</a:t>
            </a:r>
            <a:r>
              <a:rPr sz="2200" spc="20" dirty="0">
                <a:solidFill>
                  <a:srgbClr val="948A53"/>
                </a:solidFill>
                <a:latin typeface="Calibri"/>
                <a:cs typeface="Calibri"/>
              </a:rPr>
              <a:t>n</a:t>
            </a:r>
            <a:endParaRPr sz="2200">
              <a:latin typeface="Calibri"/>
              <a:cs typeface="Calibri"/>
            </a:endParaRPr>
          </a:p>
        </p:txBody>
      </p:sp>
      <p:sp>
        <p:nvSpPr>
          <p:cNvPr id="3" name="object 3"/>
          <p:cNvSpPr/>
          <p:nvPr/>
        </p:nvSpPr>
        <p:spPr>
          <a:xfrm>
            <a:off x="1497254" y="543564"/>
            <a:ext cx="109467" cy="68464"/>
          </a:xfrm>
          <a:prstGeom prst="rect">
            <a:avLst/>
          </a:prstGeom>
          <a:blipFill>
            <a:blip r:embed="rId2" cstate="print"/>
            <a:stretch>
              <a:fillRect/>
            </a:stretch>
          </a:blipFill>
        </p:spPr>
        <p:txBody>
          <a:bodyPr wrap="square" lIns="0" tIns="0" rIns="0" bIns="0" rtlCol="0">
            <a:noAutofit/>
          </a:bodyPr>
          <a:lstStyle/>
          <a:p>
            <a:endParaRPr smtClean="0">
              <a:solidFill>
                <a:prstClr val="black"/>
              </a:solidFill>
            </a:endParaRPr>
          </a:p>
        </p:txBody>
      </p:sp>
      <p:sp>
        <p:nvSpPr>
          <p:cNvPr id="4" name="object 4"/>
          <p:cNvSpPr/>
          <p:nvPr/>
        </p:nvSpPr>
        <p:spPr>
          <a:xfrm>
            <a:off x="1559806" y="61099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5" name="object 5"/>
          <p:cNvSpPr/>
          <p:nvPr/>
        </p:nvSpPr>
        <p:spPr>
          <a:xfrm>
            <a:off x="1559806" y="61306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6" name="object 6"/>
          <p:cNvSpPr/>
          <p:nvPr/>
        </p:nvSpPr>
        <p:spPr>
          <a:xfrm>
            <a:off x="1557199" y="61514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7" name="object 7"/>
          <p:cNvSpPr/>
          <p:nvPr/>
        </p:nvSpPr>
        <p:spPr>
          <a:xfrm>
            <a:off x="1557199" y="61721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8" name="object 8"/>
          <p:cNvSpPr/>
          <p:nvPr/>
        </p:nvSpPr>
        <p:spPr>
          <a:xfrm>
            <a:off x="1481615" y="609954"/>
            <a:ext cx="130318" cy="12447"/>
          </a:xfrm>
          <a:prstGeom prst="rect">
            <a:avLst/>
          </a:prstGeom>
          <a:blipFill>
            <a:blip r:embed="rId3" cstate="print"/>
            <a:stretch>
              <a:fillRect/>
            </a:stretch>
          </a:blipFill>
        </p:spPr>
        <p:txBody>
          <a:bodyPr wrap="square" lIns="0" tIns="0" rIns="0" bIns="0" rtlCol="0">
            <a:noAutofit/>
          </a:bodyPr>
          <a:lstStyle/>
          <a:p>
            <a:endParaRPr smtClean="0">
              <a:solidFill>
                <a:prstClr val="black"/>
              </a:solidFill>
            </a:endParaRPr>
          </a:p>
        </p:txBody>
      </p:sp>
      <p:sp>
        <p:nvSpPr>
          <p:cNvPr id="9" name="object 9"/>
          <p:cNvSpPr/>
          <p:nvPr/>
        </p:nvSpPr>
        <p:spPr>
          <a:xfrm>
            <a:off x="1554593" y="62136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0" name="object 10"/>
          <p:cNvSpPr/>
          <p:nvPr/>
        </p:nvSpPr>
        <p:spPr>
          <a:xfrm>
            <a:off x="1554593" y="623439"/>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1" name="object 11"/>
          <p:cNvSpPr/>
          <p:nvPr/>
        </p:nvSpPr>
        <p:spPr>
          <a:xfrm>
            <a:off x="1554593" y="62551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2" name="object 12"/>
          <p:cNvSpPr/>
          <p:nvPr/>
        </p:nvSpPr>
        <p:spPr>
          <a:xfrm>
            <a:off x="1551987" y="62966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3" name="object 13"/>
          <p:cNvSpPr/>
          <p:nvPr/>
        </p:nvSpPr>
        <p:spPr>
          <a:xfrm>
            <a:off x="1551987" y="6317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4" name="object 14"/>
          <p:cNvSpPr/>
          <p:nvPr/>
        </p:nvSpPr>
        <p:spPr>
          <a:xfrm>
            <a:off x="1549380" y="63796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5" name="object 15"/>
          <p:cNvSpPr/>
          <p:nvPr/>
        </p:nvSpPr>
        <p:spPr>
          <a:xfrm>
            <a:off x="1458157" y="620328"/>
            <a:ext cx="158988" cy="26970"/>
          </a:xfrm>
          <a:prstGeom prst="rect">
            <a:avLst/>
          </a:prstGeom>
          <a:blipFill>
            <a:blip r:embed="rId4" cstate="print"/>
            <a:stretch>
              <a:fillRect/>
            </a:stretch>
          </a:blipFill>
        </p:spPr>
        <p:txBody>
          <a:bodyPr wrap="square" lIns="0" tIns="0" rIns="0" bIns="0" rtlCol="0">
            <a:noAutofit/>
          </a:bodyPr>
          <a:lstStyle/>
          <a:p>
            <a:endParaRPr smtClean="0">
              <a:solidFill>
                <a:prstClr val="black"/>
              </a:solidFill>
            </a:endParaRPr>
          </a:p>
        </p:txBody>
      </p:sp>
      <p:sp>
        <p:nvSpPr>
          <p:cNvPr id="16" name="object 16"/>
          <p:cNvSpPr/>
          <p:nvPr/>
        </p:nvSpPr>
        <p:spPr>
          <a:xfrm>
            <a:off x="1546774" y="64626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7" name="object 17"/>
          <p:cNvSpPr/>
          <p:nvPr/>
        </p:nvSpPr>
        <p:spPr>
          <a:xfrm>
            <a:off x="1538955" y="6690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8" name="object 18"/>
          <p:cNvSpPr/>
          <p:nvPr/>
        </p:nvSpPr>
        <p:spPr>
          <a:xfrm>
            <a:off x="1538955" y="67115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9" name="object 19"/>
          <p:cNvSpPr/>
          <p:nvPr/>
        </p:nvSpPr>
        <p:spPr>
          <a:xfrm>
            <a:off x="1538955" y="6732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0" name="object 20"/>
          <p:cNvSpPr/>
          <p:nvPr/>
        </p:nvSpPr>
        <p:spPr>
          <a:xfrm>
            <a:off x="1536348" y="67738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1" name="object 21"/>
          <p:cNvSpPr/>
          <p:nvPr/>
        </p:nvSpPr>
        <p:spPr>
          <a:xfrm>
            <a:off x="1536348" y="67945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2" name="object 22"/>
          <p:cNvSpPr/>
          <p:nvPr/>
        </p:nvSpPr>
        <p:spPr>
          <a:xfrm>
            <a:off x="1197519" y="537341"/>
            <a:ext cx="289309" cy="163900"/>
          </a:xfrm>
          <a:prstGeom prst="rect">
            <a:avLst/>
          </a:prstGeom>
          <a:blipFill>
            <a:blip r:embed="rId5" cstate="print"/>
            <a:stretch>
              <a:fillRect/>
            </a:stretch>
          </a:blipFill>
        </p:spPr>
        <p:txBody>
          <a:bodyPr wrap="square" lIns="0" tIns="0" rIns="0" bIns="0" rtlCol="0">
            <a:noAutofit/>
          </a:bodyPr>
          <a:lstStyle/>
          <a:p>
            <a:endParaRPr smtClean="0">
              <a:solidFill>
                <a:prstClr val="black"/>
              </a:solidFill>
            </a:endParaRPr>
          </a:p>
        </p:txBody>
      </p:sp>
      <p:sp>
        <p:nvSpPr>
          <p:cNvPr id="23" name="object 23"/>
          <p:cNvSpPr/>
          <p:nvPr/>
        </p:nvSpPr>
        <p:spPr>
          <a:xfrm>
            <a:off x="1471189" y="70020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4" name="object 24"/>
          <p:cNvSpPr/>
          <p:nvPr/>
        </p:nvSpPr>
        <p:spPr>
          <a:xfrm>
            <a:off x="1471189" y="70227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5" name="object 25"/>
          <p:cNvSpPr/>
          <p:nvPr/>
        </p:nvSpPr>
        <p:spPr>
          <a:xfrm>
            <a:off x="1473796" y="70435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6" name="object 26"/>
          <p:cNvSpPr/>
          <p:nvPr/>
        </p:nvSpPr>
        <p:spPr>
          <a:xfrm>
            <a:off x="1473796" y="70642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7" name="object 27"/>
          <p:cNvSpPr/>
          <p:nvPr/>
        </p:nvSpPr>
        <p:spPr>
          <a:xfrm>
            <a:off x="1580657" y="72302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8" name="object 28"/>
          <p:cNvSpPr/>
          <p:nvPr/>
        </p:nvSpPr>
        <p:spPr>
          <a:xfrm>
            <a:off x="1119327" y="82053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9" name="object 29"/>
          <p:cNvSpPr/>
          <p:nvPr/>
        </p:nvSpPr>
        <p:spPr>
          <a:xfrm>
            <a:off x="1116722" y="645224"/>
            <a:ext cx="518669" cy="184647"/>
          </a:xfrm>
          <a:prstGeom prst="rect">
            <a:avLst/>
          </a:prstGeom>
          <a:blipFill>
            <a:blip r:embed="rId6" cstate="print"/>
            <a:stretch>
              <a:fillRect/>
            </a:stretch>
          </a:blipFill>
        </p:spPr>
        <p:txBody>
          <a:bodyPr wrap="square" lIns="0" tIns="0" rIns="0" bIns="0" rtlCol="0">
            <a:noAutofit/>
          </a:bodyPr>
          <a:lstStyle/>
          <a:p>
            <a:endParaRPr smtClean="0">
              <a:solidFill>
                <a:prstClr val="black"/>
              </a:solidFill>
            </a:endParaRPr>
          </a:p>
        </p:txBody>
      </p:sp>
      <p:sp>
        <p:nvSpPr>
          <p:cNvPr id="30" name="object 30"/>
          <p:cNvSpPr/>
          <p:nvPr/>
        </p:nvSpPr>
        <p:spPr>
          <a:xfrm>
            <a:off x="1502466" y="82883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1" name="object 31"/>
          <p:cNvSpPr/>
          <p:nvPr/>
        </p:nvSpPr>
        <p:spPr>
          <a:xfrm>
            <a:off x="1119327" y="83298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2" name="object 32"/>
          <p:cNvSpPr/>
          <p:nvPr/>
        </p:nvSpPr>
        <p:spPr>
          <a:xfrm>
            <a:off x="1119327" y="83505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3" name="object 33"/>
          <p:cNvSpPr/>
          <p:nvPr/>
        </p:nvSpPr>
        <p:spPr>
          <a:xfrm>
            <a:off x="1119327" y="8371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4" name="object 34"/>
          <p:cNvSpPr/>
          <p:nvPr/>
        </p:nvSpPr>
        <p:spPr>
          <a:xfrm>
            <a:off x="1119327" y="83920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5" name="object 35"/>
          <p:cNvSpPr/>
          <p:nvPr/>
        </p:nvSpPr>
        <p:spPr>
          <a:xfrm>
            <a:off x="1119327" y="8412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6" name="object 36"/>
          <p:cNvSpPr/>
          <p:nvPr/>
        </p:nvSpPr>
        <p:spPr>
          <a:xfrm>
            <a:off x="1116721" y="827797"/>
            <a:ext cx="648988" cy="141078"/>
          </a:xfrm>
          <a:prstGeom prst="rect">
            <a:avLst/>
          </a:prstGeom>
          <a:blipFill>
            <a:blip r:embed="rId7" cstate="print"/>
            <a:stretch>
              <a:fillRect/>
            </a:stretch>
          </a:blipFill>
        </p:spPr>
        <p:txBody>
          <a:bodyPr wrap="square" lIns="0" tIns="0" rIns="0" bIns="0" rtlCol="0">
            <a:noAutofit/>
          </a:bodyPr>
          <a:lstStyle/>
          <a:p>
            <a:endParaRPr smtClean="0">
              <a:solidFill>
                <a:prstClr val="black"/>
              </a:solidFill>
            </a:endParaRPr>
          </a:p>
        </p:txBody>
      </p:sp>
      <p:sp>
        <p:nvSpPr>
          <p:cNvPr id="37" name="object 37"/>
          <p:cNvSpPr/>
          <p:nvPr/>
        </p:nvSpPr>
        <p:spPr>
          <a:xfrm>
            <a:off x="1567625" y="9678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8" name="object 38"/>
          <p:cNvSpPr/>
          <p:nvPr/>
        </p:nvSpPr>
        <p:spPr>
          <a:xfrm>
            <a:off x="1538955" y="966801"/>
            <a:ext cx="213722" cy="43568"/>
          </a:xfrm>
          <a:prstGeom prst="rect">
            <a:avLst/>
          </a:prstGeom>
          <a:blipFill>
            <a:blip r:embed="rId8" cstate="print"/>
            <a:stretch>
              <a:fillRect/>
            </a:stretch>
          </a:blipFill>
        </p:spPr>
        <p:txBody>
          <a:bodyPr wrap="square" lIns="0" tIns="0" rIns="0" bIns="0" rtlCol="0">
            <a:noAutofit/>
          </a:bodyPr>
          <a:lstStyle/>
          <a:p>
            <a:endParaRPr smtClean="0">
              <a:solidFill>
                <a:prstClr val="black"/>
              </a:solidFill>
            </a:endParaRPr>
          </a:p>
        </p:txBody>
      </p:sp>
      <p:sp>
        <p:nvSpPr>
          <p:cNvPr id="39" name="object 39"/>
          <p:cNvSpPr/>
          <p:nvPr/>
        </p:nvSpPr>
        <p:spPr>
          <a:xfrm>
            <a:off x="1742251" y="100933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40" name="object 40"/>
          <p:cNvSpPr/>
          <p:nvPr/>
        </p:nvSpPr>
        <p:spPr>
          <a:xfrm>
            <a:off x="1168849" y="968875"/>
            <a:ext cx="466542" cy="107888"/>
          </a:xfrm>
          <a:prstGeom prst="rect">
            <a:avLst/>
          </a:prstGeom>
          <a:blipFill>
            <a:blip r:embed="rId9" cstate="print"/>
            <a:stretch>
              <a:fillRect/>
            </a:stretch>
          </a:blipFill>
        </p:spPr>
        <p:txBody>
          <a:bodyPr wrap="square" lIns="0" tIns="0" rIns="0" bIns="0" rtlCol="0">
            <a:noAutofit/>
          </a:bodyPr>
          <a:lstStyle/>
          <a:p>
            <a:endParaRPr smtClean="0">
              <a:solidFill>
                <a:prstClr val="black"/>
              </a:solidFill>
            </a:endParaRPr>
          </a:p>
        </p:txBody>
      </p:sp>
      <p:sp>
        <p:nvSpPr>
          <p:cNvPr id="41" name="object 41"/>
          <p:cNvSpPr/>
          <p:nvPr/>
        </p:nvSpPr>
        <p:spPr>
          <a:xfrm>
            <a:off x="1028104" y="1105810"/>
            <a:ext cx="7452903" cy="3622406"/>
          </a:xfrm>
          <a:prstGeom prst="rect">
            <a:avLst/>
          </a:prstGeom>
          <a:blipFill>
            <a:blip r:embed="rId10" cstate="print"/>
            <a:stretch>
              <a:fillRect/>
            </a:stretch>
          </a:blipFill>
        </p:spPr>
        <p:txBody>
          <a:bodyPr wrap="square" lIns="0" tIns="0" rIns="0" bIns="0" rtlCol="0">
            <a:noAutofit/>
          </a:bodyPr>
          <a:lstStyle/>
          <a:p>
            <a:endParaRPr smtClean="0">
              <a:solidFill>
                <a:prstClr val="black"/>
              </a:solidFill>
            </a:endParaRPr>
          </a:p>
        </p:txBody>
      </p:sp>
    </p:spTree>
    <p:extLst>
      <p:ext uri="{BB962C8B-B14F-4D97-AF65-F5344CB8AC3E}">
        <p14:creationId xmlns:p14="http://schemas.microsoft.com/office/powerpoint/2010/main" val="9430744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2419478" y="594744"/>
            <a:ext cx="5813825" cy="322441"/>
          </a:xfrm>
          <a:prstGeom prst="rect">
            <a:avLst/>
          </a:prstGeom>
        </p:spPr>
        <p:txBody>
          <a:bodyPr vert="horz" wrap="square" lIns="0" tIns="0" rIns="0" bIns="0" rtlCol="0">
            <a:noAutofit/>
          </a:bodyPr>
          <a:lstStyle/>
          <a:p>
            <a:pPr marL="9941">
              <a:tabLst>
                <a:tab pos="2722143" algn="l"/>
                <a:tab pos="3959210" algn="l"/>
              </a:tabLst>
            </a:pPr>
            <a:r>
              <a:rPr sz="2300" spc="39" dirty="0">
                <a:solidFill>
                  <a:srgbClr val="948A53"/>
                </a:solidFill>
                <a:cs typeface="Calibri"/>
              </a:rPr>
              <a:t>B</a:t>
            </a:r>
            <a:r>
              <a:rPr sz="2300" spc="-43" dirty="0">
                <a:solidFill>
                  <a:srgbClr val="948A53"/>
                </a:solidFill>
                <a:cs typeface="Calibri"/>
              </a:rPr>
              <a:t>r</a:t>
            </a:r>
            <a:r>
              <a:rPr sz="2300" spc="27" dirty="0">
                <a:solidFill>
                  <a:srgbClr val="948A53"/>
                </a:solidFill>
                <a:cs typeface="Calibri"/>
              </a:rPr>
              <a:t>a</a:t>
            </a:r>
            <a:r>
              <a:rPr sz="2300" spc="-4" dirty="0">
                <a:solidFill>
                  <a:srgbClr val="948A53"/>
                </a:solidFill>
                <a:cs typeface="Calibri"/>
              </a:rPr>
              <a:t>z</a:t>
            </a:r>
            <a:r>
              <a:rPr sz="2300" spc="31" dirty="0">
                <a:solidFill>
                  <a:srgbClr val="948A53"/>
                </a:solidFill>
                <a:cs typeface="Calibri"/>
              </a:rPr>
              <a:t>ili</a:t>
            </a:r>
            <a:r>
              <a:rPr sz="2300" spc="27" dirty="0">
                <a:solidFill>
                  <a:srgbClr val="948A53"/>
                </a:solidFill>
                <a:cs typeface="Calibri"/>
              </a:rPr>
              <a:t>a</a:t>
            </a:r>
            <a:r>
              <a:rPr sz="2300" spc="23" dirty="0">
                <a:solidFill>
                  <a:srgbClr val="948A53"/>
                </a:solidFill>
                <a:cs typeface="Calibri"/>
              </a:rPr>
              <a:t>n</a:t>
            </a:r>
            <a:r>
              <a:rPr sz="2300" spc="-4" dirty="0">
                <a:solidFill>
                  <a:srgbClr val="948A53"/>
                </a:solidFill>
                <a:cs typeface="Calibri"/>
              </a:rPr>
              <a:t> </a:t>
            </a:r>
            <a:r>
              <a:rPr sz="2300" spc="39" dirty="0">
                <a:solidFill>
                  <a:srgbClr val="948A53"/>
                </a:solidFill>
                <a:cs typeface="Calibri"/>
              </a:rPr>
              <a:t>B</a:t>
            </a:r>
            <a:r>
              <a:rPr sz="2300" spc="31" dirty="0">
                <a:solidFill>
                  <a:srgbClr val="948A53"/>
                </a:solidFill>
                <a:cs typeface="Calibri"/>
              </a:rPr>
              <a:t>i</a:t>
            </a:r>
            <a:r>
              <a:rPr sz="2300" spc="23" dirty="0">
                <a:solidFill>
                  <a:srgbClr val="948A53"/>
                </a:solidFill>
                <a:cs typeface="Calibri"/>
              </a:rPr>
              <a:t>od</a:t>
            </a:r>
            <a:r>
              <a:rPr sz="2300" spc="31" dirty="0">
                <a:solidFill>
                  <a:srgbClr val="948A53"/>
                </a:solidFill>
                <a:cs typeface="Calibri"/>
              </a:rPr>
              <a:t>i</a:t>
            </a:r>
            <a:r>
              <a:rPr sz="2300" spc="23" dirty="0">
                <a:solidFill>
                  <a:srgbClr val="948A53"/>
                </a:solidFill>
                <a:cs typeface="Calibri"/>
              </a:rPr>
              <a:t>v</a:t>
            </a:r>
            <a:r>
              <a:rPr sz="2300" spc="8" dirty="0">
                <a:solidFill>
                  <a:srgbClr val="948A53"/>
                </a:solidFill>
                <a:cs typeface="Calibri"/>
              </a:rPr>
              <a:t>e</a:t>
            </a:r>
            <a:r>
              <a:rPr sz="2300" spc="-23" dirty="0">
                <a:solidFill>
                  <a:srgbClr val="948A53"/>
                </a:solidFill>
                <a:cs typeface="Calibri"/>
              </a:rPr>
              <a:t>r</a:t>
            </a:r>
            <a:r>
              <a:rPr sz="2300" spc="20" dirty="0">
                <a:solidFill>
                  <a:srgbClr val="948A53"/>
                </a:solidFill>
                <a:cs typeface="Calibri"/>
              </a:rPr>
              <a:t>s</a:t>
            </a:r>
            <a:r>
              <a:rPr sz="2300" spc="31" dirty="0">
                <a:solidFill>
                  <a:srgbClr val="948A53"/>
                </a:solidFill>
                <a:cs typeface="Calibri"/>
              </a:rPr>
              <a:t>i</a:t>
            </a:r>
            <a:r>
              <a:rPr sz="2300" spc="20" dirty="0">
                <a:solidFill>
                  <a:srgbClr val="948A53"/>
                </a:solidFill>
                <a:cs typeface="Calibri"/>
              </a:rPr>
              <a:t>t</a:t>
            </a:r>
            <a:r>
              <a:rPr sz="2300" spc="43" dirty="0">
                <a:solidFill>
                  <a:srgbClr val="948A53"/>
                </a:solidFill>
                <a:cs typeface="Calibri"/>
              </a:rPr>
              <a:t>y</a:t>
            </a:r>
            <a:r>
              <a:rPr sz="2300" spc="16" dirty="0">
                <a:solidFill>
                  <a:srgbClr val="948A53"/>
                </a:solidFill>
                <a:cs typeface="Calibri"/>
              </a:rPr>
              <a:t>:	</a:t>
            </a:r>
            <a:r>
              <a:rPr sz="2300" spc="39" dirty="0">
                <a:solidFill>
                  <a:srgbClr val="948A53"/>
                </a:solidFill>
                <a:cs typeface="Calibri"/>
              </a:rPr>
              <a:t>M</a:t>
            </a:r>
            <a:r>
              <a:rPr sz="2300" spc="27" dirty="0">
                <a:solidFill>
                  <a:srgbClr val="948A53"/>
                </a:solidFill>
                <a:cs typeface="Calibri"/>
              </a:rPr>
              <a:t>a</a:t>
            </a:r>
            <a:r>
              <a:rPr sz="2300" spc="-27" dirty="0">
                <a:solidFill>
                  <a:srgbClr val="948A53"/>
                </a:solidFill>
                <a:cs typeface="Calibri"/>
              </a:rPr>
              <a:t>c</a:t>
            </a:r>
            <a:r>
              <a:rPr sz="2300" spc="27" dirty="0">
                <a:solidFill>
                  <a:srgbClr val="948A53"/>
                </a:solidFill>
                <a:cs typeface="Calibri"/>
              </a:rPr>
              <a:t>a</a:t>
            </a:r>
            <a:r>
              <a:rPr sz="2300" spc="23" dirty="0">
                <a:solidFill>
                  <a:srgbClr val="948A53"/>
                </a:solidFill>
                <a:cs typeface="Calibri"/>
              </a:rPr>
              <a:t>úb</a:t>
            </a:r>
            <a:r>
              <a:rPr sz="2300" spc="31" dirty="0">
                <a:solidFill>
                  <a:srgbClr val="948A53"/>
                </a:solidFill>
                <a:cs typeface="Calibri"/>
              </a:rPr>
              <a:t>a	</a:t>
            </a:r>
            <a:r>
              <a:rPr sz="2300" spc="4" dirty="0">
                <a:solidFill>
                  <a:srgbClr val="948A53"/>
                </a:solidFill>
                <a:cs typeface="Calibri"/>
              </a:rPr>
              <a:t>v</a:t>
            </a:r>
            <a:r>
              <a:rPr sz="2300" spc="27" dirty="0">
                <a:solidFill>
                  <a:srgbClr val="948A53"/>
                </a:solidFill>
                <a:cs typeface="Calibri"/>
              </a:rPr>
              <a:t>a</a:t>
            </a:r>
            <a:r>
              <a:rPr sz="2300" spc="31" dirty="0">
                <a:solidFill>
                  <a:srgbClr val="948A53"/>
                </a:solidFill>
                <a:cs typeface="Calibri"/>
              </a:rPr>
              <a:t>l</a:t>
            </a:r>
            <a:r>
              <a:rPr sz="2300" spc="23" dirty="0">
                <a:solidFill>
                  <a:srgbClr val="948A53"/>
                </a:solidFill>
                <a:cs typeface="Calibri"/>
              </a:rPr>
              <a:t>u</a:t>
            </a:r>
            <a:r>
              <a:rPr sz="2300" spc="8" dirty="0">
                <a:solidFill>
                  <a:srgbClr val="948A53"/>
                </a:solidFill>
                <a:cs typeface="Calibri"/>
              </a:rPr>
              <a:t>e</a:t>
            </a:r>
            <a:r>
              <a:rPr sz="2300" spc="-16" dirty="0">
                <a:solidFill>
                  <a:srgbClr val="948A53"/>
                </a:solidFill>
                <a:cs typeface="Calibri"/>
              </a:rPr>
              <a:t> c</a:t>
            </a:r>
            <a:r>
              <a:rPr sz="2300" spc="23" dirty="0">
                <a:solidFill>
                  <a:srgbClr val="948A53"/>
                </a:solidFill>
                <a:cs typeface="Calibri"/>
              </a:rPr>
              <a:t>h</a:t>
            </a:r>
            <a:r>
              <a:rPr sz="2300" spc="27" dirty="0">
                <a:solidFill>
                  <a:srgbClr val="948A53"/>
                </a:solidFill>
                <a:cs typeface="Calibri"/>
              </a:rPr>
              <a:t>a</a:t>
            </a:r>
            <a:r>
              <a:rPr sz="2300" spc="31" dirty="0">
                <a:solidFill>
                  <a:srgbClr val="948A53"/>
                </a:solidFill>
                <a:cs typeface="Calibri"/>
              </a:rPr>
              <a:t>i</a:t>
            </a:r>
            <a:r>
              <a:rPr sz="2300" spc="23" dirty="0">
                <a:solidFill>
                  <a:srgbClr val="948A53"/>
                </a:solidFill>
                <a:cs typeface="Calibri"/>
              </a:rPr>
              <a:t>n</a:t>
            </a:r>
            <a:endParaRPr sz="2300">
              <a:solidFill>
                <a:prstClr val="black"/>
              </a:solidFill>
              <a:cs typeface="Calibri"/>
            </a:endParaRPr>
          </a:p>
        </p:txBody>
      </p:sp>
      <p:sp>
        <p:nvSpPr>
          <p:cNvPr id="3" name="object 3"/>
          <p:cNvSpPr/>
          <p:nvPr/>
        </p:nvSpPr>
        <p:spPr>
          <a:xfrm>
            <a:off x="1497254" y="543564"/>
            <a:ext cx="109467" cy="68464"/>
          </a:xfrm>
          <a:prstGeom prst="rect">
            <a:avLst/>
          </a:prstGeom>
          <a:blipFill>
            <a:blip r:embed="rId2" cstate="print"/>
            <a:stretch>
              <a:fillRect/>
            </a:stretch>
          </a:blipFill>
        </p:spPr>
        <p:txBody>
          <a:bodyPr wrap="square" lIns="0" tIns="0" rIns="0" bIns="0" rtlCol="0">
            <a:noAutofit/>
          </a:bodyPr>
          <a:lstStyle/>
          <a:p>
            <a:endParaRPr smtClean="0">
              <a:solidFill>
                <a:prstClr val="black"/>
              </a:solidFill>
            </a:endParaRPr>
          </a:p>
        </p:txBody>
      </p:sp>
      <p:sp>
        <p:nvSpPr>
          <p:cNvPr id="4" name="object 4"/>
          <p:cNvSpPr/>
          <p:nvPr/>
        </p:nvSpPr>
        <p:spPr>
          <a:xfrm>
            <a:off x="1559806" y="61099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5" name="object 5"/>
          <p:cNvSpPr/>
          <p:nvPr/>
        </p:nvSpPr>
        <p:spPr>
          <a:xfrm>
            <a:off x="1559806" y="61306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6" name="object 6"/>
          <p:cNvSpPr/>
          <p:nvPr/>
        </p:nvSpPr>
        <p:spPr>
          <a:xfrm>
            <a:off x="1557199" y="61514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7" name="object 7"/>
          <p:cNvSpPr/>
          <p:nvPr/>
        </p:nvSpPr>
        <p:spPr>
          <a:xfrm>
            <a:off x="1557199" y="61721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8" name="object 8"/>
          <p:cNvSpPr/>
          <p:nvPr/>
        </p:nvSpPr>
        <p:spPr>
          <a:xfrm>
            <a:off x="1481615" y="609954"/>
            <a:ext cx="130318" cy="12447"/>
          </a:xfrm>
          <a:prstGeom prst="rect">
            <a:avLst/>
          </a:prstGeom>
          <a:blipFill>
            <a:blip r:embed="rId3" cstate="print"/>
            <a:stretch>
              <a:fillRect/>
            </a:stretch>
          </a:blipFill>
        </p:spPr>
        <p:txBody>
          <a:bodyPr wrap="square" lIns="0" tIns="0" rIns="0" bIns="0" rtlCol="0">
            <a:noAutofit/>
          </a:bodyPr>
          <a:lstStyle/>
          <a:p>
            <a:endParaRPr smtClean="0">
              <a:solidFill>
                <a:prstClr val="black"/>
              </a:solidFill>
            </a:endParaRPr>
          </a:p>
        </p:txBody>
      </p:sp>
      <p:sp>
        <p:nvSpPr>
          <p:cNvPr id="9" name="object 9"/>
          <p:cNvSpPr/>
          <p:nvPr/>
        </p:nvSpPr>
        <p:spPr>
          <a:xfrm>
            <a:off x="1554593" y="62136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0" name="object 10"/>
          <p:cNvSpPr/>
          <p:nvPr/>
        </p:nvSpPr>
        <p:spPr>
          <a:xfrm>
            <a:off x="1554593" y="623439"/>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1" name="object 11"/>
          <p:cNvSpPr/>
          <p:nvPr/>
        </p:nvSpPr>
        <p:spPr>
          <a:xfrm>
            <a:off x="1554593" y="62551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2" name="object 12"/>
          <p:cNvSpPr/>
          <p:nvPr/>
        </p:nvSpPr>
        <p:spPr>
          <a:xfrm>
            <a:off x="1551987" y="62966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3" name="object 13"/>
          <p:cNvSpPr/>
          <p:nvPr/>
        </p:nvSpPr>
        <p:spPr>
          <a:xfrm>
            <a:off x="1551987" y="6317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4" name="object 14"/>
          <p:cNvSpPr/>
          <p:nvPr/>
        </p:nvSpPr>
        <p:spPr>
          <a:xfrm>
            <a:off x="1549380" y="63796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5" name="object 15"/>
          <p:cNvSpPr/>
          <p:nvPr/>
        </p:nvSpPr>
        <p:spPr>
          <a:xfrm>
            <a:off x="1458157" y="620328"/>
            <a:ext cx="158988" cy="26970"/>
          </a:xfrm>
          <a:prstGeom prst="rect">
            <a:avLst/>
          </a:prstGeom>
          <a:blipFill>
            <a:blip r:embed="rId4" cstate="print"/>
            <a:stretch>
              <a:fillRect/>
            </a:stretch>
          </a:blipFill>
        </p:spPr>
        <p:txBody>
          <a:bodyPr wrap="square" lIns="0" tIns="0" rIns="0" bIns="0" rtlCol="0">
            <a:noAutofit/>
          </a:bodyPr>
          <a:lstStyle/>
          <a:p>
            <a:endParaRPr smtClean="0">
              <a:solidFill>
                <a:prstClr val="black"/>
              </a:solidFill>
            </a:endParaRPr>
          </a:p>
        </p:txBody>
      </p:sp>
      <p:sp>
        <p:nvSpPr>
          <p:cNvPr id="16" name="object 16"/>
          <p:cNvSpPr/>
          <p:nvPr/>
        </p:nvSpPr>
        <p:spPr>
          <a:xfrm>
            <a:off x="1546774" y="64626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7" name="object 17"/>
          <p:cNvSpPr/>
          <p:nvPr/>
        </p:nvSpPr>
        <p:spPr>
          <a:xfrm>
            <a:off x="1538955" y="6690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8" name="object 18"/>
          <p:cNvSpPr/>
          <p:nvPr/>
        </p:nvSpPr>
        <p:spPr>
          <a:xfrm>
            <a:off x="1538955" y="67115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9" name="object 19"/>
          <p:cNvSpPr/>
          <p:nvPr/>
        </p:nvSpPr>
        <p:spPr>
          <a:xfrm>
            <a:off x="1538955" y="6732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0" name="object 20"/>
          <p:cNvSpPr/>
          <p:nvPr/>
        </p:nvSpPr>
        <p:spPr>
          <a:xfrm>
            <a:off x="1536348" y="67738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1" name="object 21"/>
          <p:cNvSpPr/>
          <p:nvPr/>
        </p:nvSpPr>
        <p:spPr>
          <a:xfrm>
            <a:off x="1536348" y="67945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2" name="object 22"/>
          <p:cNvSpPr/>
          <p:nvPr/>
        </p:nvSpPr>
        <p:spPr>
          <a:xfrm>
            <a:off x="1197519" y="537341"/>
            <a:ext cx="289309" cy="163900"/>
          </a:xfrm>
          <a:prstGeom prst="rect">
            <a:avLst/>
          </a:prstGeom>
          <a:blipFill>
            <a:blip r:embed="rId5" cstate="print"/>
            <a:stretch>
              <a:fillRect/>
            </a:stretch>
          </a:blipFill>
        </p:spPr>
        <p:txBody>
          <a:bodyPr wrap="square" lIns="0" tIns="0" rIns="0" bIns="0" rtlCol="0">
            <a:noAutofit/>
          </a:bodyPr>
          <a:lstStyle/>
          <a:p>
            <a:endParaRPr smtClean="0">
              <a:solidFill>
                <a:prstClr val="black"/>
              </a:solidFill>
            </a:endParaRPr>
          </a:p>
        </p:txBody>
      </p:sp>
      <p:sp>
        <p:nvSpPr>
          <p:cNvPr id="23" name="object 23"/>
          <p:cNvSpPr/>
          <p:nvPr/>
        </p:nvSpPr>
        <p:spPr>
          <a:xfrm>
            <a:off x="1471189" y="70020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4" name="object 24"/>
          <p:cNvSpPr/>
          <p:nvPr/>
        </p:nvSpPr>
        <p:spPr>
          <a:xfrm>
            <a:off x="1471189" y="70227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5" name="object 25"/>
          <p:cNvSpPr/>
          <p:nvPr/>
        </p:nvSpPr>
        <p:spPr>
          <a:xfrm>
            <a:off x="1473796" y="70435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6" name="object 26"/>
          <p:cNvSpPr/>
          <p:nvPr/>
        </p:nvSpPr>
        <p:spPr>
          <a:xfrm>
            <a:off x="1473796" y="70642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7" name="object 27"/>
          <p:cNvSpPr/>
          <p:nvPr/>
        </p:nvSpPr>
        <p:spPr>
          <a:xfrm>
            <a:off x="1580657" y="72302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8" name="object 28"/>
          <p:cNvSpPr/>
          <p:nvPr/>
        </p:nvSpPr>
        <p:spPr>
          <a:xfrm>
            <a:off x="1119327" y="82053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9" name="object 29"/>
          <p:cNvSpPr/>
          <p:nvPr/>
        </p:nvSpPr>
        <p:spPr>
          <a:xfrm>
            <a:off x="1116722" y="645224"/>
            <a:ext cx="518669" cy="184647"/>
          </a:xfrm>
          <a:prstGeom prst="rect">
            <a:avLst/>
          </a:prstGeom>
          <a:blipFill>
            <a:blip r:embed="rId6" cstate="print"/>
            <a:stretch>
              <a:fillRect/>
            </a:stretch>
          </a:blipFill>
        </p:spPr>
        <p:txBody>
          <a:bodyPr wrap="square" lIns="0" tIns="0" rIns="0" bIns="0" rtlCol="0">
            <a:noAutofit/>
          </a:bodyPr>
          <a:lstStyle/>
          <a:p>
            <a:endParaRPr smtClean="0">
              <a:solidFill>
                <a:prstClr val="black"/>
              </a:solidFill>
            </a:endParaRPr>
          </a:p>
        </p:txBody>
      </p:sp>
      <p:sp>
        <p:nvSpPr>
          <p:cNvPr id="30" name="object 30"/>
          <p:cNvSpPr/>
          <p:nvPr/>
        </p:nvSpPr>
        <p:spPr>
          <a:xfrm>
            <a:off x="1502466" y="82883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1" name="object 31"/>
          <p:cNvSpPr/>
          <p:nvPr/>
        </p:nvSpPr>
        <p:spPr>
          <a:xfrm>
            <a:off x="1119327" y="83298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2" name="object 32"/>
          <p:cNvSpPr/>
          <p:nvPr/>
        </p:nvSpPr>
        <p:spPr>
          <a:xfrm>
            <a:off x="1119327" y="83505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3" name="object 33"/>
          <p:cNvSpPr/>
          <p:nvPr/>
        </p:nvSpPr>
        <p:spPr>
          <a:xfrm>
            <a:off x="1119327" y="8371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4" name="object 34"/>
          <p:cNvSpPr/>
          <p:nvPr/>
        </p:nvSpPr>
        <p:spPr>
          <a:xfrm>
            <a:off x="1119327" y="83920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5" name="object 35"/>
          <p:cNvSpPr/>
          <p:nvPr/>
        </p:nvSpPr>
        <p:spPr>
          <a:xfrm>
            <a:off x="1119327" y="8412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6" name="object 36"/>
          <p:cNvSpPr/>
          <p:nvPr/>
        </p:nvSpPr>
        <p:spPr>
          <a:xfrm>
            <a:off x="1116721" y="827797"/>
            <a:ext cx="648988" cy="141078"/>
          </a:xfrm>
          <a:prstGeom prst="rect">
            <a:avLst/>
          </a:prstGeom>
          <a:blipFill>
            <a:blip r:embed="rId7" cstate="print"/>
            <a:stretch>
              <a:fillRect/>
            </a:stretch>
          </a:blipFill>
        </p:spPr>
        <p:txBody>
          <a:bodyPr wrap="square" lIns="0" tIns="0" rIns="0" bIns="0" rtlCol="0">
            <a:noAutofit/>
          </a:bodyPr>
          <a:lstStyle/>
          <a:p>
            <a:endParaRPr smtClean="0">
              <a:solidFill>
                <a:prstClr val="black"/>
              </a:solidFill>
            </a:endParaRPr>
          </a:p>
        </p:txBody>
      </p:sp>
      <p:sp>
        <p:nvSpPr>
          <p:cNvPr id="37" name="object 37"/>
          <p:cNvSpPr/>
          <p:nvPr/>
        </p:nvSpPr>
        <p:spPr>
          <a:xfrm>
            <a:off x="1567625" y="9678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8" name="object 38"/>
          <p:cNvSpPr/>
          <p:nvPr/>
        </p:nvSpPr>
        <p:spPr>
          <a:xfrm>
            <a:off x="1538955" y="966801"/>
            <a:ext cx="213722" cy="43568"/>
          </a:xfrm>
          <a:prstGeom prst="rect">
            <a:avLst/>
          </a:prstGeom>
          <a:blipFill>
            <a:blip r:embed="rId8" cstate="print"/>
            <a:stretch>
              <a:fillRect/>
            </a:stretch>
          </a:blipFill>
        </p:spPr>
        <p:txBody>
          <a:bodyPr wrap="square" lIns="0" tIns="0" rIns="0" bIns="0" rtlCol="0">
            <a:noAutofit/>
          </a:bodyPr>
          <a:lstStyle/>
          <a:p>
            <a:endParaRPr smtClean="0">
              <a:solidFill>
                <a:prstClr val="black"/>
              </a:solidFill>
            </a:endParaRPr>
          </a:p>
        </p:txBody>
      </p:sp>
      <p:sp>
        <p:nvSpPr>
          <p:cNvPr id="39" name="object 39"/>
          <p:cNvSpPr/>
          <p:nvPr/>
        </p:nvSpPr>
        <p:spPr>
          <a:xfrm>
            <a:off x="1742251" y="100933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40" name="object 40"/>
          <p:cNvSpPr/>
          <p:nvPr/>
        </p:nvSpPr>
        <p:spPr>
          <a:xfrm>
            <a:off x="1168849" y="968875"/>
            <a:ext cx="466542" cy="107888"/>
          </a:xfrm>
          <a:prstGeom prst="rect">
            <a:avLst/>
          </a:prstGeom>
          <a:blipFill>
            <a:blip r:embed="rId9" cstate="print"/>
            <a:stretch>
              <a:fillRect/>
            </a:stretch>
          </a:blipFill>
        </p:spPr>
        <p:txBody>
          <a:bodyPr wrap="square" lIns="0" tIns="0" rIns="0" bIns="0" rtlCol="0">
            <a:noAutofit/>
          </a:bodyPr>
          <a:lstStyle/>
          <a:p>
            <a:endParaRPr smtClean="0">
              <a:solidFill>
                <a:prstClr val="black"/>
              </a:solidFill>
            </a:endParaRPr>
          </a:p>
        </p:txBody>
      </p:sp>
      <p:sp>
        <p:nvSpPr>
          <p:cNvPr id="41" name="object 41"/>
          <p:cNvSpPr/>
          <p:nvPr/>
        </p:nvSpPr>
        <p:spPr>
          <a:xfrm>
            <a:off x="1061988" y="1199171"/>
            <a:ext cx="7142745" cy="3606846"/>
          </a:xfrm>
          <a:prstGeom prst="rect">
            <a:avLst/>
          </a:prstGeom>
          <a:blipFill>
            <a:blip r:embed="rId10" cstate="print"/>
            <a:stretch>
              <a:fillRect/>
            </a:stretch>
          </a:blipFill>
        </p:spPr>
        <p:txBody>
          <a:bodyPr wrap="square" lIns="0" tIns="0" rIns="0" bIns="0" rtlCol="0">
            <a:noAutofit/>
          </a:bodyPr>
          <a:lstStyle/>
          <a:p>
            <a:endParaRPr smtClean="0">
              <a:solidFill>
                <a:prstClr val="black"/>
              </a:solidFill>
            </a:endParaRPr>
          </a:p>
        </p:txBody>
      </p:sp>
    </p:spTree>
    <p:extLst>
      <p:ext uri="{BB962C8B-B14F-4D97-AF65-F5344CB8AC3E}">
        <p14:creationId xmlns:p14="http://schemas.microsoft.com/office/powerpoint/2010/main" val="88580802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0" rIns="0" bIns="0" rtlCol="0">
            <a:noAutofit/>
          </a:bodyPr>
          <a:lstStyle/>
          <a:p>
            <a:pPr marL="926930" algn="ctr"/>
            <a:r>
              <a:rPr sz="2500" spc="4" dirty="0">
                <a:solidFill>
                  <a:srgbClr val="948A53"/>
                </a:solidFill>
                <a:latin typeface="Calibri"/>
                <a:cs typeface="Calibri"/>
              </a:rPr>
              <a:t>F</a:t>
            </a:r>
            <a:r>
              <a:rPr sz="2500" spc="43" dirty="0">
                <a:solidFill>
                  <a:srgbClr val="948A53"/>
                </a:solidFill>
                <a:latin typeface="Calibri"/>
                <a:cs typeface="Calibri"/>
              </a:rPr>
              <a:t>l</a:t>
            </a:r>
            <a:r>
              <a:rPr sz="2500" spc="39" dirty="0">
                <a:solidFill>
                  <a:srgbClr val="948A53"/>
                </a:solidFill>
                <a:latin typeface="Calibri"/>
                <a:cs typeface="Calibri"/>
              </a:rPr>
              <a:t>y</a:t>
            </a:r>
            <a:r>
              <a:rPr sz="2500" spc="43" dirty="0">
                <a:solidFill>
                  <a:srgbClr val="948A53"/>
                </a:solidFill>
                <a:latin typeface="Calibri"/>
                <a:cs typeface="Calibri"/>
              </a:rPr>
              <a:t>i</a:t>
            </a:r>
            <a:r>
              <a:rPr sz="2500" spc="20" dirty="0">
                <a:solidFill>
                  <a:srgbClr val="948A53"/>
                </a:solidFill>
                <a:latin typeface="Calibri"/>
                <a:cs typeface="Calibri"/>
              </a:rPr>
              <a:t>n</a:t>
            </a:r>
            <a:r>
              <a:rPr sz="2500" dirty="0">
                <a:solidFill>
                  <a:srgbClr val="948A53"/>
                </a:solidFill>
                <a:latin typeface="Calibri"/>
                <a:cs typeface="Calibri"/>
              </a:rPr>
              <a:t>g</a:t>
            </a:r>
            <a:r>
              <a:rPr sz="2500" spc="-20" dirty="0">
                <a:solidFill>
                  <a:srgbClr val="948A53"/>
                </a:solidFill>
                <a:latin typeface="Calibri"/>
                <a:cs typeface="Calibri"/>
              </a:rPr>
              <a:t> </a:t>
            </a:r>
            <a:r>
              <a:rPr sz="2500" spc="12" dirty="0">
                <a:solidFill>
                  <a:srgbClr val="948A53"/>
                </a:solidFill>
                <a:latin typeface="Calibri"/>
                <a:cs typeface="Calibri"/>
              </a:rPr>
              <a:t>G</a:t>
            </a:r>
            <a:r>
              <a:rPr sz="2500" spc="-23" dirty="0">
                <a:solidFill>
                  <a:srgbClr val="948A53"/>
                </a:solidFill>
                <a:latin typeface="Calibri"/>
                <a:cs typeface="Calibri"/>
              </a:rPr>
              <a:t>r</a:t>
            </a:r>
            <a:r>
              <a:rPr sz="2500" spc="4" dirty="0">
                <a:solidFill>
                  <a:srgbClr val="948A53"/>
                </a:solidFill>
                <a:latin typeface="Calibri"/>
                <a:cs typeface="Calibri"/>
              </a:rPr>
              <a:t>ee</a:t>
            </a:r>
            <a:r>
              <a:rPr sz="2500" spc="23" dirty="0">
                <a:solidFill>
                  <a:srgbClr val="948A53"/>
                </a:solidFill>
                <a:latin typeface="Calibri"/>
                <a:cs typeface="Calibri"/>
              </a:rPr>
              <a:t>n</a:t>
            </a:r>
            <a:r>
              <a:rPr sz="2500" spc="4" dirty="0">
                <a:solidFill>
                  <a:srgbClr val="948A53"/>
                </a:solidFill>
                <a:latin typeface="Calibri"/>
                <a:cs typeface="Calibri"/>
              </a:rPr>
              <a:t> </a:t>
            </a:r>
            <a:r>
              <a:rPr sz="2500" spc="31" dirty="0">
                <a:solidFill>
                  <a:srgbClr val="948A53"/>
                </a:solidFill>
                <a:latin typeface="Calibri"/>
                <a:cs typeface="Calibri"/>
              </a:rPr>
              <a:t>P</a:t>
            </a:r>
            <a:r>
              <a:rPr sz="2500" spc="-23" dirty="0">
                <a:solidFill>
                  <a:srgbClr val="948A53"/>
                </a:solidFill>
                <a:latin typeface="Calibri"/>
                <a:cs typeface="Calibri"/>
              </a:rPr>
              <a:t>r</a:t>
            </a:r>
            <a:r>
              <a:rPr sz="2500" spc="27" dirty="0">
                <a:solidFill>
                  <a:srgbClr val="948A53"/>
                </a:solidFill>
                <a:latin typeface="Calibri"/>
                <a:cs typeface="Calibri"/>
              </a:rPr>
              <a:t>o</a:t>
            </a:r>
            <a:r>
              <a:rPr sz="2500" dirty="0">
                <a:solidFill>
                  <a:srgbClr val="948A53"/>
                </a:solidFill>
                <a:latin typeface="Calibri"/>
                <a:cs typeface="Calibri"/>
              </a:rPr>
              <a:t>g</a:t>
            </a:r>
            <a:r>
              <a:rPr sz="2500" spc="-51" dirty="0">
                <a:solidFill>
                  <a:srgbClr val="948A53"/>
                </a:solidFill>
                <a:latin typeface="Calibri"/>
                <a:cs typeface="Calibri"/>
              </a:rPr>
              <a:t>r</a:t>
            </a:r>
            <a:r>
              <a:rPr sz="2500" spc="35" dirty="0">
                <a:solidFill>
                  <a:srgbClr val="948A53"/>
                </a:solidFill>
                <a:latin typeface="Calibri"/>
                <a:cs typeface="Calibri"/>
              </a:rPr>
              <a:t>a</a:t>
            </a:r>
            <a:r>
              <a:rPr sz="2500" spc="20" dirty="0">
                <a:solidFill>
                  <a:srgbClr val="948A53"/>
                </a:solidFill>
                <a:latin typeface="Calibri"/>
                <a:cs typeface="Calibri"/>
              </a:rPr>
              <a:t>m</a:t>
            </a:r>
            <a:endParaRPr sz="2500">
              <a:latin typeface="Calibri"/>
              <a:cs typeface="Calibri"/>
            </a:endParaRPr>
          </a:p>
          <a:p>
            <a:pPr marL="926930" algn="ctr">
              <a:spcBef>
                <a:spcPts val="55"/>
              </a:spcBef>
            </a:pPr>
            <a:r>
              <a:rPr sz="1600" spc="-20" dirty="0">
                <a:solidFill>
                  <a:srgbClr val="948A53"/>
                </a:solidFill>
                <a:latin typeface="Calibri"/>
                <a:cs typeface="Calibri"/>
              </a:rPr>
              <a:t>C</a:t>
            </a:r>
            <a:r>
              <a:rPr sz="1600" spc="16" dirty="0">
                <a:solidFill>
                  <a:srgbClr val="948A53"/>
                </a:solidFill>
                <a:latin typeface="Calibri"/>
                <a:cs typeface="Calibri"/>
              </a:rPr>
              <a:t>a</a:t>
            </a:r>
            <a:r>
              <a:rPr sz="1600" dirty="0">
                <a:solidFill>
                  <a:srgbClr val="948A53"/>
                </a:solidFill>
                <a:latin typeface="Calibri"/>
                <a:cs typeface="Calibri"/>
              </a:rPr>
              <a:t>r</a:t>
            </a:r>
            <a:r>
              <a:rPr sz="1600" spc="20" dirty="0">
                <a:solidFill>
                  <a:srgbClr val="948A53"/>
                </a:solidFill>
                <a:latin typeface="Calibri"/>
                <a:cs typeface="Calibri"/>
              </a:rPr>
              <a:t>b</a:t>
            </a:r>
            <a:r>
              <a:rPr sz="1600" spc="16" dirty="0">
                <a:solidFill>
                  <a:srgbClr val="948A53"/>
                </a:solidFill>
                <a:latin typeface="Calibri"/>
                <a:cs typeface="Calibri"/>
              </a:rPr>
              <a:t>on</a:t>
            </a:r>
            <a:r>
              <a:rPr sz="1600" spc="-4" dirty="0">
                <a:solidFill>
                  <a:srgbClr val="948A53"/>
                </a:solidFill>
                <a:latin typeface="Calibri"/>
                <a:cs typeface="Calibri"/>
              </a:rPr>
              <a:t> </a:t>
            </a:r>
            <a:r>
              <a:rPr sz="1600" spc="-16" dirty="0">
                <a:solidFill>
                  <a:srgbClr val="948A53"/>
                </a:solidFill>
                <a:latin typeface="Calibri"/>
                <a:cs typeface="Calibri"/>
              </a:rPr>
              <a:t>F</a:t>
            </a:r>
            <a:r>
              <a:rPr sz="1600" spc="16" dirty="0">
                <a:solidFill>
                  <a:srgbClr val="948A53"/>
                </a:solidFill>
                <a:latin typeface="Calibri"/>
                <a:cs typeface="Calibri"/>
              </a:rPr>
              <a:t>oot</a:t>
            </a:r>
            <a:r>
              <a:rPr sz="1600" spc="20" dirty="0">
                <a:solidFill>
                  <a:srgbClr val="948A53"/>
                </a:solidFill>
                <a:latin typeface="Calibri"/>
                <a:cs typeface="Calibri"/>
              </a:rPr>
              <a:t>p</a:t>
            </a:r>
            <a:r>
              <a:rPr sz="1600" dirty="0">
                <a:solidFill>
                  <a:srgbClr val="948A53"/>
                </a:solidFill>
                <a:latin typeface="Calibri"/>
                <a:cs typeface="Calibri"/>
              </a:rPr>
              <a:t>r</a:t>
            </a:r>
            <a:r>
              <a:rPr sz="1600" spc="23" dirty="0">
                <a:solidFill>
                  <a:srgbClr val="948A53"/>
                </a:solidFill>
                <a:latin typeface="Calibri"/>
                <a:cs typeface="Calibri"/>
              </a:rPr>
              <a:t>i</a:t>
            </a:r>
            <a:r>
              <a:rPr sz="1600" dirty="0">
                <a:solidFill>
                  <a:srgbClr val="948A53"/>
                </a:solidFill>
                <a:latin typeface="Calibri"/>
                <a:cs typeface="Calibri"/>
              </a:rPr>
              <a:t>n</a:t>
            </a:r>
            <a:r>
              <a:rPr sz="1600" spc="16" dirty="0">
                <a:solidFill>
                  <a:srgbClr val="948A53"/>
                </a:solidFill>
                <a:latin typeface="Calibri"/>
                <a:cs typeface="Calibri"/>
              </a:rPr>
              <a:t>t</a:t>
            </a:r>
            <a:r>
              <a:rPr sz="1600" spc="-35" dirty="0">
                <a:solidFill>
                  <a:srgbClr val="948A53"/>
                </a:solidFill>
                <a:latin typeface="Calibri"/>
                <a:cs typeface="Calibri"/>
              </a:rPr>
              <a:t> </a:t>
            </a:r>
            <a:r>
              <a:rPr sz="1600" spc="20" dirty="0">
                <a:solidFill>
                  <a:srgbClr val="948A53"/>
                </a:solidFill>
                <a:latin typeface="Calibri"/>
                <a:cs typeface="Calibri"/>
              </a:rPr>
              <a:t>O</a:t>
            </a:r>
            <a:r>
              <a:rPr sz="1600" spc="12" dirty="0">
                <a:solidFill>
                  <a:srgbClr val="948A53"/>
                </a:solidFill>
                <a:latin typeface="Calibri"/>
                <a:cs typeface="Calibri"/>
              </a:rPr>
              <a:t>f</a:t>
            </a:r>
            <a:r>
              <a:rPr sz="1600" spc="-8" dirty="0">
                <a:solidFill>
                  <a:srgbClr val="948A53"/>
                </a:solidFill>
                <a:latin typeface="Calibri"/>
                <a:cs typeface="Calibri"/>
              </a:rPr>
              <a:t>f</a:t>
            </a:r>
            <a:r>
              <a:rPr sz="1600" spc="12" dirty="0">
                <a:solidFill>
                  <a:srgbClr val="948A53"/>
                </a:solidFill>
                <a:latin typeface="Calibri"/>
                <a:cs typeface="Calibri"/>
              </a:rPr>
              <a:t>s</a:t>
            </a:r>
            <a:r>
              <a:rPr sz="1600" spc="-4" dirty="0">
                <a:solidFill>
                  <a:srgbClr val="948A53"/>
                </a:solidFill>
                <a:latin typeface="Calibri"/>
                <a:cs typeface="Calibri"/>
              </a:rPr>
              <a:t>e</a:t>
            </a:r>
            <a:r>
              <a:rPr sz="1600" spc="16" dirty="0">
                <a:solidFill>
                  <a:srgbClr val="948A53"/>
                </a:solidFill>
                <a:latin typeface="Calibri"/>
                <a:cs typeface="Calibri"/>
              </a:rPr>
              <a:t>t</a:t>
            </a:r>
            <a:endParaRPr sz="1600">
              <a:latin typeface="Calibri"/>
              <a:cs typeface="Calibri"/>
            </a:endParaRPr>
          </a:p>
        </p:txBody>
      </p:sp>
      <p:sp>
        <p:nvSpPr>
          <p:cNvPr id="3" name="object 3"/>
          <p:cNvSpPr/>
          <p:nvPr/>
        </p:nvSpPr>
        <p:spPr>
          <a:xfrm>
            <a:off x="1497254" y="543564"/>
            <a:ext cx="109467" cy="68464"/>
          </a:xfrm>
          <a:prstGeom prst="rect">
            <a:avLst/>
          </a:prstGeom>
          <a:blipFill>
            <a:blip r:embed="rId2" cstate="print"/>
            <a:stretch>
              <a:fillRect/>
            </a:stretch>
          </a:blipFill>
        </p:spPr>
        <p:txBody>
          <a:bodyPr wrap="square" lIns="0" tIns="0" rIns="0" bIns="0" rtlCol="0">
            <a:noAutofit/>
          </a:bodyPr>
          <a:lstStyle/>
          <a:p>
            <a:endParaRPr smtClean="0">
              <a:solidFill>
                <a:prstClr val="black"/>
              </a:solidFill>
            </a:endParaRPr>
          </a:p>
        </p:txBody>
      </p:sp>
      <p:sp>
        <p:nvSpPr>
          <p:cNvPr id="4" name="object 4"/>
          <p:cNvSpPr/>
          <p:nvPr/>
        </p:nvSpPr>
        <p:spPr>
          <a:xfrm>
            <a:off x="1559806" y="61099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5" name="object 5"/>
          <p:cNvSpPr/>
          <p:nvPr/>
        </p:nvSpPr>
        <p:spPr>
          <a:xfrm>
            <a:off x="1559806" y="61306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6" name="object 6"/>
          <p:cNvSpPr/>
          <p:nvPr/>
        </p:nvSpPr>
        <p:spPr>
          <a:xfrm>
            <a:off x="1557199" y="61514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7" name="object 7"/>
          <p:cNvSpPr/>
          <p:nvPr/>
        </p:nvSpPr>
        <p:spPr>
          <a:xfrm>
            <a:off x="1557199" y="61721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8" name="object 8"/>
          <p:cNvSpPr/>
          <p:nvPr/>
        </p:nvSpPr>
        <p:spPr>
          <a:xfrm>
            <a:off x="1481615" y="609954"/>
            <a:ext cx="130318" cy="12447"/>
          </a:xfrm>
          <a:prstGeom prst="rect">
            <a:avLst/>
          </a:prstGeom>
          <a:blipFill>
            <a:blip r:embed="rId3" cstate="print"/>
            <a:stretch>
              <a:fillRect/>
            </a:stretch>
          </a:blipFill>
        </p:spPr>
        <p:txBody>
          <a:bodyPr wrap="square" lIns="0" tIns="0" rIns="0" bIns="0" rtlCol="0">
            <a:noAutofit/>
          </a:bodyPr>
          <a:lstStyle/>
          <a:p>
            <a:endParaRPr smtClean="0">
              <a:solidFill>
                <a:prstClr val="black"/>
              </a:solidFill>
            </a:endParaRPr>
          </a:p>
        </p:txBody>
      </p:sp>
      <p:sp>
        <p:nvSpPr>
          <p:cNvPr id="9" name="object 9"/>
          <p:cNvSpPr/>
          <p:nvPr/>
        </p:nvSpPr>
        <p:spPr>
          <a:xfrm>
            <a:off x="1554593" y="62136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0" name="object 10"/>
          <p:cNvSpPr/>
          <p:nvPr/>
        </p:nvSpPr>
        <p:spPr>
          <a:xfrm>
            <a:off x="1554593" y="623439"/>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1" name="object 11"/>
          <p:cNvSpPr/>
          <p:nvPr/>
        </p:nvSpPr>
        <p:spPr>
          <a:xfrm>
            <a:off x="1554593" y="62551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2" name="object 12"/>
          <p:cNvSpPr/>
          <p:nvPr/>
        </p:nvSpPr>
        <p:spPr>
          <a:xfrm>
            <a:off x="1551987" y="62966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3" name="object 13"/>
          <p:cNvSpPr/>
          <p:nvPr/>
        </p:nvSpPr>
        <p:spPr>
          <a:xfrm>
            <a:off x="1551987" y="6317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4" name="object 14"/>
          <p:cNvSpPr/>
          <p:nvPr/>
        </p:nvSpPr>
        <p:spPr>
          <a:xfrm>
            <a:off x="1549380" y="63796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5" name="object 15"/>
          <p:cNvSpPr/>
          <p:nvPr/>
        </p:nvSpPr>
        <p:spPr>
          <a:xfrm>
            <a:off x="1458157" y="620328"/>
            <a:ext cx="158988" cy="26970"/>
          </a:xfrm>
          <a:prstGeom prst="rect">
            <a:avLst/>
          </a:prstGeom>
          <a:blipFill>
            <a:blip r:embed="rId4" cstate="print"/>
            <a:stretch>
              <a:fillRect/>
            </a:stretch>
          </a:blipFill>
        </p:spPr>
        <p:txBody>
          <a:bodyPr wrap="square" lIns="0" tIns="0" rIns="0" bIns="0" rtlCol="0">
            <a:noAutofit/>
          </a:bodyPr>
          <a:lstStyle/>
          <a:p>
            <a:endParaRPr smtClean="0">
              <a:solidFill>
                <a:prstClr val="black"/>
              </a:solidFill>
            </a:endParaRPr>
          </a:p>
        </p:txBody>
      </p:sp>
      <p:sp>
        <p:nvSpPr>
          <p:cNvPr id="16" name="object 16"/>
          <p:cNvSpPr/>
          <p:nvPr/>
        </p:nvSpPr>
        <p:spPr>
          <a:xfrm>
            <a:off x="1546774" y="64626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7" name="object 17"/>
          <p:cNvSpPr/>
          <p:nvPr/>
        </p:nvSpPr>
        <p:spPr>
          <a:xfrm>
            <a:off x="1538955" y="6690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8" name="object 18"/>
          <p:cNvSpPr/>
          <p:nvPr/>
        </p:nvSpPr>
        <p:spPr>
          <a:xfrm>
            <a:off x="1538955" y="67115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9" name="object 19"/>
          <p:cNvSpPr/>
          <p:nvPr/>
        </p:nvSpPr>
        <p:spPr>
          <a:xfrm>
            <a:off x="1538955" y="6732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0" name="object 20"/>
          <p:cNvSpPr/>
          <p:nvPr/>
        </p:nvSpPr>
        <p:spPr>
          <a:xfrm>
            <a:off x="1536348" y="67738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1" name="object 21"/>
          <p:cNvSpPr/>
          <p:nvPr/>
        </p:nvSpPr>
        <p:spPr>
          <a:xfrm>
            <a:off x="1536348" y="67945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2" name="object 22"/>
          <p:cNvSpPr/>
          <p:nvPr/>
        </p:nvSpPr>
        <p:spPr>
          <a:xfrm>
            <a:off x="1197519" y="537341"/>
            <a:ext cx="289309" cy="163900"/>
          </a:xfrm>
          <a:prstGeom prst="rect">
            <a:avLst/>
          </a:prstGeom>
          <a:blipFill>
            <a:blip r:embed="rId5" cstate="print"/>
            <a:stretch>
              <a:fillRect/>
            </a:stretch>
          </a:blipFill>
        </p:spPr>
        <p:txBody>
          <a:bodyPr wrap="square" lIns="0" tIns="0" rIns="0" bIns="0" rtlCol="0">
            <a:noAutofit/>
          </a:bodyPr>
          <a:lstStyle/>
          <a:p>
            <a:endParaRPr smtClean="0">
              <a:solidFill>
                <a:prstClr val="black"/>
              </a:solidFill>
            </a:endParaRPr>
          </a:p>
        </p:txBody>
      </p:sp>
      <p:sp>
        <p:nvSpPr>
          <p:cNvPr id="23" name="object 23"/>
          <p:cNvSpPr/>
          <p:nvPr/>
        </p:nvSpPr>
        <p:spPr>
          <a:xfrm>
            <a:off x="1471189" y="70020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4" name="object 24"/>
          <p:cNvSpPr/>
          <p:nvPr/>
        </p:nvSpPr>
        <p:spPr>
          <a:xfrm>
            <a:off x="1471189" y="70227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5" name="object 25"/>
          <p:cNvSpPr/>
          <p:nvPr/>
        </p:nvSpPr>
        <p:spPr>
          <a:xfrm>
            <a:off x="1473796" y="70435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6" name="object 26"/>
          <p:cNvSpPr/>
          <p:nvPr/>
        </p:nvSpPr>
        <p:spPr>
          <a:xfrm>
            <a:off x="1473796" y="70642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7" name="object 27"/>
          <p:cNvSpPr/>
          <p:nvPr/>
        </p:nvSpPr>
        <p:spPr>
          <a:xfrm>
            <a:off x="1580657" y="72302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8" name="object 28"/>
          <p:cNvSpPr/>
          <p:nvPr/>
        </p:nvSpPr>
        <p:spPr>
          <a:xfrm>
            <a:off x="1119327" y="82053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9" name="object 29"/>
          <p:cNvSpPr/>
          <p:nvPr/>
        </p:nvSpPr>
        <p:spPr>
          <a:xfrm>
            <a:off x="1116722" y="645224"/>
            <a:ext cx="518669" cy="184647"/>
          </a:xfrm>
          <a:prstGeom prst="rect">
            <a:avLst/>
          </a:prstGeom>
          <a:blipFill>
            <a:blip r:embed="rId6" cstate="print"/>
            <a:stretch>
              <a:fillRect/>
            </a:stretch>
          </a:blipFill>
        </p:spPr>
        <p:txBody>
          <a:bodyPr wrap="square" lIns="0" tIns="0" rIns="0" bIns="0" rtlCol="0">
            <a:noAutofit/>
          </a:bodyPr>
          <a:lstStyle/>
          <a:p>
            <a:endParaRPr smtClean="0">
              <a:solidFill>
                <a:prstClr val="black"/>
              </a:solidFill>
            </a:endParaRPr>
          </a:p>
        </p:txBody>
      </p:sp>
      <p:sp>
        <p:nvSpPr>
          <p:cNvPr id="30" name="object 30"/>
          <p:cNvSpPr/>
          <p:nvPr/>
        </p:nvSpPr>
        <p:spPr>
          <a:xfrm>
            <a:off x="1502466" y="82883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1" name="object 31"/>
          <p:cNvSpPr/>
          <p:nvPr/>
        </p:nvSpPr>
        <p:spPr>
          <a:xfrm>
            <a:off x="1119327" y="83298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2" name="object 32"/>
          <p:cNvSpPr/>
          <p:nvPr/>
        </p:nvSpPr>
        <p:spPr>
          <a:xfrm>
            <a:off x="1119327" y="83505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3" name="object 33"/>
          <p:cNvSpPr/>
          <p:nvPr/>
        </p:nvSpPr>
        <p:spPr>
          <a:xfrm>
            <a:off x="1119327" y="8371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4" name="object 34"/>
          <p:cNvSpPr/>
          <p:nvPr/>
        </p:nvSpPr>
        <p:spPr>
          <a:xfrm>
            <a:off x="1119327" y="83920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5" name="object 35"/>
          <p:cNvSpPr/>
          <p:nvPr/>
        </p:nvSpPr>
        <p:spPr>
          <a:xfrm>
            <a:off x="1119327" y="8412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6" name="object 36"/>
          <p:cNvSpPr/>
          <p:nvPr/>
        </p:nvSpPr>
        <p:spPr>
          <a:xfrm>
            <a:off x="1116721" y="827797"/>
            <a:ext cx="648988" cy="141078"/>
          </a:xfrm>
          <a:prstGeom prst="rect">
            <a:avLst/>
          </a:prstGeom>
          <a:blipFill>
            <a:blip r:embed="rId7" cstate="print"/>
            <a:stretch>
              <a:fillRect/>
            </a:stretch>
          </a:blipFill>
        </p:spPr>
        <p:txBody>
          <a:bodyPr wrap="square" lIns="0" tIns="0" rIns="0" bIns="0" rtlCol="0">
            <a:noAutofit/>
          </a:bodyPr>
          <a:lstStyle/>
          <a:p>
            <a:endParaRPr smtClean="0">
              <a:solidFill>
                <a:prstClr val="black"/>
              </a:solidFill>
            </a:endParaRPr>
          </a:p>
        </p:txBody>
      </p:sp>
      <p:sp>
        <p:nvSpPr>
          <p:cNvPr id="37" name="object 37"/>
          <p:cNvSpPr/>
          <p:nvPr/>
        </p:nvSpPr>
        <p:spPr>
          <a:xfrm>
            <a:off x="1567625" y="9678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8" name="object 38"/>
          <p:cNvSpPr/>
          <p:nvPr/>
        </p:nvSpPr>
        <p:spPr>
          <a:xfrm>
            <a:off x="1538955" y="966801"/>
            <a:ext cx="213722" cy="43568"/>
          </a:xfrm>
          <a:prstGeom prst="rect">
            <a:avLst/>
          </a:prstGeom>
          <a:blipFill>
            <a:blip r:embed="rId8" cstate="print"/>
            <a:stretch>
              <a:fillRect/>
            </a:stretch>
          </a:blipFill>
        </p:spPr>
        <p:txBody>
          <a:bodyPr wrap="square" lIns="0" tIns="0" rIns="0" bIns="0" rtlCol="0">
            <a:noAutofit/>
          </a:bodyPr>
          <a:lstStyle/>
          <a:p>
            <a:endParaRPr smtClean="0">
              <a:solidFill>
                <a:prstClr val="black"/>
              </a:solidFill>
            </a:endParaRPr>
          </a:p>
        </p:txBody>
      </p:sp>
      <p:sp>
        <p:nvSpPr>
          <p:cNvPr id="39" name="object 39"/>
          <p:cNvSpPr/>
          <p:nvPr/>
        </p:nvSpPr>
        <p:spPr>
          <a:xfrm>
            <a:off x="1742251" y="100933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40" name="object 40"/>
          <p:cNvSpPr/>
          <p:nvPr/>
        </p:nvSpPr>
        <p:spPr>
          <a:xfrm>
            <a:off x="1168849" y="968875"/>
            <a:ext cx="466542" cy="107888"/>
          </a:xfrm>
          <a:prstGeom prst="rect">
            <a:avLst/>
          </a:prstGeom>
          <a:blipFill>
            <a:blip r:embed="rId9" cstate="print"/>
            <a:stretch>
              <a:fillRect/>
            </a:stretch>
          </a:blipFill>
        </p:spPr>
        <p:txBody>
          <a:bodyPr wrap="square" lIns="0" tIns="0" rIns="0" bIns="0" rtlCol="0">
            <a:noAutofit/>
          </a:bodyPr>
          <a:lstStyle/>
          <a:p>
            <a:endParaRPr smtClean="0">
              <a:solidFill>
                <a:prstClr val="black"/>
              </a:solidFill>
            </a:endParaRPr>
          </a:p>
        </p:txBody>
      </p:sp>
      <p:sp>
        <p:nvSpPr>
          <p:cNvPr id="41" name="object 41"/>
          <p:cNvSpPr/>
          <p:nvPr/>
        </p:nvSpPr>
        <p:spPr>
          <a:xfrm>
            <a:off x="1247039" y="1395228"/>
            <a:ext cx="7028065" cy="3136930"/>
          </a:xfrm>
          <a:prstGeom prst="rect">
            <a:avLst/>
          </a:prstGeom>
          <a:blipFill>
            <a:blip r:embed="rId10" cstate="print"/>
            <a:stretch>
              <a:fillRect/>
            </a:stretch>
          </a:blipFill>
        </p:spPr>
        <p:txBody>
          <a:bodyPr wrap="square" lIns="0" tIns="0" rIns="0" bIns="0" rtlCol="0">
            <a:noAutofit/>
          </a:bodyPr>
          <a:lstStyle/>
          <a:p>
            <a:endParaRPr smtClean="0">
              <a:solidFill>
                <a:prstClr val="black"/>
              </a:solidFill>
            </a:endParaRPr>
          </a:p>
        </p:txBody>
      </p:sp>
    </p:spTree>
    <p:extLst>
      <p:ext uri="{BB962C8B-B14F-4D97-AF65-F5344CB8AC3E}">
        <p14:creationId xmlns:p14="http://schemas.microsoft.com/office/powerpoint/2010/main" val="303430422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137531" y="622752"/>
            <a:ext cx="4373808" cy="354858"/>
          </a:xfrm>
          <a:prstGeom prst="rect">
            <a:avLst/>
          </a:prstGeom>
        </p:spPr>
        <p:txBody>
          <a:bodyPr vert="horz" wrap="square" lIns="0" tIns="0" rIns="0" bIns="0" rtlCol="0">
            <a:noAutofit/>
          </a:bodyPr>
          <a:lstStyle/>
          <a:p>
            <a:pPr marL="9941"/>
            <a:r>
              <a:rPr sz="2500" spc="4" dirty="0">
                <a:solidFill>
                  <a:srgbClr val="948A53"/>
                </a:solidFill>
                <a:cs typeface="Calibri"/>
              </a:rPr>
              <a:t>F</a:t>
            </a:r>
            <a:r>
              <a:rPr sz="2500" spc="43" dirty="0">
                <a:solidFill>
                  <a:srgbClr val="948A53"/>
                </a:solidFill>
                <a:cs typeface="Calibri"/>
              </a:rPr>
              <a:t>l</a:t>
            </a:r>
            <a:r>
              <a:rPr sz="2500" spc="39" dirty="0">
                <a:solidFill>
                  <a:srgbClr val="948A53"/>
                </a:solidFill>
                <a:cs typeface="Calibri"/>
              </a:rPr>
              <a:t>y</a:t>
            </a:r>
            <a:r>
              <a:rPr sz="2500" spc="43" dirty="0">
                <a:solidFill>
                  <a:srgbClr val="948A53"/>
                </a:solidFill>
                <a:cs typeface="Calibri"/>
              </a:rPr>
              <a:t>i</a:t>
            </a:r>
            <a:r>
              <a:rPr sz="2500" spc="20" dirty="0">
                <a:solidFill>
                  <a:srgbClr val="948A53"/>
                </a:solidFill>
                <a:cs typeface="Calibri"/>
              </a:rPr>
              <a:t>n</a:t>
            </a:r>
            <a:r>
              <a:rPr sz="2500" dirty="0">
                <a:solidFill>
                  <a:srgbClr val="948A53"/>
                </a:solidFill>
                <a:cs typeface="Calibri"/>
              </a:rPr>
              <a:t>g</a:t>
            </a:r>
            <a:r>
              <a:rPr sz="2500" spc="-20" dirty="0">
                <a:solidFill>
                  <a:srgbClr val="948A53"/>
                </a:solidFill>
                <a:cs typeface="Calibri"/>
              </a:rPr>
              <a:t> </a:t>
            </a:r>
            <a:r>
              <a:rPr sz="2500" spc="12" dirty="0">
                <a:solidFill>
                  <a:srgbClr val="948A53"/>
                </a:solidFill>
                <a:cs typeface="Calibri"/>
              </a:rPr>
              <a:t>G</a:t>
            </a:r>
            <a:r>
              <a:rPr sz="2500" spc="-23" dirty="0">
                <a:solidFill>
                  <a:srgbClr val="948A53"/>
                </a:solidFill>
                <a:cs typeface="Calibri"/>
              </a:rPr>
              <a:t>r</a:t>
            </a:r>
            <a:r>
              <a:rPr sz="2500" spc="4" dirty="0">
                <a:solidFill>
                  <a:srgbClr val="948A53"/>
                </a:solidFill>
                <a:cs typeface="Calibri"/>
              </a:rPr>
              <a:t>ee</a:t>
            </a:r>
            <a:r>
              <a:rPr sz="2500" spc="23" dirty="0">
                <a:solidFill>
                  <a:srgbClr val="948A53"/>
                </a:solidFill>
                <a:cs typeface="Calibri"/>
              </a:rPr>
              <a:t>n</a:t>
            </a:r>
            <a:r>
              <a:rPr sz="2500" spc="4" dirty="0">
                <a:solidFill>
                  <a:srgbClr val="948A53"/>
                </a:solidFill>
                <a:cs typeface="Calibri"/>
              </a:rPr>
              <a:t> </a:t>
            </a:r>
            <a:r>
              <a:rPr sz="2500" spc="-20" dirty="0">
                <a:solidFill>
                  <a:srgbClr val="948A53"/>
                </a:solidFill>
                <a:cs typeface="Calibri"/>
              </a:rPr>
              <a:t>C</a:t>
            </a:r>
            <a:r>
              <a:rPr sz="2500" spc="35" dirty="0">
                <a:solidFill>
                  <a:srgbClr val="948A53"/>
                </a:solidFill>
                <a:cs typeface="Calibri"/>
              </a:rPr>
              <a:t>a</a:t>
            </a:r>
            <a:r>
              <a:rPr sz="2500" spc="4" dirty="0">
                <a:solidFill>
                  <a:srgbClr val="948A53"/>
                </a:solidFill>
                <a:cs typeface="Calibri"/>
              </a:rPr>
              <a:t>r</a:t>
            </a:r>
            <a:r>
              <a:rPr sz="2500" spc="20" dirty="0">
                <a:solidFill>
                  <a:srgbClr val="948A53"/>
                </a:solidFill>
                <a:cs typeface="Calibri"/>
              </a:rPr>
              <a:t>b</a:t>
            </a:r>
            <a:r>
              <a:rPr sz="2500" spc="27" dirty="0">
                <a:solidFill>
                  <a:srgbClr val="948A53"/>
                </a:solidFill>
                <a:cs typeface="Calibri"/>
              </a:rPr>
              <a:t>o</a:t>
            </a:r>
            <a:r>
              <a:rPr sz="2500" spc="23" dirty="0">
                <a:solidFill>
                  <a:srgbClr val="948A53"/>
                </a:solidFill>
                <a:cs typeface="Calibri"/>
              </a:rPr>
              <a:t>n</a:t>
            </a:r>
            <a:r>
              <a:rPr sz="2500" spc="-16" dirty="0">
                <a:solidFill>
                  <a:srgbClr val="948A53"/>
                </a:solidFill>
                <a:cs typeface="Calibri"/>
              </a:rPr>
              <a:t> </a:t>
            </a:r>
            <a:r>
              <a:rPr sz="2500" spc="-27" dirty="0">
                <a:solidFill>
                  <a:srgbClr val="948A53"/>
                </a:solidFill>
                <a:cs typeface="Calibri"/>
              </a:rPr>
              <a:t>F</a:t>
            </a:r>
            <a:r>
              <a:rPr sz="2500" spc="27" dirty="0">
                <a:solidFill>
                  <a:srgbClr val="948A53"/>
                </a:solidFill>
                <a:cs typeface="Calibri"/>
              </a:rPr>
              <a:t>oot</a:t>
            </a:r>
            <a:r>
              <a:rPr sz="2500" spc="20" dirty="0">
                <a:solidFill>
                  <a:srgbClr val="948A53"/>
                </a:solidFill>
                <a:cs typeface="Calibri"/>
              </a:rPr>
              <a:t>p</a:t>
            </a:r>
            <a:r>
              <a:rPr sz="2500" spc="4" dirty="0">
                <a:solidFill>
                  <a:srgbClr val="948A53"/>
                </a:solidFill>
                <a:cs typeface="Calibri"/>
              </a:rPr>
              <a:t>r</a:t>
            </a:r>
            <a:r>
              <a:rPr sz="2500" spc="43" dirty="0">
                <a:solidFill>
                  <a:srgbClr val="948A53"/>
                </a:solidFill>
                <a:cs typeface="Calibri"/>
              </a:rPr>
              <a:t>i</a:t>
            </a:r>
            <a:r>
              <a:rPr sz="2500" dirty="0">
                <a:solidFill>
                  <a:srgbClr val="948A53"/>
                </a:solidFill>
                <a:cs typeface="Calibri"/>
              </a:rPr>
              <a:t>n</a:t>
            </a:r>
            <a:r>
              <a:rPr sz="2500" spc="23" dirty="0">
                <a:solidFill>
                  <a:srgbClr val="948A53"/>
                </a:solidFill>
                <a:cs typeface="Calibri"/>
              </a:rPr>
              <a:t>t</a:t>
            </a:r>
            <a:endParaRPr sz="2500">
              <a:solidFill>
                <a:prstClr val="black"/>
              </a:solidFill>
              <a:cs typeface="Calibri"/>
            </a:endParaRPr>
          </a:p>
        </p:txBody>
      </p:sp>
      <p:sp>
        <p:nvSpPr>
          <p:cNvPr id="3" name="object 3"/>
          <p:cNvSpPr/>
          <p:nvPr/>
        </p:nvSpPr>
        <p:spPr>
          <a:xfrm>
            <a:off x="1497254" y="543564"/>
            <a:ext cx="109467" cy="68464"/>
          </a:xfrm>
          <a:prstGeom prst="rect">
            <a:avLst/>
          </a:prstGeom>
          <a:blipFill>
            <a:blip r:embed="rId2" cstate="print"/>
            <a:stretch>
              <a:fillRect/>
            </a:stretch>
          </a:blipFill>
        </p:spPr>
        <p:txBody>
          <a:bodyPr wrap="square" lIns="0" tIns="0" rIns="0" bIns="0" rtlCol="0">
            <a:noAutofit/>
          </a:bodyPr>
          <a:lstStyle/>
          <a:p>
            <a:endParaRPr smtClean="0">
              <a:solidFill>
                <a:prstClr val="black"/>
              </a:solidFill>
            </a:endParaRPr>
          </a:p>
        </p:txBody>
      </p:sp>
      <p:sp>
        <p:nvSpPr>
          <p:cNvPr id="4" name="object 4"/>
          <p:cNvSpPr/>
          <p:nvPr/>
        </p:nvSpPr>
        <p:spPr>
          <a:xfrm>
            <a:off x="1559806" y="61099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5" name="object 5"/>
          <p:cNvSpPr/>
          <p:nvPr/>
        </p:nvSpPr>
        <p:spPr>
          <a:xfrm>
            <a:off x="1559806" y="61306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6" name="object 6"/>
          <p:cNvSpPr/>
          <p:nvPr/>
        </p:nvSpPr>
        <p:spPr>
          <a:xfrm>
            <a:off x="1557199" y="61514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7" name="object 7"/>
          <p:cNvSpPr/>
          <p:nvPr/>
        </p:nvSpPr>
        <p:spPr>
          <a:xfrm>
            <a:off x="1557199" y="61721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8" name="object 8"/>
          <p:cNvSpPr/>
          <p:nvPr/>
        </p:nvSpPr>
        <p:spPr>
          <a:xfrm>
            <a:off x="1481615" y="609954"/>
            <a:ext cx="130318" cy="12447"/>
          </a:xfrm>
          <a:prstGeom prst="rect">
            <a:avLst/>
          </a:prstGeom>
          <a:blipFill>
            <a:blip r:embed="rId3" cstate="print"/>
            <a:stretch>
              <a:fillRect/>
            </a:stretch>
          </a:blipFill>
        </p:spPr>
        <p:txBody>
          <a:bodyPr wrap="square" lIns="0" tIns="0" rIns="0" bIns="0" rtlCol="0">
            <a:noAutofit/>
          </a:bodyPr>
          <a:lstStyle/>
          <a:p>
            <a:endParaRPr smtClean="0">
              <a:solidFill>
                <a:prstClr val="black"/>
              </a:solidFill>
            </a:endParaRPr>
          </a:p>
        </p:txBody>
      </p:sp>
      <p:sp>
        <p:nvSpPr>
          <p:cNvPr id="9" name="object 9"/>
          <p:cNvSpPr/>
          <p:nvPr/>
        </p:nvSpPr>
        <p:spPr>
          <a:xfrm>
            <a:off x="1554593" y="62136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0" name="object 10"/>
          <p:cNvSpPr/>
          <p:nvPr/>
        </p:nvSpPr>
        <p:spPr>
          <a:xfrm>
            <a:off x="1554593" y="623439"/>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1" name="object 11"/>
          <p:cNvSpPr/>
          <p:nvPr/>
        </p:nvSpPr>
        <p:spPr>
          <a:xfrm>
            <a:off x="1554593" y="62551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2" name="object 12"/>
          <p:cNvSpPr/>
          <p:nvPr/>
        </p:nvSpPr>
        <p:spPr>
          <a:xfrm>
            <a:off x="1551987" y="62966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3" name="object 13"/>
          <p:cNvSpPr/>
          <p:nvPr/>
        </p:nvSpPr>
        <p:spPr>
          <a:xfrm>
            <a:off x="1551987" y="6317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4" name="object 14"/>
          <p:cNvSpPr/>
          <p:nvPr/>
        </p:nvSpPr>
        <p:spPr>
          <a:xfrm>
            <a:off x="1549380" y="63796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5" name="object 15"/>
          <p:cNvSpPr/>
          <p:nvPr/>
        </p:nvSpPr>
        <p:spPr>
          <a:xfrm>
            <a:off x="1458157" y="620328"/>
            <a:ext cx="158988" cy="26970"/>
          </a:xfrm>
          <a:prstGeom prst="rect">
            <a:avLst/>
          </a:prstGeom>
          <a:blipFill>
            <a:blip r:embed="rId4" cstate="print"/>
            <a:stretch>
              <a:fillRect/>
            </a:stretch>
          </a:blipFill>
        </p:spPr>
        <p:txBody>
          <a:bodyPr wrap="square" lIns="0" tIns="0" rIns="0" bIns="0" rtlCol="0">
            <a:noAutofit/>
          </a:bodyPr>
          <a:lstStyle/>
          <a:p>
            <a:endParaRPr smtClean="0">
              <a:solidFill>
                <a:prstClr val="black"/>
              </a:solidFill>
            </a:endParaRPr>
          </a:p>
        </p:txBody>
      </p:sp>
      <p:sp>
        <p:nvSpPr>
          <p:cNvPr id="16" name="object 16"/>
          <p:cNvSpPr/>
          <p:nvPr/>
        </p:nvSpPr>
        <p:spPr>
          <a:xfrm>
            <a:off x="1546774" y="64626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7" name="object 17"/>
          <p:cNvSpPr/>
          <p:nvPr/>
        </p:nvSpPr>
        <p:spPr>
          <a:xfrm>
            <a:off x="1538955" y="6690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8" name="object 18"/>
          <p:cNvSpPr/>
          <p:nvPr/>
        </p:nvSpPr>
        <p:spPr>
          <a:xfrm>
            <a:off x="1538955" y="67115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9" name="object 19"/>
          <p:cNvSpPr/>
          <p:nvPr/>
        </p:nvSpPr>
        <p:spPr>
          <a:xfrm>
            <a:off x="1538955" y="6732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0" name="object 20"/>
          <p:cNvSpPr/>
          <p:nvPr/>
        </p:nvSpPr>
        <p:spPr>
          <a:xfrm>
            <a:off x="1536348" y="67738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1" name="object 21"/>
          <p:cNvSpPr/>
          <p:nvPr/>
        </p:nvSpPr>
        <p:spPr>
          <a:xfrm>
            <a:off x="1536348" y="679456"/>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2" name="object 22"/>
          <p:cNvSpPr/>
          <p:nvPr/>
        </p:nvSpPr>
        <p:spPr>
          <a:xfrm>
            <a:off x="1197519" y="537341"/>
            <a:ext cx="289309" cy="163900"/>
          </a:xfrm>
          <a:prstGeom prst="rect">
            <a:avLst/>
          </a:prstGeom>
          <a:blipFill>
            <a:blip r:embed="rId5" cstate="print"/>
            <a:stretch>
              <a:fillRect/>
            </a:stretch>
          </a:blipFill>
        </p:spPr>
        <p:txBody>
          <a:bodyPr wrap="square" lIns="0" tIns="0" rIns="0" bIns="0" rtlCol="0">
            <a:noAutofit/>
          </a:bodyPr>
          <a:lstStyle/>
          <a:p>
            <a:endParaRPr smtClean="0">
              <a:solidFill>
                <a:prstClr val="black"/>
              </a:solidFill>
            </a:endParaRPr>
          </a:p>
        </p:txBody>
      </p:sp>
      <p:sp>
        <p:nvSpPr>
          <p:cNvPr id="23" name="object 23"/>
          <p:cNvSpPr/>
          <p:nvPr/>
        </p:nvSpPr>
        <p:spPr>
          <a:xfrm>
            <a:off x="1471189" y="70020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4" name="object 24"/>
          <p:cNvSpPr/>
          <p:nvPr/>
        </p:nvSpPr>
        <p:spPr>
          <a:xfrm>
            <a:off x="1471189" y="70227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5" name="object 25"/>
          <p:cNvSpPr/>
          <p:nvPr/>
        </p:nvSpPr>
        <p:spPr>
          <a:xfrm>
            <a:off x="1473796" y="70435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6" name="object 26"/>
          <p:cNvSpPr/>
          <p:nvPr/>
        </p:nvSpPr>
        <p:spPr>
          <a:xfrm>
            <a:off x="1473796" y="70642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7" name="object 27"/>
          <p:cNvSpPr/>
          <p:nvPr/>
        </p:nvSpPr>
        <p:spPr>
          <a:xfrm>
            <a:off x="1580657" y="72302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8" name="object 28"/>
          <p:cNvSpPr/>
          <p:nvPr/>
        </p:nvSpPr>
        <p:spPr>
          <a:xfrm>
            <a:off x="1119327" y="820535"/>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9" name="object 29"/>
          <p:cNvSpPr/>
          <p:nvPr/>
        </p:nvSpPr>
        <p:spPr>
          <a:xfrm>
            <a:off x="1116722" y="645224"/>
            <a:ext cx="518669" cy="184647"/>
          </a:xfrm>
          <a:prstGeom prst="rect">
            <a:avLst/>
          </a:prstGeom>
          <a:blipFill>
            <a:blip r:embed="rId6" cstate="print"/>
            <a:stretch>
              <a:fillRect/>
            </a:stretch>
          </a:blipFill>
        </p:spPr>
        <p:txBody>
          <a:bodyPr wrap="square" lIns="0" tIns="0" rIns="0" bIns="0" rtlCol="0">
            <a:noAutofit/>
          </a:bodyPr>
          <a:lstStyle/>
          <a:p>
            <a:endParaRPr smtClean="0">
              <a:solidFill>
                <a:prstClr val="black"/>
              </a:solidFill>
            </a:endParaRPr>
          </a:p>
        </p:txBody>
      </p:sp>
      <p:sp>
        <p:nvSpPr>
          <p:cNvPr id="30" name="object 30"/>
          <p:cNvSpPr/>
          <p:nvPr/>
        </p:nvSpPr>
        <p:spPr>
          <a:xfrm>
            <a:off x="1502466" y="828834"/>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1" name="object 31"/>
          <p:cNvSpPr/>
          <p:nvPr/>
        </p:nvSpPr>
        <p:spPr>
          <a:xfrm>
            <a:off x="1119327" y="832983"/>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2" name="object 32"/>
          <p:cNvSpPr/>
          <p:nvPr/>
        </p:nvSpPr>
        <p:spPr>
          <a:xfrm>
            <a:off x="1119327" y="83505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3" name="object 33"/>
          <p:cNvSpPr/>
          <p:nvPr/>
        </p:nvSpPr>
        <p:spPr>
          <a:xfrm>
            <a:off x="1119327" y="83713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4" name="object 34"/>
          <p:cNvSpPr/>
          <p:nvPr/>
        </p:nvSpPr>
        <p:spPr>
          <a:xfrm>
            <a:off x="1119327" y="839207"/>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5" name="object 35"/>
          <p:cNvSpPr/>
          <p:nvPr/>
        </p:nvSpPr>
        <p:spPr>
          <a:xfrm>
            <a:off x="1119327" y="841282"/>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6" name="object 36"/>
          <p:cNvSpPr/>
          <p:nvPr/>
        </p:nvSpPr>
        <p:spPr>
          <a:xfrm>
            <a:off x="1116721" y="827797"/>
            <a:ext cx="648988" cy="141078"/>
          </a:xfrm>
          <a:prstGeom prst="rect">
            <a:avLst/>
          </a:prstGeom>
          <a:blipFill>
            <a:blip r:embed="rId7" cstate="print"/>
            <a:stretch>
              <a:fillRect/>
            </a:stretch>
          </a:blipFill>
        </p:spPr>
        <p:txBody>
          <a:bodyPr wrap="square" lIns="0" tIns="0" rIns="0" bIns="0" rtlCol="0">
            <a:noAutofit/>
          </a:bodyPr>
          <a:lstStyle/>
          <a:p>
            <a:endParaRPr smtClean="0">
              <a:solidFill>
                <a:prstClr val="black"/>
              </a:solidFill>
            </a:endParaRPr>
          </a:p>
        </p:txBody>
      </p:sp>
      <p:sp>
        <p:nvSpPr>
          <p:cNvPr id="37" name="object 37"/>
          <p:cNvSpPr/>
          <p:nvPr/>
        </p:nvSpPr>
        <p:spPr>
          <a:xfrm>
            <a:off x="1567625" y="967838"/>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38" name="object 38"/>
          <p:cNvSpPr/>
          <p:nvPr/>
        </p:nvSpPr>
        <p:spPr>
          <a:xfrm>
            <a:off x="1538955" y="966801"/>
            <a:ext cx="213722" cy="43568"/>
          </a:xfrm>
          <a:prstGeom prst="rect">
            <a:avLst/>
          </a:prstGeom>
          <a:blipFill>
            <a:blip r:embed="rId8" cstate="print"/>
            <a:stretch>
              <a:fillRect/>
            </a:stretch>
          </a:blipFill>
        </p:spPr>
        <p:txBody>
          <a:bodyPr wrap="square" lIns="0" tIns="0" rIns="0" bIns="0" rtlCol="0">
            <a:noAutofit/>
          </a:bodyPr>
          <a:lstStyle/>
          <a:p>
            <a:endParaRPr smtClean="0">
              <a:solidFill>
                <a:prstClr val="black"/>
              </a:solidFill>
            </a:endParaRPr>
          </a:p>
        </p:txBody>
      </p:sp>
      <p:sp>
        <p:nvSpPr>
          <p:cNvPr id="39" name="object 39"/>
          <p:cNvSpPr/>
          <p:nvPr/>
        </p:nvSpPr>
        <p:spPr>
          <a:xfrm>
            <a:off x="1742251" y="1009331"/>
            <a:ext cx="2606" cy="0"/>
          </a:xfrm>
          <a:custGeom>
            <a:avLst/>
            <a:gdLst/>
            <a:ahLst/>
            <a:cxnLst/>
            <a:rect l="l" t="t" r="r" b="b"/>
            <a:pathLst>
              <a:path w="3047">
                <a:moveTo>
                  <a:pt x="0" y="0"/>
                </a:moveTo>
                <a:lnTo>
                  <a:pt x="3047"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40" name="object 40"/>
          <p:cNvSpPr/>
          <p:nvPr/>
        </p:nvSpPr>
        <p:spPr>
          <a:xfrm>
            <a:off x="1168849" y="968875"/>
            <a:ext cx="466542" cy="107888"/>
          </a:xfrm>
          <a:prstGeom prst="rect">
            <a:avLst/>
          </a:prstGeom>
          <a:blipFill>
            <a:blip r:embed="rId9" cstate="print"/>
            <a:stretch>
              <a:fillRect/>
            </a:stretch>
          </a:blipFill>
        </p:spPr>
        <p:txBody>
          <a:bodyPr wrap="square" lIns="0" tIns="0" rIns="0" bIns="0" rtlCol="0">
            <a:noAutofit/>
          </a:bodyPr>
          <a:lstStyle/>
          <a:p>
            <a:endParaRPr smtClean="0">
              <a:solidFill>
                <a:prstClr val="black"/>
              </a:solidFill>
            </a:endParaRPr>
          </a:p>
        </p:txBody>
      </p:sp>
      <p:sp>
        <p:nvSpPr>
          <p:cNvPr id="41" name="object 41"/>
          <p:cNvSpPr/>
          <p:nvPr/>
        </p:nvSpPr>
        <p:spPr>
          <a:xfrm>
            <a:off x="2478549" y="1068465"/>
            <a:ext cx="5135844" cy="3837137"/>
          </a:xfrm>
          <a:prstGeom prst="rect">
            <a:avLst/>
          </a:prstGeom>
          <a:blipFill>
            <a:blip r:embed="rId10" cstate="print"/>
            <a:stretch>
              <a:fillRect/>
            </a:stretch>
          </a:blipFill>
        </p:spPr>
        <p:txBody>
          <a:bodyPr wrap="square" lIns="0" tIns="0" rIns="0" bIns="0" rtlCol="0">
            <a:noAutofit/>
          </a:bodyPr>
          <a:lstStyle/>
          <a:p>
            <a:endParaRPr smtClean="0">
              <a:solidFill>
                <a:prstClr val="black"/>
              </a:solidFill>
            </a:endParaRPr>
          </a:p>
        </p:txBody>
      </p:sp>
    </p:spTree>
    <p:extLst>
      <p:ext uri="{BB962C8B-B14F-4D97-AF65-F5344CB8AC3E}">
        <p14:creationId xmlns:p14="http://schemas.microsoft.com/office/powerpoint/2010/main" val="139731241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648839" y="1511755"/>
            <a:ext cx="1750066" cy="1352006"/>
          </a:xfrm>
          <a:prstGeom prst="rect">
            <a:avLst/>
          </a:prstGeom>
        </p:spPr>
        <p:txBody>
          <a:bodyPr vert="horz" wrap="square" lIns="0" tIns="0" rIns="0" bIns="0" rtlCol="0">
            <a:noAutofit/>
          </a:bodyPr>
          <a:lstStyle/>
          <a:p>
            <a:pPr marL="994" algn="ctr"/>
            <a:r>
              <a:rPr sz="2500" spc="8" dirty="0">
                <a:solidFill>
                  <a:srgbClr val="7E7E7E"/>
                </a:solidFill>
                <a:cs typeface="Calibri"/>
              </a:rPr>
              <a:t>T</a:t>
            </a:r>
            <a:r>
              <a:rPr sz="2500" spc="20" dirty="0">
                <a:solidFill>
                  <a:srgbClr val="7E7E7E"/>
                </a:solidFill>
                <a:cs typeface="Calibri"/>
              </a:rPr>
              <a:t>h</a:t>
            </a:r>
            <a:r>
              <a:rPr sz="2500" spc="35" dirty="0">
                <a:solidFill>
                  <a:srgbClr val="7E7E7E"/>
                </a:solidFill>
                <a:cs typeface="Calibri"/>
              </a:rPr>
              <a:t>a</a:t>
            </a:r>
            <a:r>
              <a:rPr sz="2500" spc="20" dirty="0">
                <a:solidFill>
                  <a:srgbClr val="7E7E7E"/>
                </a:solidFill>
                <a:cs typeface="Calibri"/>
              </a:rPr>
              <a:t>n</a:t>
            </a:r>
            <a:r>
              <a:rPr sz="2500" spc="31" dirty="0">
                <a:solidFill>
                  <a:srgbClr val="7E7E7E"/>
                </a:solidFill>
                <a:cs typeface="Calibri"/>
              </a:rPr>
              <a:t>k</a:t>
            </a:r>
            <a:r>
              <a:rPr sz="2500" spc="20" dirty="0">
                <a:solidFill>
                  <a:srgbClr val="7E7E7E"/>
                </a:solidFill>
                <a:cs typeface="Calibri"/>
              </a:rPr>
              <a:t>s</a:t>
            </a:r>
            <a:r>
              <a:rPr sz="2500" spc="-8" dirty="0">
                <a:solidFill>
                  <a:srgbClr val="7E7E7E"/>
                </a:solidFill>
                <a:cs typeface="Calibri"/>
              </a:rPr>
              <a:t> </a:t>
            </a:r>
            <a:r>
              <a:rPr sz="2500" dirty="0">
                <a:solidFill>
                  <a:srgbClr val="7E7E7E"/>
                </a:solidFill>
                <a:cs typeface="Calibri"/>
              </a:rPr>
              <a:t>!</a:t>
            </a:r>
            <a:endParaRPr sz="2500">
              <a:solidFill>
                <a:prstClr val="black"/>
              </a:solidFill>
              <a:cs typeface="Calibri"/>
            </a:endParaRPr>
          </a:p>
          <a:p>
            <a:pPr>
              <a:lnSpc>
                <a:spcPts val="783"/>
              </a:lnSpc>
            </a:pPr>
            <a:endParaRPr sz="800">
              <a:solidFill>
                <a:prstClr val="black"/>
              </a:solidFill>
            </a:endParaRPr>
          </a:p>
          <a:p>
            <a:pPr>
              <a:lnSpc>
                <a:spcPts val="939"/>
              </a:lnSpc>
              <a:spcBef>
                <a:spcPts val="18"/>
              </a:spcBef>
            </a:pPr>
            <a:endParaRPr sz="900">
              <a:solidFill>
                <a:prstClr val="black"/>
              </a:solidFill>
            </a:endParaRPr>
          </a:p>
          <a:p>
            <a:pPr marL="994" algn="ctr"/>
            <a:r>
              <a:rPr sz="1700" spc="27" dirty="0">
                <a:solidFill>
                  <a:srgbClr val="7E7E7E"/>
                </a:solidFill>
                <a:cs typeface="Calibri"/>
              </a:rPr>
              <a:t>Mi</a:t>
            </a:r>
            <a:r>
              <a:rPr sz="1700" spc="-8" dirty="0">
                <a:solidFill>
                  <a:srgbClr val="7E7E7E"/>
                </a:solidFill>
                <a:cs typeface="Calibri"/>
              </a:rPr>
              <a:t>k</a:t>
            </a:r>
            <a:r>
              <a:rPr sz="1700" dirty="0">
                <a:solidFill>
                  <a:srgbClr val="7E7E7E"/>
                </a:solidFill>
                <a:cs typeface="Calibri"/>
              </a:rPr>
              <a:t>e </a:t>
            </a:r>
            <a:r>
              <a:rPr sz="1700" spc="-4" dirty="0">
                <a:solidFill>
                  <a:srgbClr val="7E7E7E"/>
                </a:solidFill>
                <a:cs typeface="Calibri"/>
              </a:rPr>
              <a:t>L</a:t>
            </a:r>
            <a:r>
              <a:rPr sz="1700" spc="16" dirty="0">
                <a:solidFill>
                  <a:srgbClr val="7E7E7E"/>
                </a:solidFill>
                <a:cs typeface="Calibri"/>
              </a:rPr>
              <a:t>u</a:t>
            </a:r>
            <a:endParaRPr sz="1700">
              <a:solidFill>
                <a:prstClr val="black"/>
              </a:solidFill>
              <a:cs typeface="Calibri"/>
            </a:endParaRPr>
          </a:p>
          <a:p>
            <a:pPr marL="9941" marR="9941" indent="450792">
              <a:spcBef>
                <a:spcPts val="31"/>
              </a:spcBef>
            </a:pPr>
            <a:r>
              <a:rPr sz="1100" spc="-4" dirty="0">
                <a:solidFill>
                  <a:srgbClr val="7E7E7E"/>
                </a:solidFill>
                <a:cs typeface="Calibri"/>
              </a:rPr>
              <a:t>C</a:t>
            </a:r>
            <a:r>
              <a:rPr sz="1100" dirty="0">
                <a:solidFill>
                  <a:srgbClr val="7E7E7E"/>
                </a:solidFill>
                <a:cs typeface="Calibri"/>
              </a:rPr>
              <a:t>oo</a:t>
            </a:r>
            <a:r>
              <a:rPr sz="1100" spc="-20" dirty="0">
                <a:solidFill>
                  <a:srgbClr val="7E7E7E"/>
                </a:solidFill>
                <a:cs typeface="Calibri"/>
              </a:rPr>
              <a:t>r</a:t>
            </a:r>
            <a:r>
              <a:rPr sz="1100" spc="-8" dirty="0">
                <a:solidFill>
                  <a:srgbClr val="7E7E7E"/>
                </a:solidFill>
                <a:cs typeface="Calibri"/>
              </a:rPr>
              <a:t>d</a:t>
            </a:r>
            <a:r>
              <a:rPr sz="1100" dirty="0">
                <a:solidFill>
                  <a:srgbClr val="7E7E7E"/>
                </a:solidFill>
                <a:cs typeface="Calibri"/>
              </a:rPr>
              <a:t>i</a:t>
            </a:r>
            <a:r>
              <a:rPr sz="1100" spc="-8" dirty="0">
                <a:solidFill>
                  <a:srgbClr val="7E7E7E"/>
                </a:solidFill>
                <a:cs typeface="Calibri"/>
              </a:rPr>
              <a:t>n</a:t>
            </a:r>
            <a:r>
              <a:rPr sz="1100" spc="-12" dirty="0">
                <a:solidFill>
                  <a:srgbClr val="7E7E7E"/>
                </a:solidFill>
                <a:cs typeface="Calibri"/>
              </a:rPr>
              <a:t>at</a:t>
            </a:r>
            <a:r>
              <a:rPr sz="1100" dirty="0">
                <a:solidFill>
                  <a:srgbClr val="7E7E7E"/>
                </a:solidFill>
                <a:cs typeface="Calibri"/>
              </a:rPr>
              <a:t>or B</a:t>
            </a:r>
            <a:r>
              <a:rPr sz="1100" spc="-20" dirty="0">
                <a:solidFill>
                  <a:srgbClr val="7E7E7E"/>
                </a:solidFill>
                <a:cs typeface="Calibri"/>
              </a:rPr>
              <a:t>r</a:t>
            </a:r>
            <a:r>
              <a:rPr sz="1100" spc="-4" dirty="0">
                <a:solidFill>
                  <a:srgbClr val="7E7E7E"/>
                </a:solidFill>
                <a:cs typeface="Calibri"/>
              </a:rPr>
              <a:t>az</a:t>
            </a:r>
            <a:r>
              <a:rPr sz="1100" dirty="0">
                <a:solidFill>
                  <a:srgbClr val="7E7E7E"/>
                </a:solidFill>
                <a:cs typeface="Calibri"/>
              </a:rPr>
              <a:t>ili</a:t>
            </a:r>
            <a:r>
              <a:rPr sz="1100" spc="-4" dirty="0">
                <a:solidFill>
                  <a:srgbClr val="7E7E7E"/>
                </a:solidFill>
                <a:cs typeface="Calibri"/>
              </a:rPr>
              <a:t>a</a:t>
            </a:r>
            <a:r>
              <a:rPr sz="1100" dirty="0">
                <a:solidFill>
                  <a:srgbClr val="7E7E7E"/>
                </a:solidFill>
                <a:cs typeface="Calibri"/>
              </a:rPr>
              <a:t>n</a:t>
            </a:r>
            <a:r>
              <a:rPr sz="1100" spc="-12" dirty="0">
                <a:solidFill>
                  <a:srgbClr val="7E7E7E"/>
                </a:solidFill>
                <a:cs typeface="Calibri"/>
              </a:rPr>
              <a:t> </a:t>
            </a:r>
            <a:r>
              <a:rPr sz="1100" dirty="0">
                <a:solidFill>
                  <a:srgbClr val="7E7E7E"/>
                </a:solidFill>
                <a:cs typeface="Calibri"/>
              </a:rPr>
              <a:t>Bioj</a:t>
            </a:r>
            <a:r>
              <a:rPr sz="1100" spc="-12" dirty="0">
                <a:solidFill>
                  <a:srgbClr val="7E7E7E"/>
                </a:solidFill>
                <a:cs typeface="Calibri"/>
              </a:rPr>
              <a:t>e</a:t>
            </a:r>
            <a:r>
              <a:rPr sz="1100" spc="-4" dirty="0">
                <a:solidFill>
                  <a:srgbClr val="7E7E7E"/>
                </a:solidFill>
                <a:cs typeface="Calibri"/>
              </a:rPr>
              <a:t>t</a:t>
            </a:r>
            <a:r>
              <a:rPr sz="1100" dirty="0">
                <a:solidFill>
                  <a:srgbClr val="7E7E7E"/>
                </a:solidFill>
                <a:cs typeface="Calibri"/>
              </a:rPr>
              <a:t>f</a:t>
            </a:r>
            <a:r>
              <a:rPr sz="1100" spc="-8" dirty="0">
                <a:solidFill>
                  <a:srgbClr val="7E7E7E"/>
                </a:solidFill>
                <a:cs typeface="Calibri"/>
              </a:rPr>
              <a:t>u</a:t>
            </a:r>
            <a:r>
              <a:rPr sz="1100" spc="-4" dirty="0">
                <a:solidFill>
                  <a:srgbClr val="7E7E7E"/>
                </a:solidFill>
                <a:cs typeface="Calibri"/>
              </a:rPr>
              <a:t>e</a:t>
            </a:r>
            <a:r>
              <a:rPr sz="1100" dirty="0">
                <a:solidFill>
                  <a:srgbClr val="7E7E7E"/>
                </a:solidFill>
                <a:cs typeface="Calibri"/>
              </a:rPr>
              <a:t>l</a:t>
            </a:r>
            <a:r>
              <a:rPr sz="1100" spc="4" dirty="0">
                <a:solidFill>
                  <a:srgbClr val="7E7E7E"/>
                </a:solidFill>
                <a:cs typeface="Calibri"/>
              </a:rPr>
              <a:t> </a:t>
            </a:r>
            <a:r>
              <a:rPr sz="1100" spc="-4" dirty="0">
                <a:solidFill>
                  <a:srgbClr val="7E7E7E"/>
                </a:solidFill>
                <a:cs typeface="Calibri"/>
              </a:rPr>
              <a:t>P</a:t>
            </a:r>
            <a:r>
              <a:rPr sz="1100" dirty="0">
                <a:solidFill>
                  <a:srgbClr val="7E7E7E"/>
                </a:solidFill>
                <a:cs typeface="Calibri"/>
              </a:rPr>
              <a:t>l</a:t>
            </a:r>
            <a:r>
              <a:rPr sz="1100" spc="-12" dirty="0">
                <a:solidFill>
                  <a:srgbClr val="7E7E7E"/>
                </a:solidFill>
                <a:cs typeface="Calibri"/>
              </a:rPr>
              <a:t>a</a:t>
            </a:r>
            <a:r>
              <a:rPr sz="1100" spc="-4" dirty="0">
                <a:solidFill>
                  <a:srgbClr val="7E7E7E"/>
                </a:solidFill>
                <a:cs typeface="Calibri"/>
              </a:rPr>
              <a:t>t</a:t>
            </a:r>
            <a:r>
              <a:rPr sz="1100" spc="-20" dirty="0">
                <a:solidFill>
                  <a:srgbClr val="7E7E7E"/>
                </a:solidFill>
                <a:cs typeface="Calibri"/>
              </a:rPr>
              <a:t>f</a:t>
            </a:r>
            <a:r>
              <a:rPr sz="1100" dirty="0">
                <a:solidFill>
                  <a:srgbClr val="7E7E7E"/>
                </a:solidFill>
                <a:cs typeface="Calibri"/>
              </a:rPr>
              <a:t>orm</a:t>
            </a:r>
            <a:endParaRPr sz="1100">
              <a:solidFill>
                <a:prstClr val="black"/>
              </a:solidFill>
              <a:cs typeface="Calibri"/>
            </a:endParaRPr>
          </a:p>
          <a:p>
            <a:pPr marL="994" algn="ctr"/>
            <a:r>
              <a:rPr sz="1100" u="heavy" spc="-8" dirty="0">
                <a:solidFill>
                  <a:srgbClr val="0000FF"/>
                </a:solidFill>
                <a:cs typeface="Calibri"/>
                <a:hlinkClick r:id="rId2"/>
              </a:rPr>
              <a:t>m</a:t>
            </a:r>
            <a:r>
              <a:rPr sz="1100" u="heavy" dirty="0">
                <a:solidFill>
                  <a:srgbClr val="0000FF"/>
                </a:solidFill>
                <a:cs typeface="Calibri"/>
                <a:hlinkClick r:id="rId2"/>
              </a:rPr>
              <a:t>i</a:t>
            </a:r>
            <a:r>
              <a:rPr sz="1100" u="heavy" spc="-39" dirty="0">
                <a:solidFill>
                  <a:srgbClr val="0000FF"/>
                </a:solidFill>
                <a:cs typeface="Calibri"/>
                <a:hlinkClick r:id="rId2"/>
              </a:rPr>
              <a:t>k</a:t>
            </a:r>
            <a:r>
              <a:rPr sz="1100" u="heavy" spc="-4" dirty="0">
                <a:solidFill>
                  <a:srgbClr val="0000FF"/>
                </a:solidFill>
                <a:cs typeface="Calibri"/>
                <a:hlinkClick r:id="rId2"/>
              </a:rPr>
              <a:t>e</a:t>
            </a:r>
            <a:r>
              <a:rPr sz="1100" u="heavy" spc="4" dirty="0">
                <a:solidFill>
                  <a:srgbClr val="0000FF"/>
                </a:solidFill>
                <a:cs typeface="Calibri"/>
                <a:hlinkClick r:id="rId2"/>
              </a:rPr>
              <a:t>.</a:t>
            </a:r>
            <a:r>
              <a:rPr sz="1100" u="heavy" dirty="0">
                <a:solidFill>
                  <a:srgbClr val="0000FF"/>
                </a:solidFill>
                <a:cs typeface="Calibri"/>
                <a:hlinkClick r:id="rId2"/>
              </a:rPr>
              <a:t>l</a:t>
            </a:r>
            <a:r>
              <a:rPr sz="1100" u="heavy" spc="-8" dirty="0">
                <a:solidFill>
                  <a:srgbClr val="0000FF"/>
                </a:solidFill>
                <a:cs typeface="Calibri"/>
                <a:hlinkClick r:id="rId2"/>
              </a:rPr>
              <a:t>u</a:t>
            </a:r>
            <a:r>
              <a:rPr sz="1100" u="heavy" spc="4" dirty="0">
                <a:solidFill>
                  <a:srgbClr val="0000FF"/>
                </a:solidFill>
                <a:cs typeface="Calibri"/>
                <a:hlinkClick r:id="rId2"/>
              </a:rPr>
              <a:t>.</a:t>
            </a:r>
            <a:r>
              <a:rPr sz="1100" u="heavy" spc="-4" dirty="0">
                <a:solidFill>
                  <a:srgbClr val="0000FF"/>
                </a:solidFill>
                <a:cs typeface="Calibri"/>
                <a:hlinkClick r:id="rId2"/>
              </a:rPr>
              <a:t>44</a:t>
            </a:r>
            <a:r>
              <a:rPr sz="1100" u="heavy" dirty="0">
                <a:solidFill>
                  <a:srgbClr val="0000FF"/>
                </a:solidFill>
                <a:cs typeface="Calibri"/>
                <a:hlinkClick r:id="rId2"/>
              </a:rPr>
              <a:t>@</a:t>
            </a:r>
            <a:r>
              <a:rPr sz="1100" u="heavy" spc="-4" dirty="0">
                <a:solidFill>
                  <a:srgbClr val="0000FF"/>
                </a:solidFill>
                <a:cs typeface="Calibri"/>
                <a:hlinkClick r:id="rId2"/>
              </a:rPr>
              <a:t>g</a:t>
            </a:r>
            <a:r>
              <a:rPr sz="1100" u="heavy" spc="-8" dirty="0">
                <a:solidFill>
                  <a:srgbClr val="0000FF"/>
                </a:solidFill>
                <a:cs typeface="Calibri"/>
                <a:hlinkClick r:id="rId2"/>
              </a:rPr>
              <a:t>m</a:t>
            </a:r>
            <a:r>
              <a:rPr sz="1100" u="heavy" spc="-4" dirty="0">
                <a:solidFill>
                  <a:srgbClr val="0000FF"/>
                </a:solidFill>
                <a:cs typeface="Calibri"/>
                <a:hlinkClick r:id="rId2"/>
              </a:rPr>
              <a:t>a</a:t>
            </a:r>
            <a:r>
              <a:rPr sz="1100" u="heavy" dirty="0">
                <a:solidFill>
                  <a:srgbClr val="0000FF"/>
                </a:solidFill>
                <a:cs typeface="Calibri"/>
                <a:hlinkClick r:id="rId2"/>
              </a:rPr>
              <a:t>il</a:t>
            </a:r>
            <a:r>
              <a:rPr sz="1100" u="heavy" spc="4" dirty="0">
                <a:solidFill>
                  <a:srgbClr val="0000FF"/>
                </a:solidFill>
                <a:cs typeface="Calibri"/>
                <a:hlinkClick r:id="rId2"/>
              </a:rPr>
              <a:t>.</a:t>
            </a:r>
            <a:r>
              <a:rPr sz="1100" u="heavy" spc="-16" dirty="0">
                <a:solidFill>
                  <a:srgbClr val="0000FF"/>
                </a:solidFill>
                <a:cs typeface="Calibri"/>
                <a:hlinkClick r:id="rId2"/>
              </a:rPr>
              <a:t>c</a:t>
            </a:r>
            <a:r>
              <a:rPr sz="1100" u="heavy" dirty="0">
                <a:solidFill>
                  <a:srgbClr val="0000FF"/>
                </a:solidFill>
                <a:cs typeface="Calibri"/>
                <a:hlinkClick r:id="rId2"/>
              </a:rPr>
              <a:t>om</a:t>
            </a:r>
            <a:endParaRPr sz="1100">
              <a:solidFill>
                <a:prstClr val="black"/>
              </a:solidFill>
              <a:cs typeface="Calibri"/>
            </a:endParaRPr>
          </a:p>
          <a:p>
            <a:pPr marL="1490" algn="ctr"/>
            <a:r>
              <a:rPr sz="1100" spc="-4" dirty="0">
                <a:solidFill>
                  <a:srgbClr val="7E7E7E"/>
                </a:solidFill>
                <a:cs typeface="Calibri"/>
              </a:rPr>
              <a:t>+5</a:t>
            </a:r>
            <a:r>
              <a:rPr sz="1100" dirty="0">
                <a:solidFill>
                  <a:srgbClr val="7E7E7E"/>
                </a:solidFill>
                <a:cs typeface="Calibri"/>
              </a:rPr>
              <a:t>5 </a:t>
            </a:r>
            <a:r>
              <a:rPr sz="1100" spc="-4" dirty="0">
                <a:solidFill>
                  <a:srgbClr val="7E7E7E"/>
                </a:solidFill>
                <a:cs typeface="Calibri"/>
              </a:rPr>
              <a:t>1</a:t>
            </a:r>
            <a:r>
              <a:rPr sz="1100" dirty="0">
                <a:solidFill>
                  <a:srgbClr val="7E7E7E"/>
                </a:solidFill>
                <a:cs typeface="Calibri"/>
              </a:rPr>
              <a:t>1 </a:t>
            </a:r>
            <a:r>
              <a:rPr sz="1100" spc="-4" dirty="0">
                <a:solidFill>
                  <a:srgbClr val="7E7E7E"/>
                </a:solidFill>
                <a:cs typeface="Calibri"/>
              </a:rPr>
              <a:t>9843</a:t>
            </a:r>
            <a:r>
              <a:rPr sz="1100" dirty="0">
                <a:solidFill>
                  <a:srgbClr val="7E7E7E"/>
                </a:solidFill>
                <a:cs typeface="Calibri"/>
              </a:rPr>
              <a:t>8</a:t>
            </a:r>
            <a:r>
              <a:rPr sz="1100" spc="12" dirty="0">
                <a:solidFill>
                  <a:srgbClr val="7E7E7E"/>
                </a:solidFill>
                <a:cs typeface="Calibri"/>
              </a:rPr>
              <a:t> </a:t>
            </a:r>
            <a:r>
              <a:rPr sz="1100" spc="-4" dirty="0">
                <a:solidFill>
                  <a:srgbClr val="7E7E7E"/>
                </a:solidFill>
                <a:cs typeface="Calibri"/>
              </a:rPr>
              <a:t>374</a:t>
            </a:r>
            <a:r>
              <a:rPr sz="1100" dirty="0">
                <a:solidFill>
                  <a:srgbClr val="7E7E7E"/>
                </a:solidFill>
                <a:cs typeface="Calibri"/>
              </a:rPr>
              <a:t>3</a:t>
            </a:r>
            <a:endParaRPr sz="1100">
              <a:solidFill>
                <a:prstClr val="black"/>
              </a:solidFill>
              <a:cs typeface="Calibri"/>
            </a:endParaRPr>
          </a:p>
        </p:txBody>
      </p:sp>
      <p:sp>
        <p:nvSpPr>
          <p:cNvPr id="3" name="object 3"/>
          <p:cNvSpPr txBox="1"/>
          <p:nvPr/>
        </p:nvSpPr>
        <p:spPr>
          <a:xfrm>
            <a:off x="1683180" y="690871"/>
            <a:ext cx="2300661" cy="369986"/>
          </a:xfrm>
          <a:prstGeom prst="rect">
            <a:avLst/>
          </a:prstGeom>
        </p:spPr>
        <p:txBody>
          <a:bodyPr vert="horz" wrap="square" lIns="0" tIns="0" rIns="0" bIns="0" rtlCol="0">
            <a:noAutofit/>
          </a:bodyPr>
          <a:lstStyle/>
          <a:p>
            <a:pPr marL="9941"/>
            <a:r>
              <a:rPr spc="16" dirty="0">
                <a:solidFill>
                  <a:srgbClr val="948A53"/>
                </a:solidFill>
                <a:cs typeface="Calibri"/>
              </a:rPr>
              <a:t>B</a:t>
            </a:r>
            <a:r>
              <a:rPr spc="-31" dirty="0">
                <a:solidFill>
                  <a:srgbClr val="948A53"/>
                </a:solidFill>
                <a:cs typeface="Calibri"/>
              </a:rPr>
              <a:t>r</a:t>
            </a:r>
            <a:r>
              <a:rPr spc="20" dirty="0">
                <a:solidFill>
                  <a:srgbClr val="948A53"/>
                </a:solidFill>
                <a:cs typeface="Calibri"/>
              </a:rPr>
              <a:t>azilia</a:t>
            </a:r>
            <a:r>
              <a:rPr spc="12" dirty="0">
                <a:solidFill>
                  <a:srgbClr val="948A53"/>
                </a:solidFill>
                <a:cs typeface="Calibri"/>
              </a:rPr>
              <a:t>n</a:t>
            </a:r>
            <a:r>
              <a:rPr spc="-23" dirty="0">
                <a:solidFill>
                  <a:srgbClr val="948A53"/>
                </a:solidFill>
                <a:cs typeface="Calibri"/>
              </a:rPr>
              <a:t> </a:t>
            </a:r>
            <a:r>
              <a:rPr spc="16" dirty="0">
                <a:solidFill>
                  <a:srgbClr val="948A53"/>
                </a:solidFill>
                <a:cs typeface="Calibri"/>
              </a:rPr>
              <a:t>B</a:t>
            </a:r>
            <a:r>
              <a:rPr spc="20" dirty="0">
                <a:solidFill>
                  <a:srgbClr val="948A53"/>
                </a:solidFill>
                <a:cs typeface="Calibri"/>
              </a:rPr>
              <a:t>i</a:t>
            </a:r>
            <a:r>
              <a:rPr spc="12" dirty="0">
                <a:solidFill>
                  <a:srgbClr val="948A53"/>
                </a:solidFill>
                <a:cs typeface="Calibri"/>
              </a:rPr>
              <a:t>o</a:t>
            </a:r>
            <a:r>
              <a:rPr spc="16" dirty="0">
                <a:solidFill>
                  <a:srgbClr val="948A53"/>
                </a:solidFill>
                <a:cs typeface="Calibri"/>
              </a:rPr>
              <a:t>j</a:t>
            </a:r>
            <a:r>
              <a:rPr spc="-4" dirty="0">
                <a:solidFill>
                  <a:srgbClr val="948A53"/>
                </a:solidFill>
                <a:cs typeface="Calibri"/>
              </a:rPr>
              <a:t>e</a:t>
            </a:r>
            <a:r>
              <a:rPr spc="12" dirty="0">
                <a:solidFill>
                  <a:srgbClr val="948A53"/>
                </a:solidFill>
                <a:cs typeface="Calibri"/>
              </a:rPr>
              <a:t>t</a:t>
            </a:r>
            <a:r>
              <a:rPr spc="4" dirty="0">
                <a:solidFill>
                  <a:srgbClr val="948A53"/>
                </a:solidFill>
                <a:cs typeface="Calibri"/>
              </a:rPr>
              <a:t>f</a:t>
            </a:r>
            <a:r>
              <a:rPr spc="16" dirty="0">
                <a:solidFill>
                  <a:srgbClr val="948A53"/>
                </a:solidFill>
                <a:cs typeface="Calibri"/>
              </a:rPr>
              <a:t>u</a:t>
            </a:r>
            <a:r>
              <a:rPr spc="8" dirty="0">
                <a:solidFill>
                  <a:srgbClr val="948A53"/>
                </a:solidFill>
                <a:cs typeface="Calibri"/>
              </a:rPr>
              <a:t>e</a:t>
            </a:r>
            <a:r>
              <a:rPr spc="20" dirty="0">
                <a:solidFill>
                  <a:srgbClr val="948A53"/>
                </a:solidFill>
                <a:cs typeface="Calibri"/>
              </a:rPr>
              <a:t>l</a:t>
            </a:r>
            <a:r>
              <a:rPr spc="-20" dirty="0">
                <a:solidFill>
                  <a:srgbClr val="948A53"/>
                </a:solidFill>
                <a:cs typeface="Calibri"/>
              </a:rPr>
              <a:t> </a:t>
            </a:r>
            <a:r>
              <a:rPr spc="12" dirty="0">
                <a:solidFill>
                  <a:srgbClr val="948A53"/>
                </a:solidFill>
                <a:cs typeface="Calibri"/>
              </a:rPr>
              <a:t>P</a:t>
            </a:r>
            <a:r>
              <a:rPr spc="20" dirty="0">
                <a:solidFill>
                  <a:srgbClr val="948A53"/>
                </a:solidFill>
                <a:cs typeface="Calibri"/>
              </a:rPr>
              <a:t>l</a:t>
            </a:r>
            <a:r>
              <a:rPr spc="8" dirty="0">
                <a:solidFill>
                  <a:srgbClr val="948A53"/>
                </a:solidFill>
                <a:cs typeface="Calibri"/>
              </a:rPr>
              <a:t>a</a:t>
            </a:r>
            <a:r>
              <a:rPr spc="12" dirty="0">
                <a:solidFill>
                  <a:srgbClr val="948A53"/>
                </a:solidFill>
                <a:cs typeface="Calibri"/>
              </a:rPr>
              <a:t>t</a:t>
            </a:r>
            <a:r>
              <a:rPr spc="-12" dirty="0">
                <a:solidFill>
                  <a:srgbClr val="948A53"/>
                </a:solidFill>
                <a:cs typeface="Calibri"/>
              </a:rPr>
              <a:t>f</a:t>
            </a:r>
            <a:r>
              <a:rPr spc="16" dirty="0">
                <a:solidFill>
                  <a:srgbClr val="948A53"/>
                </a:solidFill>
                <a:cs typeface="Calibri"/>
              </a:rPr>
              <a:t>o</a:t>
            </a:r>
            <a:r>
              <a:rPr dirty="0" smtClean="0">
                <a:solidFill>
                  <a:srgbClr val="948A53"/>
                </a:solidFill>
                <a:cs typeface="Calibri"/>
              </a:rPr>
              <a:t>r</a:t>
            </a:r>
            <a:r>
              <a:rPr spc="8" dirty="0">
                <a:solidFill>
                  <a:srgbClr val="948A53"/>
                </a:solidFill>
                <a:cs typeface="Calibri"/>
              </a:rPr>
              <a:t>m</a:t>
            </a:r>
            <a:endParaRPr>
              <a:solidFill>
                <a:prstClr val="black"/>
              </a:solidFill>
              <a:cs typeface="Calibri"/>
            </a:endParaRPr>
          </a:p>
          <a:p>
            <a:pPr marL="9941">
              <a:spcBef>
                <a:spcPts val="16"/>
              </a:spcBef>
            </a:pPr>
            <a:r>
              <a:rPr sz="1300" spc="-102" dirty="0">
                <a:solidFill>
                  <a:srgbClr val="948A53"/>
                </a:solidFill>
                <a:cs typeface="Calibri"/>
              </a:rPr>
              <a:t>T</a:t>
            </a:r>
            <a:r>
              <a:rPr sz="1300" spc="-8" dirty="0">
                <a:solidFill>
                  <a:srgbClr val="948A53"/>
                </a:solidFill>
                <a:cs typeface="Calibri"/>
              </a:rPr>
              <a:t>a</a:t>
            </a:r>
            <a:r>
              <a:rPr sz="1300" spc="-12" dirty="0">
                <a:solidFill>
                  <a:srgbClr val="948A53"/>
                </a:solidFill>
                <a:cs typeface="Calibri"/>
              </a:rPr>
              <a:t>k</a:t>
            </a:r>
            <a:r>
              <a:rPr sz="1300" dirty="0">
                <a:solidFill>
                  <a:srgbClr val="948A53"/>
                </a:solidFill>
                <a:cs typeface="Calibri"/>
              </a:rPr>
              <a:t>i</a:t>
            </a:r>
            <a:r>
              <a:rPr sz="1300" spc="-8" dirty="0">
                <a:solidFill>
                  <a:srgbClr val="948A53"/>
                </a:solidFill>
                <a:cs typeface="Calibri"/>
              </a:rPr>
              <a:t>ng</a:t>
            </a:r>
            <a:r>
              <a:rPr sz="1300" spc="-20" dirty="0">
                <a:solidFill>
                  <a:srgbClr val="948A53"/>
                </a:solidFill>
                <a:cs typeface="Calibri"/>
              </a:rPr>
              <a:t> </a:t>
            </a:r>
            <a:r>
              <a:rPr sz="1300" spc="-12" dirty="0">
                <a:solidFill>
                  <a:srgbClr val="948A53"/>
                </a:solidFill>
                <a:cs typeface="Calibri"/>
              </a:rPr>
              <a:t>of</a:t>
            </a:r>
            <a:r>
              <a:rPr sz="1300" spc="-4" dirty="0">
                <a:solidFill>
                  <a:srgbClr val="948A53"/>
                </a:solidFill>
                <a:cs typeface="Calibri"/>
              </a:rPr>
              <a:t>f </a:t>
            </a:r>
            <a:r>
              <a:rPr sz="1300" spc="-16" dirty="0">
                <a:solidFill>
                  <a:srgbClr val="948A53"/>
                </a:solidFill>
                <a:cs typeface="Calibri"/>
              </a:rPr>
              <a:t>w</a:t>
            </a:r>
            <a:r>
              <a:rPr sz="1300" dirty="0">
                <a:solidFill>
                  <a:srgbClr val="948A53"/>
                </a:solidFill>
                <a:cs typeface="Calibri"/>
              </a:rPr>
              <a:t>i</a:t>
            </a:r>
            <a:r>
              <a:rPr sz="1300" spc="-4" dirty="0">
                <a:solidFill>
                  <a:srgbClr val="948A53"/>
                </a:solidFill>
                <a:cs typeface="Calibri"/>
              </a:rPr>
              <a:t>t</a:t>
            </a:r>
            <a:r>
              <a:rPr sz="1300" spc="-8" dirty="0">
                <a:solidFill>
                  <a:srgbClr val="948A53"/>
                </a:solidFill>
                <a:cs typeface="Calibri"/>
              </a:rPr>
              <a:t>h</a:t>
            </a:r>
            <a:r>
              <a:rPr sz="1300" spc="-4" dirty="0">
                <a:solidFill>
                  <a:srgbClr val="948A53"/>
                </a:solidFill>
                <a:cs typeface="Calibri"/>
              </a:rPr>
              <a:t> </a:t>
            </a:r>
            <a:r>
              <a:rPr sz="1300" spc="-12" dirty="0">
                <a:solidFill>
                  <a:srgbClr val="948A53"/>
                </a:solidFill>
                <a:cs typeface="Calibri"/>
              </a:rPr>
              <a:t>S</a:t>
            </a:r>
            <a:r>
              <a:rPr sz="1300" spc="-8" dirty="0">
                <a:solidFill>
                  <a:srgbClr val="948A53"/>
                </a:solidFill>
                <a:cs typeface="Calibri"/>
              </a:rPr>
              <a:t>u</a:t>
            </a:r>
            <a:r>
              <a:rPr sz="1300" spc="-20" dirty="0">
                <a:solidFill>
                  <a:srgbClr val="948A53"/>
                </a:solidFill>
                <a:cs typeface="Calibri"/>
              </a:rPr>
              <a:t>s</a:t>
            </a:r>
            <a:r>
              <a:rPr sz="1300" spc="-23" dirty="0">
                <a:solidFill>
                  <a:srgbClr val="948A53"/>
                </a:solidFill>
                <a:cs typeface="Calibri"/>
              </a:rPr>
              <a:t>t</a:t>
            </a:r>
            <a:r>
              <a:rPr sz="1300" spc="-8" dirty="0">
                <a:solidFill>
                  <a:srgbClr val="948A53"/>
                </a:solidFill>
                <a:cs typeface="Calibri"/>
              </a:rPr>
              <a:t>a</a:t>
            </a:r>
            <a:r>
              <a:rPr sz="1300" dirty="0">
                <a:solidFill>
                  <a:srgbClr val="948A53"/>
                </a:solidFill>
                <a:cs typeface="Calibri"/>
              </a:rPr>
              <a:t>i</a:t>
            </a:r>
            <a:r>
              <a:rPr sz="1300" spc="-8" dirty="0">
                <a:solidFill>
                  <a:srgbClr val="948A53"/>
                </a:solidFill>
                <a:cs typeface="Calibri"/>
              </a:rPr>
              <a:t>nab</a:t>
            </a:r>
            <a:r>
              <a:rPr sz="1300" dirty="0">
                <a:solidFill>
                  <a:srgbClr val="948A53"/>
                </a:solidFill>
                <a:cs typeface="Calibri"/>
              </a:rPr>
              <a:t>i</a:t>
            </a:r>
            <a:r>
              <a:rPr sz="1300" spc="-12" dirty="0">
                <a:solidFill>
                  <a:srgbClr val="948A53"/>
                </a:solidFill>
                <a:cs typeface="Calibri"/>
              </a:rPr>
              <a:t>li</a:t>
            </a:r>
            <a:r>
              <a:rPr sz="1300" spc="-4" dirty="0">
                <a:solidFill>
                  <a:srgbClr val="948A53"/>
                </a:solidFill>
                <a:cs typeface="Calibri"/>
              </a:rPr>
              <a:t>t</a:t>
            </a:r>
            <a:r>
              <a:rPr sz="1300" spc="-8" dirty="0">
                <a:solidFill>
                  <a:srgbClr val="948A53"/>
                </a:solidFill>
                <a:cs typeface="Calibri"/>
              </a:rPr>
              <a:t>y</a:t>
            </a:r>
            <a:endParaRPr sz="1300">
              <a:solidFill>
                <a:prstClr val="black"/>
              </a:solidFill>
              <a:cs typeface="Calibri"/>
            </a:endParaRPr>
          </a:p>
        </p:txBody>
      </p:sp>
      <p:sp>
        <p:nvSpPr>
          <p:cNvPr id="4" name="object 4"/>
          <p:cNvSpPr/>
          <p:nvPr/>
        </p:nvSpPr>
        <p:spPr>
          <a:xfrm>
            <a:off x="1334356" y="747921"/>
            <a:ext cx="69069" cy="42530"/>
          </a:xfrm>
          <a:prstGeom prst="rect">
            <a:avLst/>
          </a:prstGeom>
          <a:blipFill>
            <a:blip r:embed="rId3" cstate="print"/>
            <a:stretch>
              <a:fillRect/>
            </a:stretch>
          </a:blipFill>
        </p:spPr>
        <p:txBody>
          <a:bodyPr wrap="square" lIns="0" tIns="0" rIns="0" bIns="0" rtlCol="0">
            <a:noAutofit/>
          </a:bodyPr>
          <a:lstStyle/>
          <a:p>
            <a:endParaRPr smtClean="0">
              <a:solidFill>
                <a:prstClr val="black"/>
              </a:solidFill>
            </a:endParaRPr>
          </a:p>
        </p:txBody>
      </p:sp>
      <p:sp>
        <p:nvSpPr>
          <p:cNvPr id="5" name="object 5"/>
          <p:cNvSpPr/>
          <p:nvPr/>
        </p:nvSpPr>
        <p:spPr>
          <a:xfrm>
            <a:off x="1373451" y="789933"/>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6" name="object 6"/>
          <p:cNvSpPr/>
          <p:nvPr/>
        </p:nvSpPr>
        <p:spPr>
          <a:xfrm>
            <a:off x="1373451" y="790970"/>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7" name="object 7"/>
          <p:cNvSpPr/>
          <p:nvPr/>
        </p:nvSpPr>
        <p:spPr>
          <a:xfrm>
            <a:off x="1372149" y="792008"/>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8" name="object 8"/>
          <p:cNvSpPr/>
          <p:nvPr/>
        </p:nvSpPr>
        <p:spPr>
          <a:xfrm>
            <a:off x="1372149" y="793045"/>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9" name="object 9"/>
          <p:cNvSpPr/>
          <p:nvPr/>
        </p:nvSpPr>
        <p:spPr>
          <a:xfrm>
            <a:off x="1372149" y="794082"/>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0" name="object 10"/>
          <p:cNvSpPr/>
          <p:nvPr/>
        </p:nvSpPr>
        <p:spPr>
          <a:xfrm>
            <a:off x="1372149" y="795120"/>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1" name="object 11"/>
          <p:cNvSpPr/>
          <p:nvPr/>
        </p:nvSpPr>
        <p:spPr>
          <a:xfrm>
            <a:off x="1320020" y="789416"/>
            <a:ext cx="87313" cy="13485"/>
          </a:xfrm>
          <a:prstGeom prst="rect">
            <a:avLst/>
          </a:prstGeom>
          <a:blipFill>
            <a:blip r:embed="rId4" cstate="print"/>
            <a:stretch>
              <a:fillRect/>
            </a:stretch>
          </a:blipFill>
        </p:spPr>
        <p:txBody>
          <a:bodyPr wrap="square" lIns="0" tIns="0" rIns="0" bIns="0" rtlCol="0">
            <a:noAutofit/>
          </a:bodyPr>
          <a:lstStyle/>
          <a:p>
            <a:endParaRPr smtClean="0">
              <a:solidFill>
                <a:prstClr val="black"/>
              </a:solidFill>
            </a:endParaRPr>
          </a:p>
        </p:txBody>
      </p:sp>
      <p:sp>
        <p:nvSpPr>
          <p:cNvPr id="12" name="object 12"/>
          <p:cNvSpPr/>
          <p:nvPr/>
        </p:nvSpPr>
        <p:spPr>
          <a:xfrm>
            <a:off x="1368238" y="802381"/>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3" name="object 13"/>
          <p:cNvSpPr/>
          <p:nvPr/>
        </p:nvSpPr>
        <p:spPr>
          <a:xfrm>
            <a:off x="1368238" y="803419"/>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4" name="object 14"/>
          <p:cNvSpPr/>
          <p:nvPr/>
        </p:nvSpPr>
        <p:spPr>
          <a:xfrm>
            <a:off x="1313504" y="801864"/>
            <a:ext cx="93829" cy="6223"/>
          </a:xfrm>
          <a:prstGeom prst="rect">
            <a:avLst/>
          </a:prstGeom>
          <a:blipFill>
            <a:blip r:embed="rId5" cstate="print"/>
            <a:stretch>
              <a:fillRect/>
            </a:stretch>
          </a:blipFill>
        </p:spPr>
        <p:txBody>
          <a:bodyPr wrap="square" lIns="0" tIns="0" rIns="0" bIns="0" rtlCol="0">
            <a:noAutofit/>
          </a:bodyPr>
          <a:lstStyle/>
          <a:p>
            <a:endParaRPr smtClean="0">
              <a:solidFill>
                <a:prstClr val="black"/>
              </a:solidFill>
            </a:endParaRPr>
          </a:p>
        </p:txBody>
      </p:sp>
      <p:sp>
        <p:nvSpPr>
          <p:cNvPr id="15" name="object 15"/>
          <p:cNvSpPr/>
          <p:nvPr/>
        </p:nvSpPr>
        <p:spPr>
          <a:xfrm>
            <a:off x="1366935" y="807568"/>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6" name="object 16"/>
          <p:cNvSpPr/>
          <p:nvPr/>
        </p:nvSpPr>
        <p:spPr>
          <a:xfrm>
            <a:off x="1365633" y="811717"/>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7" name="object 17"/>
          <p:cNvSpPr/>
          <p:nvPr/>
        </p:nvSpPr>
        <p:spPr>
          <a:xfrm>
            <a:off x="1365633" y="812755"/>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18" name="object 18"/>
          <p:cNvSpPr/>
          <p:nvPr/>
        </p:nvSpPr>
        <p:spPr>
          <a:xfrm>
            <a:off x="1142786" y="744810"/>
            <a:ext cx="276277" cy="104771"/>
          </a:xfrm>
          <a:prstGeom prst="rect">
            <a:avLst/>
          </a:prstGeom>
          <a:blipFill>
            <a:blip r:embed="rId6" cstate="print"/>
            <a:stretch>
              <a:fillRect/>
            </a:stretch>
          </a:blipFill>
        </p:spPr>
        <p:txBody>
          <a:bodyPr wrap="square" lIns="0" tIns="0" rIns="0" bIns="0" rtlCol="0">
            <a:noAutofit/>
          </a:bodyPr>
          <a:lstStyle/>
          <a:p>
            <a:endParaRPr smtClean="0">
              <a:solidFill>
                <a:prstClr val="black"/>
              </a:solidFill>
            </a:endParaRPr>
          </a:p>
        </p:txBody>
      </p:sp>
      <p:sp>
        <p:nvSpPr>
          <p:cNvPr id="19" name="object 19"/>
          <p:cNvSpPr/>
          <p:nvPr/>
        </p:nvSpPr>
        <p:spPr>
          <a:xfrm>
            <a:off x="1320021" y="849062"/>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0" name="object 20"/>
          <p:cNvSpPr/>
          <p:nvPr/>
        </p:nvSpPr>
        <p:spPr>
          <a:xfrm>
            <a:off x="1320021" y="850099"/>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1" name="object 21"/>
          <p:cNvSpPr/>
          <p:nvPr/>
        </p:nvSpPr>
        <p:spPr>
          <a:xfrm>
            <a:off x="1095871" y="848543"/>
            <a:ext cx="324495" cy="78838"/>
          </a:xfrm>
          <a:prstGeom prst="rect">
            <a:avLst/>
          </a:prstGeom>
          <a:blipFill>
            <a:blip r:embed="rId7" cstate="print"/>
            <a:stretch>
              <a:fillRect/>
            </a:stretch>
          </a:blipFill>
        </p:spPr>
        <p:txBody>
          <a:bodyPr wrap="square" lIns="0" tIns="0" rIns="0" bIns="0" rtlCol="0">
            <a:noAutofit/>
          </a:bodyPr>
          <a:lstStyle/>
          <a:p>
            <a:endParaRPr smtClean="0">
              <a:solidFill>
                <a:prstClr val="black"/>
              </a:solidFill>
            </a:endParaRPr>
          </a:p>
        </p:txBody>
      </p:sp>
      <p:sp>
        <p:nvSpPr>
          <p:cNvPr id="22" name="object 22"/>
          <p:cNvSpPr/>
          <p:nvPr/>
        </p:nvSpPr>
        <p:spPr>
          <a:xfrm>
            <a:off x="1336963" y="926863"/>
            <a:ext cx="1302" cy="0"/>
          </a:xfrm>
          <a:custGeom>
            <a:avLst/>
            <a:gdLst/>
            <a:ahLst/>
            <a:cxnLst/>
            <a:rect l="l" t="t" r="r" b="b"/>
            <a:pathLst>
              <a:path w="1523">
                <a:moveTo>
                  <a:pt x="0" y="0"/>
                </a:moveTo>
                <a:lnTo>
                  <a:pt x="1523" y="0"/>
                </a:lnTo>
              </a:path>
            </a:pathLst>
          </a:custGeom>
          <a:ln w="3175">
            <a:solidFill>
              <a:srgbClr val="008540"/>
            </a:solidFill>
          </a:ln>
        </p:spPr>
        <p:txBody>
          <a:bodyPr wrap="square" lIns="0" tIns="0" rIns="0" bIns="0" rtlCol="0">
            <a:noAutofit/>
          </a:bodyPr>
          <a:lstStyle/>
          <a:p>
            <a:endParaRPr smtClean="0">
              <a:solidFill>
                <a:prstClr val="black"/>
              </a:solidFill>
            </a:endParaRPr>
          </a:p>
        </p:txBody>
      </p:sp>
      <p:sp>
        <p:nvSpPr>
          <p:cNvPr id="23" name="object 23"/>
          <p:cNvSpPr/>
          <p:nvPr/>
        </p:nvSpPr>
        <p:spPr>
          <a:xfrm>
            <a:off x="1095870" y="926344"/>
            <a:ext cx="405292" cy="155606"/>
          </a:xfrm>
          <a:prstGeom prst="rect">
            <a:avLst/>
          </a:prstGeom>
          <a:blipFill>
            <a:blip r:embed="rId8" cstate="print"/>
            <a:stretch>
              <a:fillRect/>
            </a:stretch>
          </a:blipFill>
        </p:spPr>
        <p:txBody>
          <a:bodyPr wrap="square" lIns="0" tIns="0" rIns="0" bIns="0" rtlCol="0">
            <a:noAutofit/>
          </a:bodyPr>
          <a:lstStyle/>
          <a:p>
            <a:endParaRPr smtClean="0">
              <a:solidFill>
                <a:prstClr val="black"/>
              </a:solidFill>
            </a:endParaRPr>
          </a:p>
        </p:txBody>
      </p:sp>
    </p:spTree>
    <p:extLst>
      <p:ext uri="{BB962C8B-B14F-4D97-AF65-F5344CB8AC3E}">
        <p14:creationId xmlns:p14="http://schemas.microsoft.com/office/powerpoint/2010/main" val="385833449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3"/>
          <p:cNvPicPr>
            <a:picLocks noChangeAspect="1" noChangeArrowheads="1"/>
          </p:cNvPicPr>
          <p:nvPr/>
        </p:nvPicPr>
        <p:blipFill rotWithShape="1">
          <a:blip r:embed="rId2" cstate="print"/>
          <a:srcRect r="13380" b="27979"/>
          <a:stretch/>
        </p:blipFill>
        <p:spPr bwMode="auto">
          <a:xfrm>
            <a:off x="0" y="904191"/>
            <a:ext cx="9144000" cy="5518863"/>
          </a:xfrm>
          <a:prstGeom prst="rect">
            <a:avLst/>
          </a:prstGeom>
          <a:noFill/>
          <a:ln w="9525">
            <a:noFill/>
            <a:miter lim="800000"/>
            <a:headEnd/>
            <a:tailEnd/>
          </a:ln>
        </p:spPr>
      </p:pic>
      <p:sp>
        <p:nvSpPr>
          <p:cNvPr id="17" name="Text Box 7"/>
          <p:cNvSpPr txBox="1">
            <a:spLocks noChangeArrowheads="1"/>
          </p:cNvSpPr>
          <p:nvPr/>
        </p:nvSpPr>
        <p:spPr bwMode="auto">
          <a:xfrm>
            <a:off x="228600" y="4048125"/>
            <a:ext cx="1357312" cy="257175"/>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r>
              <a:rPr lang="en-US" sz="900" dirty="0">
                <a:solidFill>
                  <a:srgbClr val="000000"/>
                </a:solidFill>
                <a:latin typeface="Arial" pitchFamily="34" charset="0"/>
                <a:cs typeface="Arial" pitchFamily="34" charset="0"/>
              </a:rPr>
              <a:t>Produced by</a:t>
            </a:r>
            <a:endParaRPr lang="en-US" dirty="0">
              <a:latin typeface="Arial" pitchFamily="34" charset="0"/>
              <a:cs typeface="Arial" pitchFamily="34" charset="0"/>
            </a:endParaRPr>
          </a:p>
        </p:txBody>
      </p:sp>
      <p:pic>
        <p:nvPicPr>
          <p:cNvPr id="18" name="Picture 8" descr="Kwclear"/>
          <p:cNvPicPr>
            <a:picLocks noChangeAspect="1" noChangeArrowheads="1"/>
          </p:cNvPicPr>
          <p:nvPr/>
        </p:nvPicPr>
        <p:blipFill>
          <a:blip r:embed="rId3" cstate="print">
            <a:clrChange>
              <a:clrFrom>
                <a:srgbClr val="FDFDFD"/>
              </a:clrFrom>
              <a:clrTo>
                <a:srgbClr val="FDFDFD">
                  <a:alpha val="0"/>
                </a:srgbClr>
              </a:clrTo>
            </a:clrChange>
          </a:blip>
          <a:srcRect/>
          <a:stretch>
            <a:fillRect/>
          </a:stretch>
        </p:blipFill>
        <p:spPr bwMode="auto">
          <a:xfrm>
            <a:off x="228604" y="4250149"/>
            <a:ext cx="1279525" cy="226603"/>
          </a:xfrm>
          <a:prstGeom prst="rect">
            <a:avLst/>
          </a:prstGeom>
          <a:noFill/>
          <a:ln w="9525" algn="in">
            <a:noFill/>
            <a:miter lim="800000"/>
            <a:headEnd/>
            <a:tailEnd/>
          </a:ln>
          <a:effectLst/>
        </p:spPr>
      </p:pic>
      <p:sp>
        <p:nvSpPr>
          <p:cNvPr id="20" name="Text Box 9"/>
          <p:cNvSpPr txBox="1">
            <a:spLocks noChangeArrowheads="1"/>
          </p:cNvSpPr>
          <p:nvPr/>
        </p:nvSpPr>
        <p:spPr bwMode="auto">
          <a:xfrm>
            <a:off x="2362200" y="133350"/>
            <a:ext cx="2667000" cy="971550"/>
          </a:xfrm>
          <a:prstGeom prst="rect">
            <a:avLst/>
          </a:prstGeom>
          <a:noFill/>
          <a:ln w="9525" algn="in">
            <a:noFill/>
            <a:miter lim="800000"/>
            <a:headEnd/>
            <a:tailEnd/>
          </a:ln>
          <a:effectLst/>
        </p:spPr>
        <p:txBody>
          <a:bodyPr vert="horz" wrap="square" lIns="36572" tIns="36572" rIns="36572" bIns="36572" numCol="1" anchor="t" anchorCtr="0" compatLnSpc="1">
            <a:prstTxWarp prst="textNoShape">
              <a:avLst/>
            </a:prstTxWarp>
          </a:bodyPr>
          <a:lstStyle/>
          <a:p>
            <a:pPr algn="ctr" fontAlgn="base">
              <a:spcBef>
                <a:spcPct val="0"/>
              </a:spcBef>
              <a:spcAft>
                <a:spcPct val="0"/>
              </a:spcAft>
            </a:pPr>
            <a:endParaRPr lang="en-US" sz="800" b="1" dirty="0">
              <a:solidFill>
                <a:srgbClr val="00CCFF"/>
              </a:solidFill>
              <a:latin typeface="Arial" pitchFamily="34" charset="0"/>
              <a:cs typeface="Arial" pitchFamily="34" charset="0"/>
            </a:endParaRPr>
          </a:p>
          <a:p>
            <a:pPr fontAlgn="base">
              <a:spcBef>
                <a:spcPct val="0"/>
              </a:spcBef>
              <a:spcAft>
                <a:spcPct val="0"/>
              </a:spcAft>
            </a:pPr>
            <a:r>
              <a:rPr lang="en-US" sz="2400" b="1" dirty="0">
                <a:latin typeface="Arial" pitchFamily="34" charset="0"/>
                <a:cs typeface="Arial" pitchFamily="34" charset="0"/>
              </a:rPr>
              <a:t>CAAFI 2014</a:t>
            </a:r>
          </a:p>
          <a:p>
            <a:pPr fontAlgn="base">
              <a:spcBef>
                <a:spcPct val="0"/>
              </a:spcBef>
              <a:spcAft>
                <a:spcPct val="0"/>
              </a:spcAft>
            </a:pPr>
            <a:r>
              <a:rPr lang="en-US" sz="2400" b="1" dirty="0">
                <a:latin typeface="Arial" pitchFamily="34" charset="0"/>
                <a:cs typeface="Arial" pitchFamily="34" charset="0"/>
              </a:rPr>
              <a:t>General Meeting</a:t>
            </a:r>
          </a:p>
          <a:p>
            <a:pPr fontAlgn="base">
              <a:spcBef>
                <a:spcPct val="0"/>
              </a:spcBef>
              <a:spcAft>
                <a:spcPct val="0"/>
              </a:spcAft>
            </a:pPr>
            <a:r>
              <a:rPr lang="en-US" sz="2400" b="1" dirty="0">
                <a:latin typeface="Arial" pitchFamily="34" charset="0"/>
                <a:cs typeface="Arial" pitchFamily="34" charset="0"/>
              </a:rPr>
              <a:t>&amp; Expo</a:t>
            </a:r>
          </a:p>
        </p:txBody>
      </p:sp>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801" y="66179"/>
            <a:ext cx="1981200" cy="1286372"/>
          </a:xfrm>
          <a:prstGeom prst="rect">
            <a:avLst/>
          </a:prstGeom>
        </p:spPr>
      </p:pic>
      <p:sp>
        <p:nvSpPr>
          <p:cNvPr id="2" name="TextBox 1"/>
          <p:cNvSpPr txBox="1"/>
          <p:nvPr/>
        </p:nvSpPr>
        <p:spPr>
          <a:xfrm>
            <a:off x="152401" y="1581152"/>
            <a:ext cx="5638800" cy="984873"/>
          </a:xfrm>
          <a:prstGeom prst="rect">
            <a:avLst/>
          </a:prstGeom>
          <a:noFill/>
        </p:spPr>
        <p:txBody>
          <a:bodyPr wrap="square" lIns="91428" tIns="45714" rIns="91428" bIns="45714" rtlCol="0">
            <a:spAutoFit/>
          </a:bodyPr>
          <a:lstStyle/>
          <a:p>
            <a:r>
              <a:rPr lang="en-US" sz="3400"/>
              <a:t>César Velarde Catolfi-Salvoni, </a:t>
            </a:r>
            <a:r>
              <a:rPr lang="en-US" sz="2400"/>
              <a:t>SENASA, OBSA Manager, Bioquereseno </a:t>
            </a:r>
          </a:p>
        </p:txBody>
      </p:sp>
    </p:spTree>
    <p:extLst>
      <p:ext uri="{BB962C8B-B14F-4D97-AF65-F5344CB8AC3E}">
        <p14:creationId xmlns:p14="http://schemas.microsoft.com/office/powerpoint/2010/main" val="320567454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p:cNvPicPr>
            <a:picLocks noChangeAspect="1" noChangeArrowheads="1"/>
          </p:cNvPicPr>
          <p:nvPr/>
        </p:nvPicPr>
        <p:blipFill>
          <a:blip r:embed="rId3" cstate="print"/>
          <a:srcRect/>
          <a:stretch>
            <a:fillRect/>
          </a:stretch>
        </p:blipFill>
        <p:spPr bwMode="auto">
          <a:xfrm>
            <a:off x="3162945" y="666907"/>
            <a:ext cx="2305050" cy="298847"/>
          </a:xfrm>
          <a:prstGeom prst="rect">
            <a:avLst/>
          </a:prstGeom>
          <a:noFill/>
          <a:ln w="9525" algn="ctr">
            <a:noFill/>
            <a:miter lim="800000"/>
            <a:headEnd/>
            <a:tailEnd/>
          </a:ln>
        </p:spPr>
      </p:pic>
      <p:pic>
        <p:nvPicPr>
          <p:cNvPr id="5" name="Picture 5"/>
          <p:cNvPicPr>
            <a:picLocks noChangeAspect="1" noChangeArrowheads="1"/>
          </p:cNvPicPr>
          <p:nvPr/>
        </p:nvPicPr>
        <p:blipFill>
          <a:blip r:embed="rId4" cstate="print"/>
          <a:srcRect/>
          <a:stretch>
            <a:fillRect/>
          </a:stretch>
        </p:blipFill>
        <p:spPr bwMode="auto">
          <a:xfrm>
            <a:off x="6724033" y="666075"/>
            <a:ext cx="2232025" cy="304800"/>
          </a:xfrm>
          <a:prstGeom prst="rect">
            <a:avLst/>
          </a:prstGeom>
          <a:noFill/>
          <a:ln w="9525" algn="ctr">
            <a:noFill/>
            <a:miter lim="800000"/>
            <a:headEnd/>
            <a:tailEnd/>
          </a:ln>
        </p:spPr>
      </p:pic>
      <p:grpSp>
        <p:nvGrpSpPr>
          <p:cNvPr id="2" name="38 Grupo"/>
          <p:cNvGrpSpPr>
            <a:grpSpLocks/>
          </p:cNvGrpSpPr>
          <p:nvPr/>
        </p:nvGrpSpPr>
        <p:grpSpPr bwMode="auto">
          <a:xfrm>
            <a:off x="96871" y="650957"/>
            <a:ext cx="2184400" cy="323850"/>
            <a:chOff x="3491880" y="987574"/>
            <a:chExt cx="2184400" cy="432048"/>
          </a:xfrm>
        </p:grpSpPr>
        <p:pic>
          <p:nvPicPr>
            <p:cNvPr id="7" name="Picture 3"/>
            <p:cNvPicPr>
              <a:picLocks noChangeAspect="1" noChangeArrowheads="1"/>
            </p:cNvPicPr>
            <p:nvPr/>
          </p:nvPicPr>
          <p:blipFill>
            <a:blip r:embed="rId5" cstate="print"/>
            <a:srcRect/>
            <a:stretch>
              <a:fillRect/>
            </a:stretch>
          </p:blipFill>
          <p:spPr bwMode="auto">
            <a:xfrm>
              <a:off x="3491880" y="1012825"/>
              <a:ext cx="2184400" cy="398463"/>
            </a:xfrm>
            <a:prstGeom prst="rect">
              <a:avLst/>
            </a:prstGeom>
            <a:noFill/>
            <a:ln w="9525" algn="ctr">
              <a:noFill/>
              <a:miter lim="800000"/>
              <a:headEnd/>
              <a:tailEnd/>
            </a:ln>
          </p:spPr>
        </p:pic>
        <p:cxnSp>
          <p:nvCxnSpPr>
            <p:cNvPr id="8" name="7 Conector recto"/>
            <p:cNvCxnSpPr/>
            <p:nvPr/>
          </p:nvCxnSpPr>
          <p:spPr>
            <a:xfrm rot="5400000">
              <a:off x="4639519" y="1203598"/>
              <a:ext cx="43204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9" name="Picture 2" descr="http://www.martinezestudio.com/wp-content/gallery/marca-idae/idae12.jpg"/>
          <p:cNvPicPr>
            <a:picLocks noChangeAspect="1" noChangeArrowheads="1"/>
          </p:cNvPicPr>
          <p:nvPr/>
        </p:nvPicPr>
        <p:blipFill>
          <a:blip r:embed="rId6" cstate="screen"/>
          <a:srcRect/>
          <a:stretch>
            <a:fillRect/>
          </a:stretch>
        </p:blipFill>
        <p:spPr bwMode="auto">
          <a:xfrm>
            <a:off x="5467995" y="658932"/>
            <a:ext cx="1191476" cy="294059"/>
          </a:xfrm>
          <a:prstGeom prst="rect">
            <a:avLst/>
          </a:prstGeom>
          <a:noFill/>
        </p:spPr>
      </p:pic>
      <p:pic>
        <p:nvPicPr>
          <p:cNvPr id="10" name="Picture 2" descr="http://senasaaldia.senasa.es/wiki/docs/7_LOG_SEN.jpg">
            <a:hlinkClick r:id="rId7"/>
          </p:cNvPr>
          <p:cNvPicPr>
            <a:picLocks noChangeAspect="1" noChangeArrowheads="1"/>
          </p:cNvPicPr>
          <p:nvPr/>
        </p:nvPicPr>
        <p:blipFill>
          <a:blip r:embed="rId8" cstate="screen"/>
          <a:srcRect/>
          <a:stretch>
            <a:fillRect/>
          </a:stretch>
        </p:blipFill>
        <p:spPr bwMode="auto">
          <a:xfrm>
            <a:off x="2051720" y="2935129"/>
            <a:ext cx="2045062" cy="338699"/>
          </a:xfrm>
          <a:prstGeom prst="rect">
            <a:avLst/>
          </a:prstGeom>
          <a:noFill/>
        </p:spPr>
      </p:pic>
      <p:pic>
        <p:nvPicPr>
          <p:cNvPr id="11" name="Picture 4" descr="http://farm3.static.flickr.com/2513/3929346743_7a010d71f6_o.jpg"/>
          <p:cNvPicPr>
            <a:picLocks noChangeAspect="1" noChangeArrowheads="1"/>
          </p:cNvPicPr>
          <p:nvPr/>
        </p:nvPicPr>
        <p:blipFill>
          <a:blip r:embed="rId9" cstate="screen"/>
          <a:srcRect/>
          <a:stretch>
            <a:fillRect/>
          </a:stretch>
        </p:blipFill>
        <p:spPr bwMode="auto">
          <a:xfrm>
            <a:off x="2310276" y="650956"/>
            <a:ext cx="826702" cy="324036"/>
          </a:xfrm>
          <a:prstGeom prst="rect">
            <a:avLst/>
          </a:prstGeom>
          <a:noFill/>
        </p:spPr>
      </p:pic>
      <p:grpSp>
        <p:nvGrpSpPr>
          <p:cNvPr id="3" name="11 Grupo"/>
          <p:cNvGrpSpPr/>
          <p:nvPr/>
        </p:nvGrpSpPr>
        <p:grpSpPr>
          <a:xfrm>
            <a:off x="2579486" y="3489852"/>
            <a:ext cx="6024963" cy="1566174"/>
            <a:chOff x="2579483" y="2946631"/>
            <a:chExt cx="6385005" cy="2196888"/>
          </a:xfrm>
        </p:grpSpPr>
        <p:pic>
          <p:nvPicPr>
            <p:cNvPr id="13" name="Picture 8"/>
            <p:cNvPicPr>
              <a:picLocks noChangeAspect="1" noChangeArrowheads="1"/>
            </p:cNvPicPr>
            <p:nvPr/>
          </p:nvPicPr>
          <p:blipFill>
            <a:blip r:embed="rId10" cstate="screen"/>
            <a:srcRect/>
            <a:stretch>
              <a:fillRect/>
            </a:stretch>
          </p:blipFill>
          <p:spPr bwMode="auto">
            <a:xfrm>
              <a:off x="2713544" y="3971396"/>
              <a:ext cx="702980" cy="547082"/>
            </a:xfrm>
            <a:prstGeom prst="rect">
              <a:avLst/>
            </a:prstGeom>
            <a:noFill/>
            <a:ln w="9525" algn="ctr">
              <a:noFill/>
              <a:miter lim="800000"/>
              <a:headEnd/>
              <a:tailEnd/>
            </a:ln>
          </p:spPr>
        </p:pic>
        <p:pic>
          <p:nvPicPr>
            <p:cNvPr id="14" name="Picture 4"/>
            <p:cNvPicPr>
              <a:picLocks noChangeAspect="1" noChangeArrowheads="1"/>
            </p:cNvPicPr>
            <p:nvPr/>
          </p:nvPicPr>
          <p:blipFill>
            <a:blip r:embed="rId11" cstate="screen"/>
            <a:srcRect/>
            <a:stretch>
              <a:fillRect/>
            </a:stretch>
          </p:blipFill>
          <p:spPr bwMode="auto">
            <a:xfrm>
              <a:off x="4117954" y="3474919"/>
              <a:ext cx="721561" cy="465020"/>
            </a:xfrm>
            <a:prstGeom prst="rect">
              <a:avLst/>
            </a:prstGeom>
            <a:noFill/>
            <a:ln w="9525">
              <a:noFill/>
              <a:miter lim="800000"/>
              <a:headEnd/>
              <a:tailEnd/>
            </a:ln>
          </p:spPr>
        </p:pic>
        <p:pic>
          <p:nvPicPr>
            <p:cNvPr id="15" name="Picture 5"/>
            <p:cNvPicPr>
              <a:picLocks noChangeAspect="1" noChangeArrowheads="1"/>
            </p:cNvPicPr>
            <p:nvPr/>
          </p:nvPicPr>
          <p:blipFill>
            <a:blip r:embed="rId12" cstate="screen"/>
            <a:srcRect/>
            <a:stretch>
              <a:fillRect/>
            </a:stretch>
          </p:blipFill>
          <p:spPr bwMode="auto">
            <a:xfrm>
              <a:off x="6155666" y="4094490"/>
              <a:ext cx="1514348" cy="344662"/>
            </a:xfrm>
            <a:prstGeom prst="rect">
              <a:avLst/>
            </a:prstGeom>
            <a:noFill/>
            <a:ln w="9525">
              <a:noFill/>
              <a:miter lim="800000"/>
              <a:headEnd/>
              <a:tailEnd/>
            </a:ln>
          </p:spPr>
        </p:pic>
        <p:pic>
          <p:nvPicPr>
            <p:cNvPr id="16" name="Picture 6"/>
            <p:cNvPicPr>
              <a:picLocks noChangeAspect="1" noChangeArrowheads="1"/>
            </p:cNvPicPr>
            <p:nvPr/>
          </p:nvPicPr>
          <p:blipFill>
            <a:blip r:embed="rId13" cstate="screen"/>
            <a:srcRect/>
            <a:stretch>
              <a:fillRect/>
            </a:stretch>
          </p:blipFill>
          <p:spPr bwMode="auto">
            <a:xfrm>
              <a:off x="4751256" y="4157404"/>
              <a:ext cx="1235634" cy="274908"/>
            </a:xfrm>
            <a:prstGeom prst="rect">
              <a:avLst/>
            </a:prstGeom>
            <a:noFill/>
            <a:ln w="9525">
              <a:noFill/>
              <a:miter lim="800000"/>
              <a:headEnd/>
              <a:tailEnd/>
            </a:ln>
          </p:spPr>
        </p:pic>
        <p:pic>
          <p:nvPicPr>
            <p:cNvPr id="17" name="Picture 13" descr="http://www.obsa.org/GaleriaFotos/logo_OBSA_rgb.jpg"/>
            <p:cNvPicPr>
              <a:picLocks noChangeAspect="1" noChangeArrowheads="1"/>
            </p:cNvPicPr>
            <p:nvPr/>
          </p:nvPicPr>
          <p:blipFill>
            <a:blip r:embed="rId14" cstate="screen"/>
            <a:srcRect/>
            <a:stretch>
              <a:fillRect/>
            </a:stretch>
          </p:blipFill>
          <p:spPr bwMode="auto">
            <a:xfrm>
              <a:off x="2713544" y="4590966"/>
              <a:ext cx="552783" cy="552553"/>
            </a:xfrm>
            <a:prstGeom prst="rect">
              <a:avLst/>
            </a:prstGeom>
            <a:noFill/>
            <a:ln w="9525">
              <a:noFill/>
              <a:miter lim="800000"/>
              <a:headEnd/>
              <a:tailEnd/>
            </a:ln>
          </p:spPr>
        </p:pic>
        <p:pic>
          <p:nvPicPr>
            <p:cNvPr id="18" name="Picture 3"/>
            <p:cNvPicPr>
              <a:picLocks noChangeAspect="1" noChangeArrowheads="1"/>
            </p:cNvPicPr>
            <p:nvPr/>
          </p:nvPicPr>
          <p:blipFill>
            <a:blip r:embed="rId15" cstate="screen"/>
            <a:srcRect/>
            <a:stretch>
              <a:fillRect/>
            </a:stretch>
          </p:blipFill>
          <p:spPr bwMode="auto">
            <a:xfrm>
              <a:off x="3613171" y="4664822"/>
              <a:ext cx="1697061" cy="411680"/>
            </a:xfrm>
            <a:prstGeom prst="rect">
              <a:avLst/>
            </a:prstGeom>
            <a:noFill/>
            <a:ln w="9525" algn="ctr">
              <a:noFill/>
              <a:miter lim="800000"/>
              <a:headEnd/>
              <a:tailEnd/>
            </a:ln>
          </p:spPr>
        </p:pic>
        <p:pic>
          <p:nvPicPr>
            <p:cNvPr id="19" name="Picture 5"/>
            <p:cNvPicPr>
              <a:picLocks noChangeAspect="1" noChangeArrowheads="1"/>
            </p:cNvPicPr>
            <p:nvPr/>
          </p:nvPicPr>
          <p:blipFill>
            <a:blip r:embed="rId16" cstate="screen"/>
            <a:srcRect/>
            <a:stretch>
              <a:fillRect/>
            </a:stretch>
          </p:blipFill>
          <p:spPr bwMode="auto">
            <a:xfrm>
              <a:off x="7700983" y="4157404"/>
              <a:ext cx="1263505" cy="177802"/>
            </a:xfrm>
            <a:prstGeom prst="rect">
              <a:avLst/>
            </a:prstGeom>
            <a:noFill/>
            <a:ln w="9525" algn="ctr">
              <a:noFill/>
              <a:miter lim="800000"/>
              <a:headEnd/>
              <a:tailEnd/>
            </a:ln>
          </p:spPr>
        </p:pic>
        <p:pic>
          <p:nvPicPr>
            <p:cNvPr id="20" name="Picture 2"/>
            <p:cNvPicPr>
              <a:picLocks noChangeAspect="1" noChangeArrowheads="1"/>
            </p:cNvPicPr>
            <p:nvPr/>
          </p:nvPicPr>
          <p:blipFill>
            <a:blip r:embed="rId17" cstate="screen"/>
            <a:srcRect/>
            <a:stretch>
              <a:fillRect/>
            </a:stretch>
          </p:blipFill>
          <p:spPr bwMode="auto">
            <a:xfrm>
              <a:off x="3486201" y="3993279"/>
              <a:ext cx="1238731" cy="473226"/>
            </a:xfrm>
            <a:prstGeom prst="rect">
              <a:avLst/>
            </a:prstGeom>
            <a:noFill/>
            <a:ln w="9525">
              <a:noFill/>
              <a:miter lim="800000"/>
              <a:headEnd/>
              <a:tailEnd/>
            </a:ln>
          </p:spPr>
        </p:pic>
        <p:pic>
          <p:nvPicPr>
            <p:cNvPr id="21" name="Picture 21"/>
            <p:cNvPicPr>
              <a:picLocks noChangeAspect="1" noChangeArrowheads="1"/>
            </p:cNvPicPr>
            <p:nvPr/>
          </p:nvPicPr>
          <p:blipFill>
            <a:blip r:embed="rId18" cstate="screen"/>
            <a:srcRect/>
            <a:stretch>
              <a:fillRect/>
            </a:stretch>
          </p:blipFill>
          <p:spPr bwMode="auto">
            <a:xfrm>
              <a:off x="5593593" y="4590966"/>
              <a:ext cx="1503509" cy="521096"/>
            </a:xfrm>
            <a:prstGeom prst="rect">
              <a:avLst/>
            </a:prstGeom>
            <a:noFill/>
            <a:ln w="9525" algn="ctr">
              <a:noFill/>
              <a:miter lim="800000"/>
              <a:headEnd/>
              <a:tailEnd/>
            </a:ln>
          </p:spPr>
        </p:pic>
        <p:pic>
          <p:nvPicPr>
            <p:cNvPr id="22" name="Picture 5"/>
            <p:cNvPicPr>
              <a:picLocks noChangeAspect="1" noChangeArrowheads="1"/>
            </p:cNvPicPr>
            <p:nvPr/>
          </p:nvPicPr>
          <p:blipFill>
            <a:blip r:embed="rId12" cstate="screen"/>
            <a:srcRect/>
            <a:stretch>
              <a:fillRect/>
            </a:stretch>
          </p:blipFill>
          <p:spPr bwMode="auto">
            <a:xfrm>
              <a:off x="7208587" y="4652513"/>
              <a:ext cx="1514348" cy="344662"/>
            </a:xfrm>
            <a:prstGeom prst="rect">
              <a:avLst/>
            </a:prstGeom>
            <a:noFill/>
            <a:ln w="9525">
              <a:noFill/>
              <a:miter lim="800000"/>
              <a:headEnd/>
              <a:tailEnd/>
            </a:ln>
          </p:spPr>
        </p:pic>
        <p:pic>
          <p:nvPicPr>
            <p:cNvPr id="23" name="Picture 25" descr="http://www.kuratasystems.com/index_archivos/image001.jpg">
              <a:hlinkClick r:id="rId19"/>
            </p:cNvPr>
            <p:cNvPicPr>
              <a:picLocks noChangeAspect="1" noChangeArrowheads="1"/>
            </p:cNvPicPr>
            <p:nvPr/>
          </p:nvPicPr>
          <p:blipFill>
            <a:blip r:embed="rId20" cstate="screen"/>
            <a:srcRect/>
            <a:stretch>
              <a:fillRect/>
            </a:stretch>
          </p:blipFill>
          <p:spPr bwMode="auto">
            <a:xfrm>
              <a:off x="5172424" y="3412004"/>
              <a:ext cx="490847" cy="514257"/>
            </a:xfrm>
            <a:prstGeom prst="rect">
              <a:avLst/>
            </a:prstGeom>
            <a:noFill/>
            <a:ln w="9525">
              <a:noFill/>
              <a:miter lim="800000"/>
              <a:headEnd/>
              <a:tailEnd/>
            </a:ln>
          </p:spPr>
        </p:pic>
        <p:pic>
          <p:nvPicPr>
            <p:cNvPr id="24" name="Picture 26" descr="http://www.camelinacompany.es/wp-content/uploads/2011/03/logo-beta-e1301568646420.jpg"/>
            <p:cNvPicPr>
              <a:picLocks noChangeAspect="1" noChangeArrowheads="1"/>
            </p:cNvPicPr>
            <p:nvPr/>
          </p:nvPicPr>
          <p:blipFill>
            <a:blip r:embed="rId21" cstate="screen"/>
            <a:srcRect/>
            <a:stretch>
              <a:fillRect/>
            </a:stretch>
          </p:blipFill>
          <p:spPr bwMode="auto">
            <a:xfrm>
              <a:off x="2579483" y="2949721"/>
              <a:ext cx="906720" cy="462284"/>
            </a:xfrm>
            <a:prstGeom prst="rect">
              <a:avLst/>
            </a:prstGeom>
            <a:noFill/>
            <a:ln w="9525">
              <a:noFill/>
              <a:miter lim="800000"/>
              <a:headEnd/>
              <a:tailEnd/>
            </a:ln>
          </p:spPr>
        </p:pic>
        <p:pic>
          <p:nvPicPr>
            <p:cNvPr id="25" name="24 Imagen" descr="C:\Documents and Settings\igomez\Configuración local\Archivos temporales de Internet\Content.Word\Tecbio 1.gif"/>
            <p:cNvPicPr>
              <a:picLocks noChangeAspect="1" noChangeArrowheads="1"/>
            </p:cNvPicPr>
            <p:nvPr/>
          </p:nvPicPr>
          <p:blipFill>
            <a:blip r:embed="rId22" cstate="screen"/>
            <a:srcRect/>
            <a:stretch>
              <a:fillRect/>
            </a:stretch>
          </p:blipFill>
          <p:spPr bwMode="auto">
            <a:xfrm>
              <a:off x="3697493" y="2949720"/>
              <a:ext cx="1119503" cy="339191"/>
            </a:xfrm>
            <a:prstGeom prst="rect">
              <a:avLst/>
            </a:prstGeom>
            <a:noFill/>
            <a:ln w="76200">
              <a:solidFill>
                <a:schemeClr val="bg1"/>
              </a:solidFill>
              <a:miter lim="800000"/>
              <a:headEnd/>
              <a:tailEnd/>
            </a:ln>
          </p:spPr>
        </p:pic>
        <p:pic>
          <p:nvPicPr>
            <p:cNvPr id="26" name="Picture 24" descr="\\Ficheros\dst$\AREAS\AD\Proyectos en Curso\11.MAM.NO.AIRB.098.AP BIOFUELS\EN_EJECUCION\WP_SECRETARIA\M4_Quality\DESIGN\TECNALIA LOGO COLOR 300.jpg"/>
            <p:cNvPicPr>
              <a:picLocks noChangeAspect="1" noChangeArrowheads="1"/>
            </p:cNvPicPr>
            <p:nvPr/>
          </p:nvPicPr>
          <p:blipFill>
            <a:blip r:embed="rId23" cstate="screen"/>
            <a:srcRect/>
            <a:stretch>
              <a:fillRect/>
            </a:stretch>
          </p:blipFill>
          <p:spPr bwMode="auto">
            <a:xfrm>
              <a:off x="7045610" y="2946631"/>
              <a:ext cx="1634971" cy="361438"/>
            </a:xfrm>
            <a:prstGeom prst="rect">
              <a:avLst/>
            </a:prstGeom>
            <a:noFill/>
            <a:ln w="9525">
              <a:noFill/>
              <a:miter lim="800000"/>
              <a:headEnd/>
              <a:tailEnd/>
            </a:ln>
          </p:spPr>
        </p:pic>
        <p:pic>
          <p:nvPicPr>
            <p:cNvPr id="27" name="Picture 9" descr="UOP_Honeywell_Lrg"/>
            <p:cNvPicPr>
              <a:picLocks noChangeAspect="1" noChangeArrowheads="1"/>
            </p:cNvPicPr>
            <p:nvPr/>
          </p:nvPicPr>
          <p:blipFill>
            <a:blip r:embed="rId24" cstate="screen"/>
            <a:srcRect/>
            <a:stretch>
              <a:fillRect/>
            </a:stretch>
          </p:blipFill>
          <p:spPr bwMode="auto">
            <a:xfrm>
              <a:off x="2591219" y="3536466"/>
              <a:ext cx="1176794" cy="417150"/>
            </a:xfrm>
            <a:prstGeom prst="rect">
              <a:avLst/>
            </a:prstGeom>
            <a:noFill/>
            <a:ln w="9525">
              <a:noFill/>
              <a:miter lim="800000"/>
              <a:headEnd/>
              <a:tailEnd/>
            </a:ln>
          </p:spPr>
        </p:pic>
        <p:pic>
          <p:nvPicPr>
            <p:cNvPr id="28" name="27 Imagen" descr="cepsa.gif"/>
            <p:cNvPicPr>
              <a:picLocks noChangeAspect="1"/>
            </p:cNvPicPr>
            <p:nvPr/>
          </p:nvPicPr>
          <p:blipFill>
            <a:blip r:embed="rId25" cstate="screen"/>
            <a:stretch>
              <a:fillRect/>
            </a:stretch>
          </p:blipFill>
          <p:spPr>
            <a:xfrm>
              <a:off x="7574567" y="3491865"/>
              <a:ext cx="1285086" cy="381072"/>
            </a:xfrm>
            <a:prstGeom prst="rect">
              <a:avLst/>
            </a:prstGeom>
          </p:spPr>
        </p:pic>
        <p:pic>
          <p:nvPicPr>
            <p:cNvPr id="29" name="Picture 7" descr="http://www.algaenergy.es/templates/algaenergy/images/logo.png">
              <a:hlinkClick r:id="rId26"/>
            </p:cNvPr>
            <p:cNvPicPr>
              <a:picLocks noChangeAspect="1" noChangeArrowheads="1"/>
            </p:cNvPicPr>
            <p:nvPr/>
          </p:nvPicPr>
          <p:blipFill>
            <a:blip r:embed="rId27" cstate="screen"/>
            <a:srcRect/>
            <a:stretch>
              <a:fillRect/>
            </a:stretch>
          </p:blipFill>
          <p:spPr bwMode="auto">
            <a:xfrm>
              <a:off x="5061451" y="2997599"/>
              <a:ext cx="1766298" cy="241674"/>
            </a:xfrm>
            <a:prstGeom prst="rect">
              <a:avLst/>
            </a:prstGeom>
            <a:noFill/>
          </p:spPr>
        </p:pic>
        <p:grpSp>
          <p:nvGrpSpPr>
            <p:cNvPr id="6" name="45 Grupo"/>
            <p:cNvGrpSpPr/>
            <p:nvPr/>
          </p:nvGrpSpPr>
          <p:grpSpPr>
            <a:xfrm>
              <a:off x="6001749" y="3558802"/>
              <a:ext cx="1387278" cy="400551"/>
              <a:chOff x="5620841" y="3212976"/>
              <a:chExt cx="1615455" cy="444366"/>
            </a:xfrm>
          </p:grpSpPr>
          <p:pic>
            <p:nvPicPr>
              <p:cNvPr id="31" name="Picture 9" descr="logo"/>
              <p:cNvPicPr>
                <a:picLocks noChangeAspect="1" noChangeArrowheads="1"/>
              </p:cNvPicPr>
              <p:nvPr/>
            </p:nvPicPr>
            <p:blipFill>
              <a:blip r:embed="rId28" cstate="screen"/>
              <a:srcRect/>
              <a:stretch>
                <a:fillRect/>
              </a:stretch>
            </p:blipFill>
            <p:spPr bwMode="auto">
              <a:xfrm>
                <a:off x="5620841" y="3212976"/>
                <a:ext cx="1295524" cy="237303"/>
              </a:xfrm>
              <a:prstGeom prst="rect">
                <a:avLst/>
              </a:prstGeom>
              <a:noFill/>
            </p:spPr>
          </p:pic>
          <p:pic>
            <p:nvPicPr>
              <p:cNvPr id="32" name="Picture 9" descr="logo"/>
              <p:cNvPicPr>
                <a:picLocks noChangeAspect="1" noChangeArrowheads="1"/>
              </p:cNvPicPr>
              <p:nvPr/>
            </p:nvPicPr>
            <p:blipFill>
              <a:blip r:embed="rId29" cstate="screen"/>
              <a:srcRect/>
              <a:stretch>
                <a:fillRect/>
              </a:stretch>
            </p:blipFill>
            <p:spPr bwMode="auto">
              <a:xfrm>
                <a:off x="5663678" y="3420039"/>
                <a:ext cx="1572618" cy="237303"/>
              </a:xfrm>
              <a:prstGeom prst="rect">
                <a:avLst/>
              </a:prstGeom>
              <a:noFill/>
            </p:spPr>
          </p:pic>
        </p:grpSp>
      </p:grpSp>
      <p:sp>
        <p:nvSpPr>
          <p:cNvPr id="33" name="19 CuadroTexto"/>
          <p:cNvSpPr txBox="1">
            <a:spLocks noChangeArrowheads="1"/>
          </p:cNvSpPr>
          <p:nvPr/>
        </p:nvSpPr>
        <p:spPr bwMode="auto">
          <a:xfrm>
            <a:off x="-36512" y="3444266"/>
            <a:ext cx="2002791" cy="369332"/>
          </a:xfrm>
          <a:prstGeom prst="rect">
            <a:avLst/>
          </a:prstGeom>
          <a:noFill/>
          <a:ln w="9525">
            <a:noFill/>
            <a:miter lim="800000"/>
            <a:headEnd/>
            <a:tailEnd/>
          </a:ln>
        </p:spPr>
        <p:txBody>
          <a:bodyPr wrap="square">
            <a:spAutoFit/>
          </a:bodyPr>
          <a:lstStyle/>
          <a:p>
            <a:pPr algn="r" defTabSz="914400" fontAlgn="base">
              <a:spcBef>
                <a:spcPct val="0"/>
              </a:spcBef>
              <a:spcAft>
                <a:spcPct val="0"/>
              </a:spcAft>
            </a:pPr>
            <a:r>
              <a:rPr lang="es-ES" b="1" dirty="0">
                <a:solidFill>
                  <a:srgbClr val="006600"/>
                </a:solidFill>
                <a:latin typeface="Candara" pitchFamily="34" charset="0"/>
              </a:rPr>
              <a:t>FEEDSTOCK</a:t>
            </a:r>
          </a:p>
        </p:txBody>
      </p:sp>
      <p:sp>
        <p:nvSpPr>
          <p:cNvPr id="34" name="19 CuadroTexto"/>
          <p:cNvSpPr txBox="1">
            <a:spLocks noChangeArrowheads="1"/>
          </p:cNvSpPr>
          <p:nvPr/>
        </p:nvSpPr>
        <p:spPr bwMode="auto">
          <a:xfrm>
            <a:off x="48931" y="3870157"/>
            <a:ext cx="1930783" cy="369332"/>
          </a:xfrm>
          <a:prstGeom prst="rect">
            <a:avLst/>
          </a:prstGeom>
          <a:noFill/>
          <a:ln w="9525">
            <a:noFill/>
            <a:miter lim="800000"/>
            <a:headEnd/>
            <a:tailEnd/>
          </a:ln>
        </p:spPr>
        <p:txBody>
          <a:bodyPr wrap="square">
            <a:spAutoFit/>
          </a:bodyPr>
          <a:lstStyle/>
          <a:p>
            <a:pPr algn="r" defTabSz="914400" fontAlgn="base">
              <a:spcBef>
                <a:spcPct val="0"/>
              </a:spcBef>
              <a:spcAft>
                <a:spcPct val="0"/>
              </a:spcAft>
            </a:pPr>
            <a:r>
              <a:rPr lang="es-ES" b="1" dirty="0">
                <a:solidFill>
                  <a:srgbClr val="C00000"/>
                </a:solidFill>
                <a:latin typeface="Candara" pitchFamily="34" charset="0"/>
              </a:rPr>
              <a:t>TECHNOLOGY</a:t>
            </a:r>
          </a:p>
        </p:txBody>
      </p:sp>
      <p:sp>
        <p:nvSpPr>
          <p:cNvPr id="35" name="19 CuadroTexto"/>
          <p:cNvSpPr txBox="1">
            <a:spLocks noChangeArrowheads="1"/>
          </p:cNvSpPr>
          <p:nvPr/>
        </p:nvSpPr>
        <p:spPr bwMode="auto">
          <a:xfrm>
            <a:off x="70195" y="4302205"/>
            <a:ext cx="1872208" cy="369332"/>
          </a:xfrm>
          <a:prstGeom prst="rect">
            <a:avLst/>
          </a:prstGeom>
          <a:noFill/>
          <a:ln w="9525">
            <a:noFill/>
            <a:miter lim="800000"/>
            <a:headEnd/>
            <a:tailEnd/>
          </a:ln>
        </p:spPr>
        <p:txBody>
          <a:bodyPr wrap="square">
            <a:spAutoFit/>
          </a:bodyPr>
          <a:lstStyle/>
          <a:p>
            <a:pPr algn="r" defTabSz="914400" fontAlgn="base">
              <a:spcBef>
                <a:spcPct val="0"/>
              </a:spcBef>
              <a:spcAft>
                <a:spcPct val="0"/>
              </a:spcAft>
            </a:pPr>
            <a:r>
              <a:rPr lang="es-ES" b="1" dirty="0">
                <a:solidFill>
                  <a:srgbClr val="31859C"/>
                </a:solidFill>
                <a:latin typeface="Candara" pitchFamily="34" charset="0"/>
              </a:rPr>
              <a:t>LOGISTICS/USE</a:t>
            </a:r>
          </a:p>
        </p:txBody>
      </p:sp>
      <p:sp>
        <p:nvSpPr>
          <p:cNvPr id="36" name="19 CuadroTexto"/>
          <p:cNvSpPr txBox="1">
            <a:spLocks noChangeArrowheads="1"/>
          </p:cNvSpPr>
          <p:nvPr/>
        </p:nvSpPr>
        <p:spPr bwMode="auto">
          <a:xfrm>
            <a:off x="48932" y="4734253"/>
            <a:ext cx="1930783" cy="369332"/>
          </a:xfrm>
          <a:prstGeom prst="rect">
            <a:avLst/>
          </a:prstGeom>
          <a:noFill/>
          <a:ln w="9525">
            <a:noFill/>
            <a:miter lim="800000"/>
            <a:headEnd/>
            <a:tailEnd/>
          </a:ln>
        </p:spPr>
        <p:txBody>
          <a:bodyPr wrap="square">
            <a:spAutoFit/>
          </a:bodyPr>
          <a:lstStyle/>
          <a:p>
            <a:pPr algn="r" defTabSz="914400" fontAlgn="base">
              <a:spcBef>
                <a:spcPct val="0"/>
              </a:spcBef>
              <a:spcAft>
                <a:spcPct val="0"/>
              </a:spcAft>
            </a:pPr>
            <a:r>
              <a:rPr lang="es-ES" b="1" dirty="0" smtClean="0">
                <a:solidFill>
                  <a:srgbClr val="92D050"/>
                </a:solidFill>
                <a:latin typeface="Candara" pitchFamily="34" charset="0"/>
              </a:rPr>
              <a:t>SUSTAINABILITY</a:t>
            </a:r>
            <a:endParaRPr lang="es-ES" b="1" dirty="0">
              <a:solidFill>
                <a:srgbClr val="92D050"/>
              </a:solidFill>
              <a:latin typeface="Candara" pitchFamily="34" charset="0"/>
            </a:endParaRPr>
          </a:p>
        </p:txBody>
      </p:sp>
      <p:sp>
        <p:nvSpPr>
          <p:cNvPr id="37" name="36 Flecha derecha"/>
          <p:cNvSpPr/>
          <p:nvPr/>
        </p:nvSpPr>
        <p:spPr>
          <a:xfrm>
            <a:off x="2123728" y="3505241"/>
            <a:ext cx="288032" cy="16201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a:solidFill>
                <a:prstClr val="white"/>
              </a:solidFill>
            </a:endParaRPr>
          </a:p>
        </p:txBody>
      </p:sp>
      <p:sp>
        <p:nvSpPr>
          <p:cNvPr id="38" name="37 Flecha derecha"/>
          <p:cNvSpPr/>
          <p:nvPr/>
        </p:nvSpPr>
        <p:spPr>
          <a:xfrm>
            <a:off x="2123728" y="3929315"/>
            <a:ext cx="288032" cy="16201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a:solidFill>
                <a:prstClr val="white"/>
              </a:solidFill>
            </a:endParaRPr>
          </a:p>
        </p:txBody>
      </p:sp>
      <p:sp>
        <p:nvSpPr>
          <p:cNvPr id="39" name="38 Flecha derecha"/>
          <p:cNvSpPr/>
          <p:nvPr/>
        </p:nvSpPr>
        <p:spPr>
          <a:xfrm>
            <a:off x="2123728" y="4345413"/>
            <a:ext cx="288032" cy="16201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a:solidFill>
                <a:prstClr val="white"/>
              </a:solidFill>
            </a:endParaRPr>
          </a:p>
        </p:txBody>
      </p:sp>
      <p:sp>
        <p:nvSpPr>
          <p:cNvPr id="40" name="39 Flecha derecha"/>
          <p:cNvSpPr/>
          <p:nvPr/>
        </p:nvSpPr>
        <p:spPr>
          <a:xfrm>
            <a:off x="2123728" y="4801385"/>
            <a:ext cx="288032" cy="16201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s-ES">
              <a:solidFill>
                <a:prstClr val="white"/>
              </a:solidFill>
            </a:endParaRPr>
          </a:p>
        </p:txBody>
      </p:sp>
      <p:pic>
        <p:nvPicPr>
          <p:cNvPr id="41" name="Picture 4" descr="http://t3.gstatic.com/images?q=tbn:ANd9GcSmPtch1Yu71_mMDxfo3XHmgbDIzBUtX-3Au-cpi8282dRM01wRHg"/>
          <p:cNvPicPr>
            <a:picLocks noChangeAspect="1" noChangeArrowheads="1"/>
          </p:cNvPicPr>
          <p:nvPr/>
        </p:nvPicPr>
        <p:blipFill>
          <a:blip r:embed="rId30" cstate="screen"/>
          <a:srcRect/>
          <a:stretch>
            <a:fillRect/>
          </a:stretch>
        </p:blipFill>
        <p:spPr bwMode="auto">
          <a:xfrm>
            <a:off x="93956" y="2929862"/>
            <a:ext cx="1909531" cy="343966"/>
          </a:xfrm>
          <a:prstGeom prst="rect">
            <a:avLst/>
          </a:prstGeom>
          <a:noFill/>
        </p:spPr>
      </p:pic>
      <p:sp>
        <p:nvSpPr>
          <p:cNvPr id="42" name="19 CuadroTexto"/>
          <p:cNvSpPr txBox="1">
            <a:spLocks noChangeArrowheads="1"/>
          </p:cNvSpPr>
          <p:nvPr/>
        </p:nvSpPr>
        <p:spPr bwMode="auto">
          <a:xfrm>
            <a:off x="35497" y="2659781"/>
            <a:ext cx="1619529" cy="338554"/>
          </a:xfrm>
          <a:prstGeom prst="rect">
            <a:avLst/>
          </a:prstGeom>
          <a:noFill/>
          <a:ln w="9525">
            <a:noFill/>
            <a:miter lim="800000"/>
            <a:headEnd/>
            <a:tailEnd/>
          </a:ln>
        </p:spPr>
        <p:txBody>
          <a:bodyPr wrap="square">
            <a:spAutoFit/>
          </a:bodyPr>
          <a:lstStyle/>
          <a:p>
            <a:pPr defTabSz="914400" fontAlgn="base">
              <a:spcBef>
                <a:spcPct val="0"/>
              </a:spcBef>
              <a:spcAft>
                <a:spcPct val="0"/>
              </a:spcAft>
            </a:pPr>
            <a:r>
              <a:rPr lang="en-US" sz="1600" b="1" dirty="0">
                <a:solidFill>
                  <a:srgbClr val="31859C"/>
                </a:solidFill>
                <a:latin typeface="Candara" pitchFamily="34" charset="0"/>
              </a:rPr>
              <a:t>Supported </a:t>
            </a:r>
            <a:r>
              <a:rPr lang="en-US" sz="1600" b="1" dirty="0" smtClean="0">
                <a:solidFill>
                  <a:srgbClr val="31859C"/>
                </a:solidFill>
                <a:latin typeface="Candara" pitchFamily="34" charset="0"/>
              </a:rPr>
              <a:t>by</a:t>
            </a:r>
            <a:endParaRPr lang="en-US" sz="1600" b="1" dirty="0">
              <a:solidFill>
                <a:srgbClr val="31859C"/>
              </a:solidFill>
              <a:latin typeface="Candara" pitchFamily="34" charset="0"/>
            </a:endParaRPr>
          </a:p>
        </p:txBody>
      </p:sp>
      <p:sp>
        <p:nvSpPr>
          <p:cNvPr id="44" name="43 Rectángulo"/>
          <p:cNvSpPr/>
          <p:nvPr/>
        </p:nvSpPr>
        <p:spPr>
          <a:xfrm>
            <a:off x="2085631" y="2665099"/>
            <a:ext cx="1512169" cy="20955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a:lstStyle/>
          <a:p>
            <a:pPr defTabSz="914400">
              <a:defRPr/>
            </a:pPr>
            <a:r>
              <a:rPr lang="en-US" sz="1600" b="1" dirty="0">
                <a:solidFill>
                  <a:srgbClr val="31859C"/>
                </a:solidFill>
                <a:latin typeface="Candara" pitchFamily="34" charset="0"/>
              </a:rPr>
              <a:t>Management</a:t>
            </a:r>
          </a:p>
          <a:p>
            <a:pPr algn="ctr" defTabSz="914400">
              <a:defRPr/>
            </a:pPr>
            <a:endParaRPr lang="en-US" dirty="0">
              <a:solidFill>
                <a:prstClr val="white"/>
              </a:solidFill>
            </a:endParaRPr>
          </a:p>
        </p:txBody>
      </p:sp>
      <p:grpSp>
        <p:nvGrpSpPr>
          <p:cNvPr id="12" name="45 Grupo"/>
          <p:cNvGrpSpPr/>
          <p:nvPr/>
        </p:nvGrpSpPr>
        <p:grpSpPr>
          <a:xfrm>
            <a:off x="-2604" y="0"/>
            <a:ext cx="9154541" cy="632669"/>
            <a:chOff x="-2604" y="0"/>
            <a:chExt cx="9154541" cy="843558"/>
          </a:xfrm>
        </p:grpSpPr>
        <p:grpSp>
          <p:nvGrpSpPr>
            <p:cNvPr id="30" name="1 Grupo"/>
            <p:cNvGrpSpPr/>
            <p:nvPr/>
          </p:nvGrpSpPr>
          <p:grpSpPr>
            <a:xfrm>
              <a:off x="1440160" y="0"/>
              <a:ext cx="5940152" cy="843558"/>
              <a:chOff x="683568" y="843558"/>
              <a:chExt cx="7560840" cy="1152128"/>
            </a:xfrm>
          </p:grpSpPr>
          <p:pic>
            <p:nvPicPr>
              <p:cNvPr id="50" name="Picture 3"/>
              <p:cNvPicPr>
                <a:picLocks noChangeAspect="1" noChangeArrowheads="1"/>
              </p:cNvPicPr>
              <p:nvPr/>
            </p:nvPicPr>
            <p:blipFill>
              <a:blip r:embed="rId31" cstate="print"/>
              <a:srcRect/>
              <a:stretch>
                <a:fillRect/>
              </a:stretch>
            </p:blipFill>
            <p:spPr bwMode="auto">
              <a:xfrm>
                <a:off x="683568" y="843558"/>
                <a:ext cx="7560840" cy="1152128"/>
              </a:xfrm>
              <a:prstGeom prst="rect">
                <a:avLst/>
              </a:prstGeom>
              <a:noFill/>
              <a:ln w="9525">
                <a:noFill/>
                <a:miter lim="800000"/>
                <a:headEnd/>
                <a:tailEnd/>
              </a:ln>
            </p:spPr>
          </p:pic>
          <p:pic>
            <p:nvPicPr>
              <p:cNvPr id="51" name="Picture 3"/>
              <p:cNvPicPr>
                <a:picLocks noChangeAspect="1" noChangeArrowheads="1"/>
              </p:cNvPicPr>
              <p:nvPr/>
            </p:nvPicPr>
            <p:blipFill>
              <a:blip r:embed="rId32" cstate="screen"/>
              <a:srcRect/>
              <a:stretch>
                <a:fillRect/>
              </a:stretch>
            </p:blipFill>
            <p:spPr bwMode="auto">
              <a:xfrm>
                <a:off x="5580112" y="1635646"/>
                <a:ext cx="2664296" cy="360040"/>
              </a:xfrm>
              <a:prstGeom prst="rect">
                <a:avLst/>
              </a:prstGeom>
              <a:noFill/>
              <a:ln w="9525">
                <a:noFill/>
                <a:miter lim="800000"/>
                <a:headEnd/>
                <a:tailEnd/>
              </a:ln>
            </p:spPr>
          </p:pic>
        </p:grpSp>
        <p:pic>
          <p:nvPicPr>
            <p:cNvPr id="48" name="Picture 3"/>
            <p:cNvPicPr>
              <a:picLocks noChangeAspect="1" noChangeArrowheads="1"/>
            </p:cNvPicPr>
            <p:nvPr/>
          </p:nvPicPr>
          <p:blipFill>
            <a:blip r:embed="rId33" cstate="print"/>
            <a:srcRect/>
            <a:stretch>
              <a:fillRect/>
            </a:stretch>
          </p:blipFill>
          <p:spPr bwMode="auto">
            <a:xfrm>
              <a:off x="6631657" y="0"/>
              <a:ext cx="2520280" cy="843558"/>
            </a:xfrm>
            <a:prstGeom prst="rect">
              <a:avLst/>
            </a:prstGeom>
            <a:noFill/>
            <a:ln w="9525">
              <a:noFill/>
              <a:miter lim="800000"/>
              <a:headEnd/>
              <a:tailEnd/>
            </a:ln>
          </p:spPr>
        </p:pic>
        <p:pic>
          <p:nvPicPr>
            <p:cNvPr id="49" name="Picture 3"/>
            <p:cNvPicPr>
              <a:picLocks noChangeAspect="1" noChangeArrowheads="1"/>
            </p:cNvPicPr>
            <p:nvPr/>
          </p:nvPicPr>
          <p:blipFill>
            <a:blip r:embed="rId33" cstate="print"/>
            <a:srcRect/>
            <a:stretch>
              <a:fillRect/>
            </a:stretch>
          </p:blipFill>
          <p:spPr bwMode="auto">
            <a:xfrm>
              <a:off x="-2604" y="0"/>
              <a:ext cx="2520280" cy="843558"/>
            </a:xfrm>
            <a:prstGeom prst="rect">
              <a:avLst/>
            </a:prstGeom>
            <a:noFill/>
            <a:ln w="9525">
              <a:noFill/>
              <a:miter lim="800000"/>
              <a:headEnd/>
              <a:tailEnd/>
            </a:ln>
          </p:spPr>
        </p:pic>
      </p:grpSp>
      <p:sp>
        <p:nvSpPr>
          <p:cNvPr id="52" name="1 Título"/>
          <p:cNvSpPr txBox="1">
            <a:spLocks/>
          </p:cNvSpPr>
          <p:nvPr/>
        </p:nvSpPr>
        <p:spPr>
          <a:xfrm>
            <a:off x="3384376" y="1005576"/>
            <a:ext cx="1331640" cy="378042"/>
          </a:xfrm>
          <a:prstGeom prst="rect">
            <a:avLst/>
          </a:prstGeom>
        </p:spPr>
        <p:txBody>
          <a:bodyPr/>
          <a:lstStyle/>
          <a:p>
            <a:pPr defTabSz="914400" fontAlgn="base">
              <a:spcBef>
                <a:spcPct val="0"/>
              </a:spcBef>
              <a:spcAft>
                <a:spcPct val="0"/>
              </a:spcAft>
              <a:defRPr/>
            </a:pPr>
            <a:r>
              <a:rPr lang="en-US" sz="2000" b="1" dirty="0" smtClean="0">
                <a:solidFill>
                  <a:srgbClr val="4BACC6">
                    <a:lumMod val="75000"/>
                  </a:srgbClr>
                </a:solidFill>
              </a:rPr>
              <a:t>2011</a:t>
            </a:r>
            <a:endParaRPr lang="en-US" sz="3400" b="1" dirty="0" smtClean="0">
              <a:solidFill>
                <a:srgbClr val="4BACC6">
                  <a:lumMod val="75000"/>
                </a:srgbClr>
              </a:solidFill>
            </a:endParaRPr>
          </a:p>
        </p:txBody>
      </p:sp>
      <p:pic>
        <p:nvPicPr>
          <p:cNvPr id="54" name="Picture 2" descr="Foto del acto de firma del &#10;     convenio, celebrado en la sede de AESA, a la que asistieron representantes de  las instituciones &#10;     públicas como de las empresas colaboradoras del sector."/>
          <p:cNvPicPr>
            <a:picLocks noChangeAspect="1" noChangeArrowheads="1"/>
          </p:cNvPicPr>
          <p:nvPr/>
        </p:nvPicPr>
        <p:blipFill>
          <a:blip r:embed="rId34" cstate="print"/>
          <a:stretch>
            <a:fillRect/>
          </a:stretch>
        </p:blipFill>
        <p:spPr bwMode="auto">
          <a:xfrm>
            <a:off x="107504" y="1005576"/>
            <a:ext cx="3244996" cy="1620180"/>
          </a:xfrm>
          <a:prstGeom prst="rect">
            <a:avLst/>
          </a:prstGeom>
          <a:noFill/>
          <a:ln>
            <a:noFill/>
          </a:ln>
        </p:spPr>
      </p:pic>
      <p:sp>
        <p:nvSpPr>
          <p:cNvPr id="56" name="55 Rectángulo"/>
          <p:cNvSpPr/>
          <p:nvPr/>
        </p:nvSpPr>
        <p:spPr>
          <a:xfrm>
            <a:off x="6707470" y="2085696"/>
            <a:ext cx="2436531" cy="1231106"/>
          </a:xfrm>
          <a:prstGeom prst="rect">
            <a:avLst/>
          </a:prstGeom>
        </p:spPr>
        <p:txBody>
          <a:bodyPr wrap="square">
            <a:spAutoFit/>
          </a:bodyPr>
          <a:lstStyle/>
          <a:p>
            <a:pPr defTabSz="914400">
              <a:defRPr/>
            </a:pPr>
            <a:r>
              <a:rPr lang="es-ES" sz="2000" b="1" dirty="0" smtClean="0">
                <a:solidFill>
                  <a:srgbClr val="31859C"/>
                </a:solidFill>
              </a:rPr>
              <a:t>2012 US – SPAIN </a:t>
            </a:r>
          </a:p>
          <a:p>
            <a:pPr defTabSz="914400">
              <a:defRPr/>
            </a:pPr>
            <a:r>
              <a:rPr lang="es-ES" b="1" dirty="0" err="1" smtClean="0">
                <a:solidFill>
                  <a:srgbClr val="31859C"/>
                </a:solidFill>
              </a:rPr>
              <a:t>Declaration</a:t>
            </a:r>
            <a:r>
              <a:rPr lang="es-ES" b="1" dirty="0" smtClean="0">
                <a:solidFill>
                  <a:srgbClr val="31859C"/>
                </a:solidFill>
              </a:rPr>
              <a:t> of </a:t>
            </a:r>
            <a:r>
              <a:rPr lang="es-ES" b="1" dirty="0" err="1" smtClean="0">
                <a:solidFill>
                  <a:srgbClr val="31859C"/>
                </a:solidFill>
              </a:rPr>
              <a:t>Cooperation</a:t>
            </a:r>
            <a:endParaRPr lang="es-ES" b="1" dirty="0" smtClean="0">
              <a:solidFill>
                <a:srgbClr val="31859C"/>
              </a:solidFill>
            </a:endParaRPr>
          </a:p>
          <a:p>
            <a:pPr defTabSz="914400">
              <a:defRPr/>
            </a:pPr>
            <a:r>
              <a:rPr lang="es-ES" b="1" dirty="0" err="1" smtClean="0">
                <a:solidFill>
                  <a:srgbClr val="31859C"/>
                </a:solidFill>
              </a:rPr>
              <a:t>on</a:t>
            </a:r>
            <a:r>
              <a:rPr lang="es-ES" b="1" dirty="0" smtClean="0">
                <a:solidFill>
                  <a:srgbClr val="31859C"/>
                </a:solidFill>
              </a:rPr>
              <a:t> Aviation </a:t>
            </a:r>
            <a:r>
              <a:rPr lang="es-ES" b="1" dirty="0" err="1" smtClean="0">
                <a:solidFill>
                  <a:srgbClr val="31859C"/>
                </a:solidFill>
              </a:rPr>
              <a:t>Alt</a:t>
            </a:r>
            <a:r>
              <a:rPr lang="es-ES" b="1" dirty="0" smtClean="0">
                <a:solidFill>
                  <a:srgbClr val="31859C"/>
                </a:solidFill>
              </a:rPr>
              <a:t>. Fuels</a:t>
            </a:r>
          </a:p>
        </p:txBody>
      </p:sp>
      <p:pic>
        <p:nvPicPr>
          <p:cNvPr id="58" name="Picture 6" descr="Acuerdo España-EEUU (Foto Fomento)"/>
          <p:cNvPicPr>
            <a:picLocks noChangeAspect="1" noChangeArrowheads="1"/>
          </p:cNvPicPr>
          <p:nvPr/>
        </p:nvPicPr>
        <p:blipFill>
          <a:blip r:embed="rId35" cstate="screen"/>
          <a:srcRect/>
          <a:stretch>
            <a:fillRect/>
          </a:stretch>
        </p:blipFill>
        <p:spPr bwMode="auto">
          <a:xfrm>
            <a:off x="4211961" y="1545636"/>
            <a:ext cx="2392881" cy="1368456"/>
          </a:xfrm>
          <a:prstGeom prst="rect">
            <a:avLst/>
          </a:prstGeom>
          <a:noFill/>
        </p:spPr>
      </p:pic>
      <p:pic>
        <p:nvPicPr>
          <p:cNvPr id="57" name="Picture 4" descr="http://t0.gstatic.com/images?q=tbn:ANd9GcSgQDfXn0uLvUAW_9CsGwtkO8Fb7vk1mA-T4qAtjifdRMUJ0CGd"/>
          <p:cNvPicPr>
            <a:picLocks noChangeAspect="1" noChangeArrowheads="1"/>
          </p:cNvPicPr>
          <p:nvPr/>
        </p:nvPicPr>
        <p:blipFill>
          <a:blip r:embed="rId36" cstate="screen"/>
          <a:srcRect/>
          <a:stretch>
            <a:fillRect/>
          </a:stretch>
        </p:blipFill>
        <p:spPr bwMode="auto">
          <a:xfrm>
            <a:off x="6840761" y="1491630"/>
            <a:ext cx="728721" cy="519419"/>
          </a:xfrm>
          <a:prstGeom prst="rect">
            <a:avLst/>
          </a:prstGeom>
          <a:noFill/>
        </p:spPr>
      </p:pic>
      <p:pic>
        <p:nvPicPr>
          <p:cNvPr id="55" name="Picture 3" descr="http://t0.gstatic.com/images?q=tbn:ANd9GcQEjoVKk7BVaR_Ng6tEmxd8mfNVtpDMShHdUN-vefcLO5mraz2_oA"/>
          <p:cNvPicPr>
            <a:picLocks noChangeAspect="1" noChangeArrowheads="1"/>
          </p:cNvPicPr>
          <p:nvPr/>
        </p:nvPicPr>
        <p:blipFill>
          <a:blip r:embed="rId37" cstate="screen"/>
          <a:srcRect r="14323" b="37167"/>
          <a:stretch>
            <a:fillRect/>
          </a:stretch>
        </p:blipFill>
        <p:spPr bwMode="auto">
          <a:xfrm>
            <a:off x="7776864" y="1491630"/>
            <a:ext cx="810538" cy="594066"/>
          </a:xfrm>
          <a:prstGeom prst="rect">
            <a:avLst/>
          </a:prstGeom>
          <a:noFill/>
        </p:spPr>
      </p:pic>
    </p:spTree>
    <p:extLst>
      <p:ext uri="{BB962C8B-B14F-4D97-AF65-F5344CB8AC3E}">
        <p14:creationId xmlns:p14="http://schemas.microsoft.com/office/powerpoint/2010/main" val="425357331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bout the ICAO Assembly</a:t>
            </a:r>
            <a:endParaRPr lang="en-GB" dirty="0"/>
          </a:p>
        </p:txBody>
      </p:sp>
      <p:sp>
        <p:nvSpPr>
          <p:cNvPr id="3" name="Content Placeholder 2"/>
          <p:cNvSpPr>
            <a:spLocks noGrp="1"/>
          </p:cNvSpPr>
          <p:nvPr>
            <p:ph idx="1"/>
          </p:nvPr>
        </p:nvSpPr>
        <p:spPr/>
        <p:txBody>
          <a:bodyPr>
            <a:normAutofit fontScale="92500" lnSpcReduction="20000"/>
          </a:bodyPr>
          <a:lstStyle/>
          <a:p>
            <a:r>
              <a:rPr lang="en-US" dirty="0" smtClean="0"/>
              <a:t>The </a:t>
            </a:r>
            <a:r>
              <a:rPr lang="en-US" dirty="0"/>
              <a:t>ICAO Assembly is the Organization’s sovereign body. </a:t>
            </a:r>
            <a:endParaRPr lang="en-US" dirty="0" smtClean="0"/>
          </a:p>
          <a:p>
            <a:r>
              <a:rPr lang="en-US" dirty="0" smtClean="0"/>
              <a:t>It </a:t>
            </a:r>
            <a:r>
              <a:rPr lang="en-US" dirty="0"/>
              <a:t>meets at least once every three years and is convened by ICAO’s governing body, the Council. </a:t>
            </a:r>
          </a:p>
          <a:p>
            <a:r>
              <a:rPr lang="en-US" dirty="0"/>
              <a:t>ICAO's 191 Member States and a large number of international organizations are invited to the Assembly, which establishes the worldwide policy of the Organization for the upcoming triennium.</a:t>
            </a:r>
          </a:p>
          <a:p>
            <a:endParaRPr lang="en-GB" dirty="0"/>
          </a:p>
        </p:txBody>
      </p:sp>
    </p:spTree>
    <p:extLst>
      <p:ext uri="{BB962C8B-B14F-4D97-AF65-F5344CB8AC3E}">
        <p14:creationId xmlns:p14="http://schemas.microsoft.com/office/powerpoint/2010/main" val="107306943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C:\Documents and Settings\pgonzalez\Escritorio\SENASA\dsa\itaka\imagenes web\img_bgheader.jpg"/>
          <p:cNvPicPr>
            <a:picLocks noChangeAspect="1" noChangeArrowheads="1"/>
          </p:cNvPicPr>
          <p:nvPr/>
        </p:nvPicPr>
        <p:blipFill>
          <a:blip r:embed="rId3" cstate="print"/>
          <a:srcRect/>
          <a:stretch>
            <a:fillRect/>
          </a:stretch>
        </p:blipFill>
        <p:spPr bwMode="auto">
          <a:xfrm>
            <a:off x="1043608" y="2031690"/>
            <a:ext cx="7848872" cy="810090"/>
          </a:xfrm>
          <a:prstGeom prst="rect">
            <a:avLst/>
          </a:prstGeom>
          <a:noFill/>
        </p:spPr>
      </p:pic>
      <p:sp>
        <p:nvSpPr>
          <p:cNvPr id="3074" name="1 Título"/>
          <p:cNvSpPr>
            <a:spLocks noGrp="1"/>
          </p:cNvSpPr>
          <p:nvPr>
            <p:ph type="title"/>
          </p:nvPr>
        </p:nvSpPr>
        <p:spPr>
          <a:xfrm>
            <a:off x="323528" y="1283117"/>
            <a:ext cx="7272808" cy="479425"/>
          </a:xfrm>
        </p:spPr>
        <p:txBody>
          <a:bodyPr/>
          <a:lstStyle/>
          <a:p>
            <a:pPr algn="l" eaLnBrk="1" hangingPunct="1">
              <a:defRPr/>
            </a:pPr>
            <a:r>
              <a:rPr lang="en-US" b="1" dirty="0" smtClean="0">
                <a:solidFill>
                  <a:schemeClr val="accent5">
                    <a:lumMod val="75000"/>
                  </a:schemeClr>
                </a:solidFill>
              </a:rPr>
              <a:t>Roadmap</a:t>
            </a:r>
          </a:p>
        </p:txBody>
      </p:sp>
      <p:sp>
        <p:nvSpPr>
          <p:cNvPr id="8" name="Text Box 7"/>
          <p:cNvSpPr txBox="1">
            <a:spLocks noChangeArrowheads="1"/>
          </p:cNvSpPr>
          <p:nvPr/>
        </p:nvSpPr>
        <p:spPr bwMode="auto">
          <a:xfrm>
            <a:off x="2917778" y="1333760"/>
            <a:ext cx="1634671" cy="523220"/>
          </a:xfrm>
          <a:prstGeom prst="rect">
            <a:avLst/>
          </a:prstGeom>
          <a:solidFill>
            <a:schemeClr val="bg1"/>
          </a:solidFill>
          <a:ln w="9525" algn="ctr">
            <a:solidFill>
              <a:schemeClr val="accent5">
                <a:lumMod val="75000"/>
              </a:schemeClr>
            </a:solidFill>
            <a:miter lim="800000"/>
            <a:headEnd/>
            <a:tailEnd/>
          </a:ln>
          <a:effectLst>
            <a:outerShdw dist="35921" dir="2700000" algn="ctr" rotWithShape="0">
              <a:schemeClr val="accent5">
                <a:lumMod val="60000"/>
                <a:lumOff val="40000"/>
                <a:alpha val="50000"/>
              </a:schemeClr>
            </a:outerShdw>
          </a:effectLst>
        </p:spPr>
        <p:txBody>
          <a:bodyPr wrap="square">
            <a:spAutoFit/>
          </a:bodyPr>
          <a:lstStyle/>
          <a:p>
            <a:pPr algn="ctr" defTabSz="914400">
              <a:defRPr/>
            </a:pPr>
            <a:r>
              <a:rPr lang="es-ES" sz="1400" b="1" dirty="0" smtClean="0">
                <a:solidFill>
                  <a:srgbClr val="4BACC6">
                    <a:lumMod val="75000"/>
                  </a:srgbClr>
                </a:solidFill>
                <a:latin typeface="Candara" pitchFamily="34" charset="0"/>
              </a:rPr>
              <a:t>FEASIBILITY </a:t>
            </a:r>
            <a:r>
              <a:rPr lang="es-ES" sz="1400" b="1" dirty="0">
                <a:solidFill>
                  <a:srgbClr val="4BACC6">
                    <a:lumMod val="75000"/>
                  </a:srgbClr>
                </a:solidFill>
                <a:latin typeface="Candara" pitchFamily="34" charset="0"/>
              </a:rPr>
              <a:t>STUDY</a:t>
            </a:r>
          </a:p>
        </p:txBody>
      </p:sp>
      <p:sp>
        <p:nvSpPr>
          <p:cNvPr id="17" name="Text Box 7"/>
          <p:cNvSpPr txBox="1">
            <a:spLocks noChangeArrowheads="1"/>
          </p:cNvSpPr>
          <p:nvPr/>
        </p:nvSpPr>
        <p:spPr bwMode="auto">
          <a:xfrm>
            <a:off x="4932040" y="1330493"/>
            <a:ext cx="1635044" cy="523220"/>
          </a:xfrm>
          <a:prstGeom prst="rect">
            <a:avLst/>
          </a:prstGeom>
          <a:solidFill>
            <a:schemeClr val="bg1"/>
          </a:solidFill>
          <a:ln w="9525" algn="ctr">
            <a:solidFill>
              <a:schemeClr val="accent5">
                <a:lumMod val="75000"/>
              </a:schemeClr>
            </a:solidFill>
            <a:miter lim="800000"/>
            <a:headEnd/>
            <a:tailEnd/>
          </a:ln>
          <a:effectLst>
            <a:outerShdw dist="35921" dir="2700000" algn="ctr" rotWithShape="0">
              <a:schemeClr val="accent5">
                <a:lumMod val="60000"/>
                <a:lumOff val="40000"/>
                <a:alpha val="50000"/>
              </a:schemeClr>
            </a:outerShdw>
          </a:effectLst>
        </p:spPr>
        <p:txBody>
          <a:bodyPr wrap="square">
            <a:spAutoFit/>
          </a:bodyPr>
          <a:lstStyle/>
          <a:p>
            <a:pPr algn="ctr" defTabSz="914400">
              <a:defRPr/>
            </a:pPr>
            <a:r>
              <a:rPr lang="es-ES" sz="1400" b="1" dirty="0" smtClean="0">
                <a:solidFill>
                  <a:srgbClr val="4BACC6">
                    <a:lumMod val="75000"/>
                  </a:srgbClr>
                </a:solidFill>
                <a:latin typeface="Candara" pitchFamily="34" charset="0"/>
              </a:rPr>
              <a:t>DEMONSTRATION</a:t>
            </a:r>
          </a:p>
          <a:p>
            <a:pPr algn="ctr" defTabSz="914400">
              <a:defRPr/>
            </a:pPr>
            <a:r>
              <a:rPr lang="es-ES" sz="1400" b="1" dirty="0" smtClean="0">
                <a:solidFill>
                  <a:srgbClr val="4BACC6">
                    <a:lumMod val="75000"/>
                  </a:srgbClr>
                </a:solidFill>
                <a:latin typeface="Candara" pitchFamily="34" charset="0"/>
              </a:rPr>
              <a:t>PHASE</a:t>
            </a:r>
            <a:endParaRPr lang="es-ES" sz="1400" b="1" dirty="0">
              <a:solidFill>
                <a:srgbClr val="4BACC6">
                  <a:lumMod val="75000"/>
                </a:srgbClr>
              </a:solidFill>
              <a:latin typeface="Candara" pitchFamily="34" charset="0"/>
            </a:endParaRPr>
          </a:p>
        </p:txBody>
      </p:sp>
      <p:sp>
        <p:nvSpPr>
          <p:cNvPr id="18" name="Text Box 7"/>
          <p:cNvSpPr txBox="1">
            <a:spLocks noChangeArrowheads="1"/>
          </p:cNvSpPr>
          <p:nvPr/>
        </p:nvSpPr>
        <p:spPr bwMode="auto">
          <a:xfrm>
            <a:off x="7020273" y="1330493"/>
            <a:ext cx="1636631" cy="523220"/>
          </a:xfrm>
          <a:prstGeom prst="rect">
            <a:avLst/>
          </a:prstGeom>
          <a:solidFill>
            <a:schemeClr val="bg1"/>
          </a:solidFill>
          <a:ln w="9525" algn="ctr">
            <a:solidFill>
              <a:schemeClr val="accent5">
                <a:lumMod val="75000"/>
              </a:schemeClr>
            </a:solidFill>
            <a:miter lim="800000"/>
            <a:headEnd/>
            <a:tailEnd/>
          </a:ln>
          <a:effectLst>
            <a:outerShdw dist="35921" dir="2700000" algn="ctr" rotWithShape="0">
              <a:schemeClr val="accent5">
                <a:lumMod val="60000"/>
                <a:lumOff val="40000"/>
                <a:alpha val="50000"/>
              </a:schemeClr>
            </a:outerShdw>
          </a:effectLst>
        </p:spPr>
        <p:txBody>
          <a:bodyPr wrap="square">
            <a:spAutoFit/>
          </a:bodyPr>
          <a:lstStyle/>
          <a:p>
            <a:pPr algn="ctr" defTabSz="914400">
              <a:defRPr/>
            </a:pPr>
            <a:r>
              <a:rPr lang="es-ES" sz="1400" b="1" dirty="0" smtClean="0">
                <a:solidFill>
                  <a:srgbClr val="4BACC6">
                    <a:lumMod val="75000"/>
                  </a:srgbClr>
                </a:solidFill>
                <a:latin typeface="Candara" pitchFamily="34" charset="0"/>
              </a:rPr>
              <a:t>IMPLEMENTATION</a:t>
            </a:r>
          </a:p>
          <a:p>
            <a:pPr algn="ctr" defTabSz="914400">
              <a:defRPr/>
            </a:pPr>
            <a:r>
              <a:rPr lang="es-ES" sz="1400" b="1" dirty="0" smtClean="0">
                <a:solidFill>
                  <a:srgbClr val="4BACC6">
                    <a:lumMod val="75000"/>
                  </a:srgbClr>
                </a:solidFill>
                <a:latin typeface="Candara" pitchFamily="34" charset="0"/>
              </a:rPr>
              <a:t>PHASE</a:t>
            </a:r>
            <a:endParaRPr lang="es-ES" sz="1400" b="1" dirty="0">
              <a:solidFill>
                <a:srgbClr val="4BACC6">
                  <a:lumMod val="75000"/>
                </a:srgbClr>
              </a:solidFill>
              <a:latin typeface="Candara" pitchFamily="34" charset="0"/>
            </a:endParaRPr>
          </a:p>
        </p:txBody>
      </p:sp>
      <p:cxnSp>
        <p:nvCxnSpPr>
          <p:cNvPr id="3079" name="25 Conector recto de flecha"/>
          <p:cNvCxnSpPr>
            <a:cxnSpLocks noChangeShapeType="1"/>
          </p:cNvCxnSpPr>
          <p:nvPr/>
        </p:nvCxnSpPr>
        <p:spPr bwMode="auto">
          <a:xfrm flipV="1">
            <a:off x="1186954" y="2464364"/>
            <a:ext cx="7129462" cy="2322513"/>
          </a:xfrm>
          <a:prstGeom prst="straightConnector1">
            <a:avLst/>
          </a:prstGeom>
          <a:noFill/>
          <a:ln w="9525" algn="ctr">
            <a:noFill/>
            <a:round/>
            <a:headEnd/>
            <a:tailEnd type="arrow" w="med" len="med"/>
          </a:ln>
        </p:spPr>
      </p:cxnSp>
      <p:cxnSp>
        <p:nvCxnSpPr>
          <p:cNvPr id="3081" name="27 Conector recto de flecha"/>
          <p:cNvCxnSpPr>
            <a:cxnSpLocks noChangeShapeType="1"/>
          </p:cNvCxnSpPr>
          <p:nvPr/>
        </p:nvCxnSpPr>
        <p:spPr bwMode="auto">
          <a:xfrm>
            <a:off x="395536" y="1870553"/>
            <a:ext cx="8280920" cy="0"/>
          </a:xfrm>
          <a:prstGeom prst="straightConnector1">
            <a:avLst/>
          </a:prstGeom>
          <a:noFill/>
          <a:ln w="50800" algn="ctr">
            <a:solidFill>
              <a:schemeClr val="accent5">
                <a:lumMod val="75000"/>
              </a:schemeClr>
            </a:solidFill>
            <a:round/>
            <a:headEnd/>
            <a:tailEnd type="arrow" w="med" len="med"/>
          </a:ln>
        </p:spPr>
      </p:cxnSp>
      <p:pic>
        <p:nvPicPr>
          <p:cNvPr id="15" name="Picture 4"/>
          <p:cNvPicPr>
            <a:picLocks noChangeAspect="1" noChangeArrowheads="1"/>
          </p:cNvPicPr>
          <p:nvPr/>
        </p:nvPicPr>
        <p:blipFill>
          <a:blip r:embed="rId4" cstate="print"/>
          <a:srcRect/>
          <a:stretch>
            <a:fillRect/>
          </a:stretch>
        </p:blipFill>
        <p:spPr bwMode="auto">
          <a:xfrm>
            <a:off x="3162945" y="666907"/>
            <a:ext cx="2305050" cy="298847"/>
          </a:xfrm>
          <a:prstGeom prst="rect">
            <a:avLst/>
          </a:prstGeom>
          <a:noFill/>
          <a:ln w="9525" algn="ctr">
            <a:noFill/>
            <a:miter lim="800000"/>
            <a:headEnd/>
            <a:tailEnd/>
          </a:ln>
        </p:spPr>
      </p:pic>
      <p:pic>
        <p:nvPicPr>
          <p:cNvPr id="16" name="Picture 5"/>
          <p:cNvPicPr>
            <a:picLocks noChangeAspect="1" noChangeArrowheads="1"/>
          </p:cNvPicPr>
          <p:nvPr/>
        </p:nvPicPr>
        <p:blipFill>
          <a:blip r:embed="rId5" cstate="print"/>
          <a:srcRect/>
          <a:stretch>
            <a:fillRect/>
          </a:stretch>
        </p:blipFill>
        <p:spPr bwMode="auto">
          <a:xfrm>
            <a:off x="6724033" y="666075"/>
            <a:ext cx="2232025" cy="304800"/>
          </a:xfrm>
          <a:prstGeom prst="rect">
            <a:avLst/>
          </a:prstGeom>
          <a:noFill/>
          <a:ln w="9525" algn="ctr">
            <a:noFill/>
            <a:miter lim="800000"/>
            <a:headEnd/>
            <a:tailEnd/>
          </a:ln>
        </p:spPr>
      </p:pic>
      <p:grpSp>
        <p:nvGrpSpPr>
          <p:cNvPr id="2" name="38 Grupo"/>
          <p:cNvGrpSpPr>
            <a:grpSpLocks/>
          </p:cNvGrpSpPr>
          <p:nvPr/>
        </p:nvGrpSpPr>
        <p:grpSpPr bwMode="auto">
          <a:xfrm>
            <a:off x="96871" y="650957"/>
            <a:ext cx="2184400" cy="323850"/>
            <a:chOff x="3491880" y="987574"/>
            <a:chExt cx="2184400" cy="432048"/>
          </a:xfrm>
        </p:grpSpPr>
        <p:pic>
          <p:nvPicPr>
            <p:cNvPr id="20" name="Picture 3"/>
            <p:cNvPicPr>
              <a:picLocks noChangeAspect="1" noChangeArrowheads="1"/>
            </p:cNvPicPr>
            <p:nvPr/>
          </p:nvPicPr>
          <p:blipFill>
            <a:blip r:embed="rId6" cstate="print"/>
            <a:srcRect/>
            <a:stretch>
              <a:fillRect/>
            </a:stretch>
          </p:blipFill>
          <p:spPr bwMode="auto">
            <a:xfrm>
              <a:off x="3491880" y="1012825"/>
              <a:ext cx="2184400" cy="398463"/>
            </a:xfrm>
            <a:prstGeom prst="rect">
              <a:avLst/>
            </a:prstGeom>
            <a:noFill/>
            <a:ln w="9525" algn="ctr">
              <a:noFill/>
              <a:miter lim="800000"/>
              <a:headEnd/>
              <a:tailEnd/>
            </a:ln>
          </p:spPr>
        </p:pic>
        <p:cxnSp>
          <p:nvCxnSpPr>
            <p:cNvPr id="21" name="20 Conector recto"/>
            <p:cNvCxnSpPr/>
            <p:nvPr/>
          </p:nvCxnSpPr>
          <p:spPr>
            <a:xfrm rot="5400000">
              <a:off x="4639519" y="1203598"/>
              <a:ext cx="43204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2" name="Picture 2" descr="http://www.martinezestudio.com/wp-content/gallery/marca-idae/idae12.jpg"/>
          <p:cNvPicPr>
            <a:picLocks noChangeAspect="1" noChangeArrowheads="1"/>
          </p:cNvPicPr>
          <p:nvPr/>
        </p:nvPicPr>
        <p:blipFill>
          <a:blip r:embed="rId7" cstate="screen"/>
          <a:srcRect/>
          <a:stretch>
            <a:fillRect/>
          </a:stretch>
        </p:blipFill>
        <p:spPr bwMode="auto">
          <a:xfrm>
            <a:off x="5467995" y="658932"/>
            <a:ext cx="1191476" cy="294059"/>
          </a:xfrm>
          <a:prstGeom prst="rect">
            <a:avLst/>
          </a:prstGeom>
          <a:noFill/>
        </p:spPr>
      </p:pic>
      <p:pic>
        <p:nvPicPr>
          <p:cNvPr id="23" name="Picture 4" descr="http://farm3.static.flickr.com/2513/3929346743_7a010d71f6_o.jpg"/>
          <p:cNvPicPr>
            <a:picLocks noChangeAspect="1" noChangeArrowheads="1"/>
          </p:cNvPicPr>
          <p:nvPr/>
        </p:nvPicPr>
        <p:blipFill>
          <a:blip r:embed="rId8" cstate="screen"/>
          <a:srcRect/>
          <a:stretch>
            <a:fillRect/>
          </a:stretch>
        </p:blipFill>
        <p:spPr bwMode="auto">
          <a:xfrm>
            <a:off x="2310276" y="650956"/>
            <a:ext cx="826702" cy="324036"/>
          </a:xfrm>
          <a:prstGeom prst="rect">
            <a:avLst/>
          </a:prstGeom>
          <a:noFill/>
        </p:spPr>
      </p:pic>
      <p:grpSp>
        <p:nvGrpSpPr>
          <p:cNvPr id="3" name="23 Grupo"/>
          <p:cNvGrpSpPr/>
          <p:nvPr/>
        </p:nvGrpSpPr>
        <p:grpSpPr>
          <a:xfrm>
            <a:off x="-2604" y="0"/>
            <a:ext cx="9154541" cy="632669"/>
            <a:chOff x="-2604" y="0"/>
            <a:chExt cx="9154541" cy="843558"/>
          </a:xfrm>
        </p:grpSpPr>
        <p:grpSp>
          <p:nvGrpSpPr>
            <p:cNvPr id="4" name="1 Grupo"/>
            <p:cNvGrpSpPr/>
            <p:nvPr/>
          </p:nvGrpSpPr>
          <p:grpSpPr>
            <a:xfrm>
              <a:off x="1440160" y="0"/>
              <a:ext cx="5940152" cy="843558"/>
              <a:chOff x="683568" y="843558"/>
              <a:chExt cx="7560840" cy="1152128"/>
            </a:xfrm>
          </p:grpSpPr>
          <p:pic>
            <p:nvPicPr>
              <p:cNvPr id="28" name="Picture 3"/>
              <p:cNvPicPr>
                <a:picLocks noChangeAspect="1" noChangeArrowheads="1"/>
              </p:cNvPicPr>
              <p:nvPr/>
            </p:nvPicPr>
            <p:blipFill>
              <a:blip r:embed="rId9" cstate="print"/>
              <a:srcRect/>
              <a:stretch>
                <a:fillRect/>
              </a:stretch>
            </p:blipFill>
            <p:spPr bwMode="auto">
              <a:xfrm>
                <a:off x="683568" y="843558"/>
                <a:ext cx="7560840" cy="1152128"/>
              </a:xfrm>
              <a:prstGeom prst="rect">
                <a:avLst/>
              </a:prstGeom>
              <a:noFill/>
              <a:ln w="9525">
                <a:noFill/>
                <a:miter lim="800000"/>
                <a:headEnd/>
                <a:tailEnd/>
              </a:ln>
            </p:spPr>
          </p:pic>
          <p:pic>
            <p:nvPicPr>
              <p:cNvPr id="29" name="Picture 3"/>
              <p:cNvPicPr>
                <a:picLocks noChangeAspect="1" noChangeArrowheads="1"/>
              </p:cNvPicPr>
              <p:nvPr/>
            </p:nvPicPr>
            <p:blipFill>
              <a:blip r:embed="rId10" cstate="screen"/>
              <a:srcRect/>
              <a:stretch>
                <a:fillRect/>
              </a:stretch>
            </p:blipFill>
            <p:spPr bwMode="auto">
              <a:xfrm>
                <a:off x="5580112" y="1635646"/>
                <a:ext cx="2664296" cy="360040"/>
              </a:xfrm>
              <a:prstGeom prst="rect">
                <a:avLst/>
              </a:prstGeom>
              <a:noFill/>
              <a:ln w="9525">
                <a:noFill/>
                <a:miter lim="800000"/>
                <a:headEnd/>
                <a:tailEnd/>
              </a:ln>
            </p:spPr>
          </p:pic>
        </p:grpSp>
        <p:pic>
          <p:nvPicPr>
            <p:cNvPr id="26" name="Picture 3"/>
            <p:cNvPicPr>
              <a:picLocks noChangeAspect="1" noChangeArrowheads="1"/>
            </p:cNvPicPr>
            <p:nvPr/>
          </p:nvPicPr>
          <p:blipFill>
            <a:blip r:embed="rId11" cstate="print"/>
            <a:srcRect/>
            <a:stretch>
              <a:fillRect/>
            </a:stretch>
          </p:blipFill>
          <p:spPr bwMode="auto">
            <a:xfrm>
              <a:off x="6631657" y="0"/>
              <a:ext cx="2520280" cy="843558"/>
            </a:xfrm>
            <a:prstGeom prst="rect">
              <a:avLst/>
            </a:prstGeom>
            <a:noFill/>
            <a:ln w="9525">
              <a:noFill/>
              <a:miter lim="800000"/>
              <a:headEnd/>
              <a:tailEnd/>
            </a:ln>
          </p:spPr>
        </p:pic>
        <p:pic>
          <p:nvPicPr>
            <p:cNvPr id="27" name="Picture 3"/>
            <p:cNvPicPr>
              <a:picLocks noChangeAspect="1" noChangeArrowheads="1"/>
            </p:cNvPicPr>
            <p:nvPr/>
          </p:nvPicPr>
          <p:blipFill>
            <a:blip r:embed="rId11" cstate="print"/>
            <a:srcRect/>
            <a:stretch>
              <a:fillRect/>
            </a:stretch>
          </p:blipFill>
          <p:spPr bwMode="auto">
            <a:xfrm>
              <a:off x="-2604" y="0"/>
              <a:ext cx="2520280" cy="843558"/>
            </a:xfrm>
            <a:prstGeom prst="rect">
              <a:avLst/>
            </a:prstGeom>
            <a:noFill/>
            <a:ln w="9525">
              <a:noFill/>
              <a:miter lim="800000"/>
              <a:headEnd/>
              <a:tailEnd/>
            </a:ln>
          </p:spPr>
        </p:pic>
      </p:grpSp>
      <p:sp>
        <p:nvSpPr>
          <p:cNvPr id="24" name="23 Rectángulo"/>
          <p:cNvSpPr/>
          <p:nvPr/>
        </p:nvSpPr>
        <p:spPr>
          <a:xfrm>
            <a:off x="3324736" y="1114469"/>
            <a:ext cx="939681" cy="292388"/>
          </a:xfrm>
          <a:prstGeom prst="rect">
            <a:avLst/>
          </a:prstGeom>
        </p:spPr>
        <p:txBody>
          <a:bodyPr wrap="none">
            <a:spAutoFit/>
          </a:bodyPr>
          <a:lstStyle/>
          <a:p>
            <a:pPr algn="just" defTabSz="914400" fontAlgn="base">
              <a:spcBef>
                <a:spcPct val="0"/>
              </a:spcBef>
              <a:spcAft>
                <a:spcPct val="0"/>
              </a:spcAft>
              <a:defRPr/>
            </a:pPr>
            <a:r>
              <a:rPr lang="en-US" sz="1300" b="1" dirty="0" smtClean="0">
                <a:solidFill>
                  <a:srgbClr val="4BACC6">
                    <a:lumMod val="75000"/>
                  </a:srgbClr>
                </a:solidFill>
                <a:latin typeface="Candara" pitchFamily="34" charset="0"/>
              </a:rPr>
              <a:t>2010 – 2011</a:t>
            </a:r>
            <a:endParaRPr lang="en-US" sz="1300" b="1" dirty="0">
              <a:solidFill>
                <a:srgbClr val="4BACC6">
                  <a:lumMod val="75000"/>
                </a:srgbClr>
              </a:solidFill>
              <a:latin typeface="Candara" pitchFamily="34" charset="0"/>
            </a:endParaRPr>
          </a:p>
        </p:txBody>
      </p:sp>
      <p:sp>
        <p:nvSpPr>
          <p:cNvPr id="25" name="24 Rectángulo"/>
          <p:cNvSpPr/>
          <p:nvPr/>
        </p:nvSpPr>
        <p:spPr>
          <a:xfrm>
            <a:off x="5314193" y="1113588"/>
            <a:ext cx="928459" cy="292388"/>
          </a:xfrm>
          <a:prstGeom prst="rect">
            <a:avLst/>
          </a:prstGeom>
        </p:spPr>
        <p:txBody>
          <a:bodyPr wrap="none">
            <a:spAutoFit/>
          </a:bodyPr>
          <a:lstStyle/>
          <a:p>
            <a:pPr algn="just" defTabSz="914400" fontAlgn="base">
              <a:spcBef>
                <a:spcPct val="0"/>
              </a:spcBef>
              <a:spcAft>
                <a:spcPct val="0"/>
              </a:spcAft>
              <a:defRPr/>
            </a:pPr>
            <a:r>
              <a:rPr lang="en-US" sz="1300" b="1" dirty="0" smtClean="0">
                <a:solidFill>
                  <a:srgbClr val="4BACC6">
                    <a:lumMod val="75000"/>
                  </a:srgbClr>
                </a:solidFill>
                <a:latin typeface="Candara" pitchFamily="34" charset="0"/>
              </a:rPr>
              <a:t>2011 – 2013</a:t>
            </a:r>
            <a:endParaRPr lang="en-US" sz="1300" b="1" dirty="0">
              <a:solidFill>
                <a:srgbClr val="4BACC6">
                  <a:lumMod val="75000"/>
                </a:srgbClr>
              </a:solidFill>
              <a:latin typeface="Candara" pitchFamily="34" charset="0"/>
            </a:endParaRPr>
          </a:p>
        </p:txBody>
      </p:sp>
      <p:sp>
        <p:nvSpPr>
          <p:cNvPr id="30" name="29 Rectángulo"/>
          <p:cNvSpPr/>
          <p:nvPr/>
        </p:nvSpPr>
        <p:spPr>
          <a:xfrm>
            <a:off x="7231768" y="1113588"/>
            <a:ext cx="1281120" cy="292388"/>
          </a:xfrm>
          <a:prstGeom prst="rect">
            <a:avLst/>
          </a:prstGeom>
        </p:spPr>
        <p:txBody>
          <a:bodyPr wrap="none">
            <a:spAutoFit/>
          </a:bodyPr>
          <a:lstStyle/>
          <a:p>
            <a:pPr algn="just" defTabSz="914400" fontAlgn="base">
              <a:spcBef>
                <a:spcPct val="0"/>
              </a:spcBef>
              <a:spcAft>
                <a:spcPct val="0"/>
              </a:spcAft>
              <a:defRPr/>
            </a:pPr>
            <a:r>
              <a:rPr lang="en-US" sz="1300" b="1" dirty="0" smtClean="0">
                <a:solidFill>
                  <a:srgbClr val="4BACC6">
                    <a:lumMod val="75000"/>
                  </a:srgbClr>
                </a:solidFill>
                <a:latin typeface="Candara" pitchFamily="34" charset="0"/>
              </a:rPr>
              <a:t>2014 – onwards</a:t>
            </a:r>
            <a:endParaRPr lang="en-US" sz="1300" b="1" dirty="0">
              <a:solidFill>
                <a:srgbClr val="4BACC6">
                  <a:lumMod val="75000"/>
                </a:srgbClr>
              </a:solidFill>
              <a:latin typeface="Candara" pitchFamily="34" charset="0"/>
            </a:endParaRPr>
          </a:p>
        </p:txBody>
      </p:sp>
      <p:pic>
        <p:nvPicPr>
          <p:cNvPr id="36" name="Picture 2" descr="http://manulegarreta.files.wordpress.com/2012/06/20081113143027-logo-ue1.gif"/>
          <p:cNvPicPr>
            <a:picLocks noChangeAspect="1" noChangeArrowheads="1"/>
          </p:cNvPicPr>
          <p:nvPr/>
        </p:nvPicPr>
        <p:blipFill>
          <a:blip r:embed="rId12" cstate="print"/>
          <a:srcRect/>
          <a:stretch>
            <a:fillRect/>
          </a:stretch>
        </p:blipFill>
        <p:spPr bwMode="auto">
          <a:xfrm>
            <a:off x="323528" y="2193708"/>
            <a:ext cx="1008112" cy="515512"/>
          </a:xfrm>
          <a:prstGeom prst="rect">
            <a:avLst/>
          </a:prstGeom>
          <a:noFill/>
        </p:spPr>
      </p:pic>
      <p:pic>
        <p:nvPicPr>
          <p:cNvPr id="37" name="Picture 2" descr="https://encrypted-tbn3.gstatic.com/images?q=tbn:ANd9GcRCuYXqBkrYBskv182KiEMOEVnIUWKuKLZLrZ8lNWi6tGLOTYw1wA"/>
          <p:cNvPicPr>
            <a:picLocks noChangeAspect="1" noChangeArrowheads="1"/>
          </p:cNvPicPr>
          <p:nvPr/>
        </p:nvPicPr>
        <p:blipFill>
          <a:blip r:embed="rId13" cstate="print"/>
          <a:srcRect/>
          <a:stretch>
            <a:fillRect/>
          </a:stretch>
        </p:blipFill>
        <p:spPr bwMode="auto">
          <a:xfrm>
            <a:off x="301784" y="2949793"/>
            <a:ext cx="1101865" cy="670412"/>
          </a:xfrm>
          <a:prstGeom prst="rect">
            <a:avLst/>
          </a:prstGeom>
          <a:noFill/>
        </p:spPr>
      </p:pic>
      <p:pic>
        <p:nvPicPr>
          <p:cNvPr id="38" name="Picture 2"/>
          <p:cNvPicPr>
            <a:picLocks noChangeAspect="1" noChangeArrowheads="1"/>
          </p:cNvPicPr>
          <p:nvPr/>
        </p:nvPicPr>
        <p:blipFill>
          <a:blip r:embed="rId14" cstate="print"/>
          <a:srcRect/>
          <a:stretch>
            <a:fillRect/>
          </a:stretch>
        </p:blipFill>
        <p:spPr bwMode="auto">
          <a:xfrm>
            <a:off x="3635896" y="2985732"/>
            <a:ext cx="5151566" cy="1962282"/>
          </a:xfrm>
          <a:prstGeom prst="rect">
            <a:avLst/>
          </a:prstGeom>
          <a:noFill/>
          <a:ln w="9525">
            <a:noFill/>
            <a:miter lim="800000"/>
            <a:headEnd/>
            <a:tailEnd/>
          </a:ln>
          <a:effectLst/>
        </p:spPr>
      </p:pic>
      <p:sp>
        <p:nvSpPr>
          <p:cNvPr id="40" name="39 Rectángulo"/>
          <p:cNvSpPr/>
          <p:nvPr/>
        </p:nvSpPr>
        <p:spPr>
          <a:xfrm>
            <a:off x="1558635" y="3003798"/>
            <a:ext cx="1864485" cy="1200329"/>
          </a:xfrm>
          <a:prstGeom prst="rect">
            <a:avLst/>
          </a:prstGeom>
        </p:spPr>
        <p:txBody>
          <a:bodyPr wrap="none">
            <a:spAutoFit/>
          </a:bodyPr>
          <a:lstStyle/>
          <a:p>
            <a:pPr algn="r" defTabSz="914400"/>
            <a:r>
              <a:rPr lang="en-US" sz="2400" b="1" dirty="0" smtClean="0">
                <a:solidFill>
                  <a:srgbClr val="4F81BD">
                    <a:lumMod val="50000"/>
                  </a:srgbClr>
                </a:solidFill>
              </a:rPr>
              <a:t>12 partners</a:t>
            </a:r>
          </a:p>
          <a:p>
            <a:pPr algn="r" defTabSz="914400"/>
            <a:endParaRPr lang="en-US" sz="2400" dirty="0" smtClean="0">
              <a:solidFill>
                <a:srgbClr val="4F81BD">
                  <a:lumMod val="50000"/>
                </a:srgbClr>
              </a:solidFill>
            </a:endParaRPr>
          </a:p>
          <a:p>
            <a:pPr algn="r" defTabSz="914400"/>
            <a:r>
              <a:rPr lang="en-US" sz="2400" dirty="0" smtClean="0">
                <a:solidFill>
                  <a:srgbClr val="4F81BD">
                    <a:lumMod val="50000"/>
                  </a:srgbClr>
                </a:solidFill>
              </a:rPr>
              <a:t>from </a:t>
            </a:r>
            <a:r>
              <a:rPr lang="en-US" sz="2400" b="1" dirty="0" smtClean="0">
                <a:solidFill>
                  <a:srgbClr val="4F81BD">
                    <a:lumMod val="50000"/>
                  </a:srgbClr>
                </a:solidFill>
              </a:rPr>
              <a:t>9 States</a:t>
            </a:r>
            <a:endParaRPr lang="es-ES" sz="2400" b="1" dirty="0">
              <a:solidFill>
                <a:prstClr val="black"/>
              </a:solidFill>
            </a:endParaRPr>
          </a:p>
        </p:txBody>
      </p:sp>
      <p:sp>
        <p:nvSpPr>
          <p:cNvPr id="42" name="1 Título"/>
          <p:cNvSpPr txBox="1">
            <a:spLocks/>
          </p:cNvSpPr>
          <p:nvPr/>
        </p:nvSpPr>
        <p:spPr>
          <a:xfrm>
            <a:off x="72008" y="4569972"/>
            <a:ext cx="3419872" cy="378042"/>
          </a:xfrm>
          <a:prstGeom prst="rect">
            <a:avLst/>
          </a:prstGeom>
        </p:spPr>
        <p:txBody>
          <a:bodyPr/>
          <a:lstStyle/>
          <a:p>
            <a:pPr defTabSz="914400" fontAlgn="base">
              <a:spcBef>
                <a:spcPct val="0"/>
              </a:spcBef>
              <a:spcAft>
                <a:spcPct val="0"/>
              </a:spcAft>
              <a:defRPr/>
            </a:pPr>
            <a:r>
              <a:rPr lang="en-US" sz="2800" b="1" dirty="0" smtClean="0">
                <a:solidFill>
                  <a:srgbClr val="4BACC6">
                    <a:lumMod val="75000"/>
                  </a:srgbClr>
                </a:solidFill>
              </a:rPr>
              <a:t>www.itaka-project.eu</a:t>
            </a:r>
          </a:p>
        </p:txBody>
      </p:sp>
    </p:spTree>
    <p:extLst>
      <p:ext uri="{BB962C8B-B14F-4D97-AF65-F5344CB8AC3E}">
        <p14:creationId xmlns:p14="http://schemas.microsoft.com/office/powerpoint/2010/main" val="2445286031"/>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1 Título"/>
          <p:cNvSpPr>
            <a:spLocks noGrp="1"/>
          </p:cNvSpPr>
          <p:nvPr>
            <p:ph type="title"/>
          </p:nvPr>
        </p:nvSpPr>
        <p:spPr>
          <a:xfrm>
            <a:off x="323528" y="1283117"/>
            <a:ext cx="7272808" cy="479425"/>
          </a:xfrm>
        </p:spPr>
        <p:txBody>
          <a:bodyPr/>
          <a:lstStyle/>
          <a:p>
            <a:pPr algn="l" eaLnBrk="1" hangingPunct="1">
              <a:defRPr/>
            </a:pPr>
            <a:r>
              <a:rPr lang="en-US" b="1" dirty="0" smtClean="0">
                <a:solidFill>
                  <a:schemeClr val="accent5">
                    <a:lumMod val="75000"/>
                  </a:schemeClr>
                </a:solidFill>
              </a:rPr>
              <a:t>Roadmap</a:t>
            </a:r>
          </a:p>
        </p:txBody>
      </p:sp>
      <p:sp>
        <p:nvSpPr>
          <p:cNvPr id="8" name="Text Box 7"/>
          <p:cNvSpPr txBox="1">
            <a:spLocks noChangeArrowheads="1"/>
          </p:cNvSpPr>
          <p:nvPr/>
        </p:nvSpPr>
        <p:spPr bwMode="auto">
          <a:xfrm>
            <a:off x="2917778" y="1333760"/>
            <a:ext cx="1634671" cy="523220"/>
          </a:xfrm>
          <a:prstGeom prst="rect">
            <a:avLst/>
          </a:prstGeom>
          <a:solidFill>
            <a:schemeClr val="bg1"/>
          </a:solidFill>
          <a:ln w="9525" algn="ctr">
            <a:solidFill>
              <a:schemeClr val="accent5">
                <a:lumMod val="75000"/>
              </a:schemeClr>
            </a:solidFill>
            <a:miter lim="800000"/>
            <a:headEnd/>
            <a:tailEnd/>
          </a:ln>
          <a:effectLst>
            <a:outerShdw dist="35921" dir="2700000" algn="ctr" rotWithShape="0">
              <a:schemeClr val="accent5">
                <a:lumMod val="60000"/>
                <a:lumOff val="40000"/>
                <a:alpha val="50000"/>
              </a:schemeClr>
            </a:outerShdw>
          </a:effectLst>
        </p:spPr>
        <p:txBody>
          <a:bodyPr wrap="square">
            <a:spAutoFit/>
          </a:bodyPr>
          <a:lstStyle/>
          <a:p>
            <a:pPr algn="ctr" defTabSz="914400">
              <a:defRPr/>
            </a:pPr>
            <a:r>
              <a:rPr lang="es-ES" sz="1400" b="1" dirty="0" smtClean="0">
                <a:solidFill>
                  <a:srgbClr val="4BACC6">
                    <a:lumMod val="75000"/>
                  </a:srgbClr>
                </a:solidFill>
                <a:latin typeface="Candara" pitchFamily="34" charset="0"/>
              </a:rPr>
              <a:t>FEASIBILITY </a:t>
            </a:r>
            <a:r>
              <a:rPr lang="es-ES" sz="1400" b="1" dirty="0">
                <a:solidFill>
                  <a:srgbClr val="4BACC6">
                    <a:lumMod val="75000"/>
                  </a:srgbClr>
                </a:solidFill>
                <a:latin typeface="Candara" pitchFamily="34" charset="0"/>
              </a:rPr>
              <a:t>STUDY</a:t>
            </a:r>
          </a:p>
        </p:txBody>
      </p:sp>
      <p:sp>
        <p:nvSpPr>
          <p:cNvPr id="17" name="Text Box 7"/>
          <p:cNvSpPr txBox="1">
            <a:spLocks noChangeArrowheads="1"/>
          </p:cNvSpPr>
          <p:nvPr/>
        </p:nvSpPr>
        <p:spPr bwMode="auto">
          <a:xfrm>
            <a:off x="4932040" y="1330493"/>
            <a:ext cx="1635044" cy="523220"/>
          </a:xfrm>
          <a:prstGeom prst="rect">
            <a:avLst/>
          </a:prstGeom>
          <a:solidFill>
            <a:schemeClr val="bg1"/>
          </a:solidFill>
          <a:ln w="9525" algn="ctr">
            <a:solidFill>
              <a:schemeClr val="accent5">
                <a:lumMod val="75000"/>
              </a:schemeClr>
            </a:solidFill>
            <a:miter lim="800000"/>
            <a:headEnd/>
            <a:tailEnd/>
          </a:ln>
          <a:effectLst>
            <a:outerShdw dist="35921" dir="2700000" algn="ctr" rotWithShape="0">
              <a:schemeClr val="accent5">
                <a:lumMod val="60000"/>
                <a:lumOff val="40000"/>
                <a:alpha val="50000"/>
              </a:schemeClr>
            </a:outerShdw>
          </a:effectLst>
        </p:spPr>
        <p:txBody>
          <a:bodyPr wrap="square">
            <a:spAutoFit/>
          </a:bodyPr>
          <a:lstStyle/>
          <a:p>
            <a:pPr algn="ctr" defTabSz="914400">
              <a:defRPr/>
            </a:pPr>
            <a:r>
              <a:rPr lang="es-ES" sz="1400" b="1" dirty="0" smtClean="0">
                <a:solidFill>
                  <a:srgbClr val="4BACC6">
                    <a:lumMod val="75000"/>
                  </a:srgbClr>
                </a:solidFill>
                <a:latin typeface="Candara" pitchFamily="34" charset="0"/>
              </a:rPr>
              <a:t>DEMONSTRATION</a:t>
            </a:r>
          </a:p>
          <a:p>
            <a:pPr algn="ctr" defTabSz="914400">
              <a:defRPr/>
            </a:pPr>
            <a:r>
              <a:rPr lang="es-ES" sz="1400" b="1" dirty="0" smtClean="0">
                <a:solidFill>
                  <a:srgbClr val="4BACC6">
                    <a:lumMod val="75000"/>
                  </a:srgbClr>
                </a:solidFill>
                <a:latin typeface="Candara" pitchFamily="34" charset="0"/>
              </a:rPr>
              <a:t>PHASE</a:t>
            </a:r>
            <a:endParaRPr lang="es-ES" sz="1400" b="1" dirty="0">
              <a:solidFill>
                <a:srgbClr val="4BACC6">
                  <a:lumMod val="75000"/>
                </a:srgbClr>
              </a:solidFill>
              <a:latin typeface="Candara" pitchFamily="34" charset="0"/>
            </a:endParaRPr>
          </a:p>
        </p:txBody>
      </p:sp>
      <p:sp>
        <p:nvSpPr>
          <p:cNvPr id="18" name="Text Box 7"/>
          <p:cNvSpPr txBox="1">
            <a:spLocks noChangeArrowheads="1"/>
          </p:cNvSpPr>
          <p:nvPr/>
        </p:nvSpPr>
        <p:spPr bwMode="auto">
          <a:xfrm>
            <a:off x="7020273" y="1330493"/>
            <a:ext cx="1636631" cy="523220"/>
          </a:xfrm>
          <a:prstGeom prst="rect">
            <a:avLst/>
          </a:prstGeom>
          <a:solidFill>
            <a:schemeClr val="bg1"/>
          </a:solidFill>
          <a:ln w="9525" algn="ctr">
            <a:solidFill>
              <a:schemeClr val="accent5">
                <a:lumMod val="75000"/>
              </a:schemeClr>
            </a:solidFill>
            <a:miter lim="800000"/>
            <a:headEnd/>
            <a:tailEnd/>
          </a:ln>
          <a:effectLst>
            <a:outerShdw dist="35921" dir="2700000" algn="ctr" rotWithShape="0">
              <a:schemeClr val="accent5">
                <a:lumMod val="60000"/>
                <a:lumOff val="40000"/>
                <a:alpha val="50000"/>
              </a:schemeClr>
            </a:outerShdw>
          </a:effectLst>
        </p:spPr>
        <p:txBody>
          <a:bodyPr wrap="square">
            <a:spAutoFit/>
          </a:bodyPr>
          <a:lstStyle/>
          <a:p>
            <a:pPr algn="ctr" defTabSz="914400">
              <a:defRPr/>
            </a:pPr>
            <a:r>
              <a:rPr lang="es-ES" sz="1400" b="1" dirty="0" smtClean="0">
                <a:solidFill>
                  <a:srgbClr val="4BACC6">
                    <a:lumMod val="75000"/>
                  </a:srgbClr>
                </a:solidFill>
                <a:latin typeface="Candara" pitchFamily="34" charset="0"/>
              </a:rPr>
              <a:t>IMPLEMENTATION</a:t>
            </a:r>
          </a:p>
          <a:p>
            <a:pPr algn="ctr" defTabSz="914400">
              <a:defRPr/>
            </a:pPr>
            <a:r>
              <a:rPr lang="es-ES" sz="1400" b="1" dirty="0" smtClean="0">
                <a:solidFill>
                  <a:srgbClr val="4BACC6">
                    <a:lumMod val="75000"/>
                  </a:srgbClr>
                </a:solidFill>
                <a:latin typeface="Candara" pitchFamily="34" charset="0"/>
              </a:rPr>
              <a:t>PHASE</a:t>
            </a:r>
            <a:endParaRPr lang="es-ES" sz="1400" b="1" dirty="0">
              <a:solidFill>
                <a:srgbClr val="4BACC6">
                  <a:lumMod val="75000"/>
                </a:srgbClr>
              </a:solidFill>
              <a:latin typeface="Candara" pitchFamily="34" charset="0"/>
            </a:endParaRPr>
          </a:p>
        </p:txBody>
      </p:sp>
      <p:cxnSp>
        <p:nvCxnSpPr>
          <p:cNvPr id="3079" name="25 Conector recto de flecha"/>
          <p:cNvCxnSpPr>
            <a:cxnSpLocks noChangeShapeType="1"/>
          </p:cNvCxnSpPr>
          <p:nvPr/>
        </p:nvCxnSpPr>
        <p:spPr bwMode="auto">
          <a:xfrm flipV="1">
            <a:off x="1186954" y="2464364"/>
            <a:ext cx="7129462" cy="2322513"/>
          </a:xfrm>
          <a:prstGeom prst="straightConnector1">
            <a:avLst/>
          </a:prstGeom>
          <a:noFill/>
          <a:ln w="9525" algn="ctr">
            <a:noFill/>
            <a:round/>
            <a:headEnd/>
            <a:tailEnd type="arrow" w="med" len="med"/>
          </a:ln>
        </p:spPr>
      </p:cxnSp>
      <p:cxnSp>
        <p:nvCxnSpPr>
          <p:cNvPr id="3081" name="27 Conector recto de flecha"/>
          <p:cNvCxnSpPr>
            <a:cxnSpLocks noChangeShapeType="1"/>
          </p:cNvCxnSpPr>
          <p:nvPr/>
        </p:nvCxnSpPr>
        <p:spPr bwMode="auto">
          <a:xfrm>
            <a:off x="395536" y="1870553"/>
            <a:ext cx="8280920" cy="0"/>
          </a:xfrm>
          <a:prstGeom prst="straightConnector1">
            <a:avLst/>
          </a:prstGeom>
          <a:noFill/>
          <a:ln w="50800" algn="ctr">
            <a:solidFill>
              <a:schemeClr val="accent5">
                <a:lumMod val="75000"/>
              </a:schemeClr>
            </a:solidFill>
            <a:round/>
            <a:headEnd/>
            <a:tailEnd type="arrow" w="med" len="med"/>
          </a:ln>
        </p:spPr>
      </p:cxnSp>
      <p:pic>
        <p:nvPicPr>
          <p:cNvPr id="15" name="Picture 4"/>
          <p:cNvPicPr>
            <a:picLocks noChangeAspect="1" noChangeArrowheads="1"/>
          </p:cNvPicPr>
          <p:nvPr/>
        </p:nvPicPr>
        <p:blipFill>
          <a:blip r:embed="rId3" cstate="print"/>
          <a:srcRect/>
          <a:stretch>
            <a:fillRect/>
          </a:stretch>
        </p:blipFill>
        <p:spPr bwMode="auto">
          <a:xfrm>
            <a:off x="3162945" y="666907"/>
            <a:ext cx="2305050" cy="298847"/>
          </a:xfrm>
          <a:prstGeom prst="rect">
            <a:avLst/>
          </a:prstGeom>
          <a:noFill/>
          <a:ln w="9525" algn="ctr">
            <a:noFill/>
            <a:miter lim="800000"/>
            <a:headEnd/>
            <a:tailEnd/>
          </a:ln>
        </p:spPr>
      </p:pic>
      <p:pic>
        <p:nvPicPr>
          <p:cNvPr id="16" name="Picture 5"/>
          <p:cNvPicPr>
            <a:picLocks noChangeAspect="1" noChangeArrowheads="1"/>
          </p:cNvPicPr>
          <p:nvPr/>
        </p:nvPicPr>
        <p:blipFill>
          <a:blip r:embed="rId4" cstate="print"/>
          <a:srcRect/>
          <a:stretch>
            <a:fillRect/>
          </a:stretch>
        </p:blipFill>
        <p:spPr bwMode="auto">
          <a:xfrm>
            <a:off x="6724033" y="666075"/>
            <a:ext cx="2232025" cy="304800"/>
          </a:xfrm>
          <a:prstGeom prst="rect">
            <a:avLst/>
          </a:prstGeom>
          <a:noFill/>
          <a:ln w="9525" algn="ctr">
            <a:noFill/>
            <a:miter lim="800000"/>
            <a:headEnd/>
            <a:tailEnd/>
          </a:ln>
        </p:spPr>
      </p:pic>
      <p:grpSp>
        <p:nvGrpSpPr>
          <p:cNvPr id="2" name="38 Grupo"/>
          <p:cNvGrpSpPr>
            <a:grpSpLocks/>
          </p:cNvGrpSpPr>
          <p:nvPr/>
        </p:nvGrpSpPr>
        <p:grpSpPr bwMode="auto">
          <a:xfrm>
            <a:off x="96871" y="650957"/>
            <a:ext cx="2184400" cy="323850"/>
            <a:chOff x="3491880" y="987574"/>
            <a:chExt cx="2184400" cy="432048"/>
          </a:xfrm>
        </p:grpSpPr>
        <p:pic>
          <p:nvPicPr>
            <p:cNvPr id="20" name="Picture 3"/>
            <p:cNvPicPr>
              <a:picLocks noChangeAspect="1" noChangeArrowheads="1"/>
            </p:cNvPicPr>
            <p:nvPr/>
          </p:nvPicPr>
          <p:blipFill>
            <a:blip r:embed="rId5" cstate="print"/>
            <a:srcRect/>
            <a:stretch>
              <a:fillRect/>
            </a:stretch>
          </p:blipFill>
          <p:spPr bwMode="auto">
            <a:xfrm>
              <a:off x="3491880" y="1012825"/>
              <a:ext cx="2184400" cy="398463"/>
            </a:xfrm>
            <a:prstGeom prst="rect">
              <a:avLst/>
            </a:prstGeom>
            <a:noFill/>
            <a:ln w="9525" algn="ctr">
              <a:noFill/>
              <a:miter lim="800000"/>
              <a:headEnd/>
              <a:tailEnd/>
            </a:ln>
          </p:spPr>
        </p:pic>
        <p:cxnSp>
          <p:nvCxnSpPr>
            <p:cNvPr id="21" name="20 Conector recto"/>
            <p:cNvCxnSpPr/>
            <p:nvPr/>
          </p:nvCxnSpPr>
          <p:spPr>
            <a:xfrm rot="5400000">
              <a:off x="4639519" y="1203598"/>
              <a:ext cx="43204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2" name="Picture 2" descr="http://www.martinezestudio.com/wp-content/gallery/marca-idae/idae12.jpg"/>
          <p:cNvPicPr>
            <a:picLocks noChangeAspect="1" noChangeArrowheads="1"/>
          </p:cNvPicPr>
          <p:nvPr/>
        </p:nvPicPr>
        <p:blipFill>
          <a:blip r:embed="rId6" cstate="screen"/>
          <a:srcRect/>
          <a:stretch>
            <a:fillRect/>
          </a:stretch>
        </p:blipFill>
        <p:spPr bwMode="auto">
          <a:xfrm>
            <a:off x="5467995" y="658932"/>
            <a:ext cx="1191476" cy="294059"/>
          </a:xfrm>
          <a:prstGeom prst="rect">
            <a:avLst/>
          </a:prstGeom>
          <a:noFill/>
        </p:spPr>
      </p:pic>
      <p:pic>
        <p:nvPicPr>
          <p:cNvPr id="23" name="Picture 4" descr="http://farm3.static.flickr.com/2513/3929346743_7a010d71f6_o.jpg"/>
          <p:cNvPicPr>
            <a:picLocks noChangeAspect="1" noChangeArrowheads="1"/>
          </p:cNvPicPr>
          <p:nvPr/>
        </p:nvPicPr>
        <p:blipFill>
          <a:blip r:embed="rId7" cstate="screen"/>
          <a:srcRect/>
          <a:stretch>
            <a:fillRect/>
          </a:stretch>
        </p:blipFill>
        <p:spPr bwMode="auto">
          <a:xfrm>
            <a:off x="2310276" y="650956"/>
            <a:ext cx="826702" cy="324036"/>
          </a:xfrm>
          <a:prstGeom prst="rect">
            <a:avLst/>
          </a:prstGeom>
          <a:noFill/>
        </p:spPr>
      </p:pic>
      <p:grpSp>
        <p:nvGrpSpPr>
          <p:cNvPr id="3" name="23 Grupo"/>
          <p:cNvGrpSpPr/>
          <p:nvPr/>
        </p:nvGrpSpPr>
        <p:grpSpPr>
          <a:xfrm>
            <a:off x="-2604" y="0"/>
            <a:ext cx="9154541" cy="632669"/>
            <a:chOff x="-2604" y="0"/>
            <a:chExt cx="9154541" cy="843558"/>
          </a:xfrm>
        </p:grpSpPr>
        <p:grpSp>
          <p:nvGrpSpPr>
            <p:cNvPr id="4" name="1 Grupo"/>
            <p:cNvGrpSpPr/>
            <p:nvPr/>
          </p:nvGrpSpPr>
          <p:grpSpPr>
            <a:xfrm>
              <a:off x="1440160" y="0"/>
              <a:ext cx="5940152" cy="843558"/>
              <a:chOff x="683568" y="843558"/>
              <a:chExt cx="7560840" cy="1152128"/>
            </a:xfrm>
          </p:grpSpPr>
          <p:pic>
            <p:nvPicPr>
              <p:cNvPr id="28" name="Picture 3"/>
              <p:cNvPicPr>
                <a:picLocks noChangeAspect="1" noChangeArrowheads="1"/>
              </p:cNvPicPr>
              <p:nvPr/>
            </p:nvPicPr>
            <p:blipFill>
              <a:blip r:embed="rId8" cstate="print"/>
              <a:srcRect/>
              <a:stretch>
                <a:fillRect/>
              </a:stretch>
            </p:blipFill>
            <p:spPr bwMode="auto">
              <a:xfrm>
                <a:off x="683568" y="843558"/>
                <a:ext cx="7560840" cy="1152128"/>
              </a:xfrm>
              <a:prstGeom prst="rect">
                <a:avLst/>
              </a:prstGeom>
              <a:noFill/>
              <a:ln w="9525">
                <a:noFill/>
                <a:miter lim="800000"/>
                <a:headEnd/>
                <a:tailEnd/>
              </a:ln>
            </p:spPr>
          </p:pic>
          <p:pic>
            <p:nvPicPr>
              <p:cNvPr id="29" name="Picture 3"/>
              <p:cNvPicPr>
                <a:picLocks noChangeAspect="1" noChangeArrowheads="1"/>
              </p:cNvPicPr>
              <p:nvPr/>
            </p:nvPicPr>
            <p:blipFill>
              <a:blip r:embed="rId9" cstate="screen"/>
              <a:srcRect/>
              <a:stretch>
                <a:fillRect/>
              </a:stretch>
            </p:blipFill>
            <p:spPr bwMode="auto">
              <a:xfrm>
                <a:off x="5580112" y="1635646"/>
                <a:ext cx="2664296" cy="360040"/>
              </a:xfrm>
              <a:prstGeom prst="rect">
                <a:avLst/>
              </a:prstGeom>
              <a:noFill/>
              <a:ln w="9525">
                <a:noFill/>
                <a:miter lim="800000"/>
                <a:headEnd/>
                <a:tailEnd/>
              </a:ln>
            </p:spPr>
          </p:pic>
        </p:grpSp>
        <p:pic>
          <p:nvPicPr>
            <p:cNvPr id="26" name="Picture 3"/>
            <p:cNvPicPr>
              <a:picLocks noChangeAspect="1" noChangeArrowheads="1"/>
            </p:cNvPicPr>
            <p:nvPr/>
          </p:nvPicPr>
          <p:blipFill>
            <a:blip r:embed="rId10" cstate="print"/>
            <a:srcRect/>
            <a:stretch>
              <a:fillRect/>
            </a:stretch>
          </p:blipFill>
          <p:spPr bwMode="auto">
            <a:xfrm>
              <a:off x="6631657" y="0"/>
              <a:ext cx="2520280" cy="843558"/>
            </a:xfrm>
            <a:prstGeom prst="rect">
              <a:avLst/>
            </a:prstGeom>
            <a:noFill/>
            <a:ln w="9525">
              <a:noFill/>
              <a:miter lim="800000"/>
              <a:headEnd/>
              <a:tailEnd/>
            </a:ln>
          </p:spPr>
        </p:pic>
        <p:pic>
          <p:nvPicPr>
            <p:cNvPr id="27" name="Picture 3"/>
            <p:cNvPicPr>
              <a:picLocks noChangeAspect="1" noChangeArrowheads="1"/>
            </p:cNvPicPr>
            <p:nvPr/>
          </p:nvPicPr>
          <p:blipFill>
            <a:blip r:embed="rId10" cstate="print"/>
            <a:srcRect/>
            <a:stretch>
              <a:fillRect/>
            </a:stretch>
          </p:blipFill>
          <p:spPr bwMode="auto">
            <a:xfrm>
              <a:off x="-2604" y="0"/>
              <a:ext cx="2520280" cy="843558"/>
            </a:xfrm>
            <a:prstGeom prst="rect">
              <a:avLst/>
            </a:prstGeom>
            <a:noFill/>
            <a:ln w="9525">
              <a:noFill/>
              <a:miter lim="800000"/>
              <a:headEnd/>
              <a:tailEnd/>
            </a:ln>
          </p:spPr>
        </p:pic>
      </p:grpSp>
      <p:sp>
        <p:nvSpPr>
          <p:cNvPr id="24" name="23 Rectángulo"/>
          <p:cNvSpPr/>
          <p:nvPr/>
        </p:nvSpPr>
        <p:spPr>
          <a:xfrm>
            <a:off x="3324736" y="1114469"/>
            <a:ext cx="939681" cy="292388"/>
          </a:xfrm>
          <a:prstGeom prst="rect">
            <a:avLst/>
          </a:prstGeom>
        </p:spPr>
        <p:txBody>
          <a:bodyPr wrap="none">
            <a:spAutoFit/>
          </a:bodyPr>
          <a:lstStyle/>
          <a:p>
            <a:pPr algn="just" defTabSz="914400" fontAlgn="base">
              <a:spcBef>
                <a:spcPct val="0"/>
              </a:spcBef>
              <a:spcAft>
                <a:spcPct val="0"/>
              </a:spcAft>
              <a:defRPr/>
            </a:pPr>
            <a:r>
              <a:rPr lang="en-US" sz="1300" b="1" dirty="0" smtClean="0">
                <a:solidFill>
                  <a:srgbClr val="4BACC6">
                    <a:lumMod val="75000"/>
                  </a:srgbClr>
                </a:solidFill>
                <a:latin typeface="Candara" pitchFamily="34" charset="0"/>
              </a:rPr>
              <a:t>2010 – 2011</a:t>
            </a:r>
            <a:endParaRPr lang="en-US" sz="1300" b="1" dirty="0">
              <a:solidFill>
                <a:srgbClr val="4BACC6">
                  <a:lumMod val="75000"/>
                </a:srgbClr>
              </a:solidFill>
              <a:latin typeface="Candara" pitchFamily="34" charset="0"/>
            </a:endParaRPr>
          </a:p>
        </p:txBody>
      </p:sp>
      <p:sp>
        <p:nvSpPr>
          <p:cNvPr id="25" name="24 Rectángulo"/>
          <p:cNvSpPr/>
          <p:nvPr/>
        </p:nvSpPr>
        <p:spPr>
          <a:xfrm>
            <a:off x="5314193" y="1113588"/>
            <a:ext cx="928459" cy="292388"/>
          </a:xfrm>
          <a:prstGeom prst="rect">
            <a:avLst/>
          </a:prstGeom>
        </p:spPr>
        <p:txBody>
          <a:bodyPr wrap="none">
            <a:spAutoFit/>
          </a:bodyPr>
          <a:lstStyle/>
          <a:p>
            <a:pPr algn="just" defTabSz="914400" fontAlgn="base">
              <a:spcBef>
                <a:spcPct val="0"/>
              </a:spcBef>
              <a:spcAft>
                <a:spcPct val="0"/>
              </a:spcAft>
              <a:defRPr/>
            </a:pPr>
            <a:r>
              <a:rPr lang="en-US" sz="1300" b="1" dirty="0" smtClean="0">
                <a:solidFill>
                  <a:srgbClr val="4BACC6">
                    <a:lumMod val="75000"/>
                  </a:srgbClr>
                </a:solidFill>
                <a:latin typeface="Candara" pitchFamily="34" charset="0"/>
              </a:rPr>
              <a:t>2011 – 2013</a:t>
            </a:r>
            <a:endParaRPr lang="en-US" sz="1300" b="1" dirty="0">
              <a:solidFill>
                <a:srgbClr val="4BACC6">
                  <a:lumMod val="75000"/>
                </a:srgbClr>
              </a:solidFill>
              <a:latin typeface="Candara" pitchFamily="34" charset="0"/>
            </a:endParaRPr>
          </a:p>
        </p:txBody>
      </p:sp>
      <p:sp>
        <p:nvSpPr>
          <p:cNvPr id="30" name="29 Rectángulo"/>
          <p:cNvSpPr/>
          <p:nvPr/>
        </p:nvSpPr>
        <p:spPr>
          <a:xfrm>
            <a:off x="7231768" y="1113588"/>
            <a:ext cx="1281120" cy="292388"/>
          </a:xfrm>
          <a:prstGeom prst="rect">
            <a:avLst/>
          </a:prstGeom>
        </p:spPr>
        <p:txBody>
          <a:bodyPr wrap="none">
            <a:spAutoFit/>
          </a:bodyPr>
          <a:lstStyle/>
          <a:p>
            <a:pPr algn="just" defTabSz="914400" fontAlgn="base">
              <a:spcBef>
                <a:spcPct val="0"/>
              </a:spcBef>
              <a:spcAft>
                <a:spcPct val="0"/>
              </a:spcAft>
              <a:defRPr/>
            </a:pPr>
            <a:r>
              <a:rPr lang="en-US" sz="1300" b="1" dirty="0" smtClean="0">
                <a:solidFill>
                  <a:srgbClr val="4BACC6">
                    <a:lumMod val="75000"/>
                  </a:srgbClr>
                </a:solidFill>
                <a:latin typeface="Candara" pitchFamily="34" charset="0"/>
              </a:rPr>
              <a:t>2014 – onwards</a:t>
            </a:r>
            <a:endParaRPr lang="en-US" sz="1300" b="1" dirty="0">
              <a:solidFill>
                <a:srgbClr val="4BACC6">
                  <a:lumMod val="75000"/>
                </a:srgbClr>
              </a:solidFill>
              <a:latin typeface="Candara" pitchFamily="34" charset="0"/>
            </a:endParaRPr>
          </a:p>
        </p:txBody>
      </p:sp>
      <p:pic>
        <p:nvPicPr>
          <p:cNvPr id="36" name="Picture 2" descr="http://manulegarreta.files.wordpress.com/2012/06/20081113143027-logo-ue1.gif"/>
          <p:cNvPicPr>
            <a:picLocks noChangeAspect="1" noChangeArrowheads="1"/>
          </p:cNvPicPr>
          <p:nvPr/>
        </p:nvPicPr>
        <p:blipFill>
          <a:blip r:embed="rId11" cstate="print"/>
          <a:srcRect/>
          <a:stretch>
            <a:fillRect/>
          </a:stretch>
        </p:blipFill>
        <p:spPr bwMode="auto">
          <a:xfrm>
            <a:off x="323528" y="2193708"/>
            <a:ext cx="1008112" cy="515512"/>
          </a:xfrm>
          <a:prstGeom prst="rect">
            <a:avLst/>
          </a:prstGeom>
          <a:noFill/>
        </p:spPr>
      </p:pic>
      <p:pic>
        <p:nvPicPr>
          <p:cNvPr id="37" name="Picture 2" descr="https://encrypted-tbn3.gstatic.com/images?q=tbn:ANd9GcRCuYXqBkrYBskv182KiEMOEVnIUWKuKLZLrZ8lNWi6tGLOTYw1wA"/>
          <p:cNvPicPr>
            <a:picLocks noChangeAspect="1" noChangeArrowheads="1"/>
          </p:cNvPicPr>
          <p:nvPr/>
        </p:nvPicPr>
        <p:blipFill>
          <a:blip r:embed="rId12" cstate="print"/>
          <a:srcRect/>
          <a:stretch>
            <a:fillRect/>
          </a:stretch>
        </p:blipFill>
        <p:spPr bwMode="auto">
          <a:xfrm>
            <a:off x="301784" y="2949793"/>
            <a:ext cx="1101865" cy="670412"/>
          </a:xfrm>
          <a:prstGeom prst="rect">
            <a:avLst/>
          </a:prstGeom>
          <a:noFill/>
        </p:spPr>
      </p:pic>
      <p:pic>
        <p:nvPicPr>
          <p:cNvPr id="31" name="Picture 2" descr="http://www.navtech.aero/uploaded/tiny_mce/Image/Newsletter/Volume%203%20Issue%203%20and%204/ICAO.jpg"/>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323528" y="4052010"/>
            <a:ext cx="1368152" cy="841998"/>
          </a:xfrm>
          <a:prstGeom prst="rect">
            <a:avLst/>
          </a:prstGeom>
          <a:noFill/>
        </p:spPr>
      </p:pic>
      <p:sp>
        <p:nvSpPr>
          <p:cNvPr id="32" name="31 Rectángulo"/>
          <p:cNvSpPr/>
          <p:nvPr/>
        </p:nvSpPr>
        <p:spPr>
          <a:xfrm>
            <a:off x="1763688" y="3367467"/>
            <a:ext cx="3264868" cy="523220"/>
          </a:xfrm>
          <a:prstGeom prst="rect">
            <a:avLst/>
          </a:prstGeom>
        </p:spPr>
        <p:txBody>
          <a:bodyPr wrap="none">
            <a:spAutoFit/>
          </a:bodyPr>
          <a:lstStyle/>
          <a:p>
            <a:pPr defTabSz="914400"/>
            <a:r>
              <a:rPr lang="es-ES" sz="2800" b="1" dirty="0" smtClean="0">
                <a:solidFill>
                  <a:srgbClr val="4BACC6">
                    <a:lumMod val="75000"/>
                  </a:srgbClr>
                </a:solidFill>
              </a:rPr>
              <a:t>www.core-jetfuel.eu</a:t>
            </a:r>
          </a:p>
        </p:txBody>
      </p:sp>
      <p:pic>
        <p:nvPicPr>
          <p:cNvPr id="2050" name="Picture 2" descr="http://www.core-jetfuel.eu/picture/img_highlights_02.jpg"/>
          <p:cNvPicPr>
            <a:picLocks noChangeAspect="1" noChangeArrowheads="1"/>
          </p:cNvPicPr>
          <p:nvPr/>
        </p:nvPicPr>
        <p:blipFill>
          <a:blip r:embed="rId14" cstate="print"/>
          <a:srcRect/>
          <a:stretch>
            <a:fillRect/>
          </a:stretch>
        </p:blipFill>
        <p:spPr bwMode="auto">
          <a:xfrm>
            <a:off x="1835696" y="2136285"/>
            <a:ext cx="3123773" cy="1245555"/>
          </a:xfrm>
          <a:prstGeom prst="rect">
            <a:avLst/>
          </a:prstGeom>
          <a:noFill/>
        </p:spPr>
      </p:pic>
      <p:sp>
        <p:nvSpPr>
          <p:cNvPr id="33" name="32 Rectángulo"/>
          <p:cNvSpPr/>
          <p:nvPr/>
        </p:nvSpPr>
        <p:spPr>
          <a:xfrm>
            <a:off x="6071382" y="3028187"/>
            <a:ext cx="2533066" cy="615553"/>
          </a:xfrm>
          <a:prstGeom prst="rect">
            <a:avLst/>
          </a:prstGeom>
        </p:spPr>
        <p:txBody>
          <a:bodyPr wrap="none">
            <a:spAutoFit/>
          </a:bodyPr>
          <a:lstStyle/>
          <a:p>
            <a:pPr defTabSz="914400"/>
            <a:r>
              <a:rPr lang="fr-FR" altLang="en-US" sz="3400" b="1" kern="0" dirty="0" smtClean="0">
                <a:solidFill>
                  <a:srgbClr val="1F85B7"/>
                </a:solidFill>
                <a:latin typeface="Arial"/>
                <a:cs typeface="Arial"/>
              </a:rPr>
              <a:t>FORUM-AE</a:t>
            </a:r>
            <a:endParaRPr lang="es-ES" dirty="0">
              <a:solidFill>
                <a:prstClr val="black"/>
              </a:solidFill>
            </a:endParaRPr>
          </a:p>
        </p:txBody>
      </p:sp>
      <p:sp>
        <p:nvSpPr>
          <p:cNvPr id="34" name="33 Rectángulo"/>
          <p:cNvSpPr/>
          <p:nvPr/>
        </p:nvSpPr>
        <p:spPr>
          <a:xfrm>
            <a:off x="4572000" y="2085697"/>
            <a:ext cx="4104456" cy="954107"/>
          </a:xfrm>
          <a:prstGeom prst="rect">
            <a:avLst/>
          </a:prstGeom>
        </p:spPr>
        <p:txBody>
          <a:bodyPr wrap="square">
            <a:spAutoFit/>
          </a:bodyPr>
          <a:lstStyle/>
          <a:p>
            <a:pPr algn="r" defTabSz="914400"/>
            <a:r>
              <a:rPr lang="en-US" sz="2800" b="1" dirty="0" smtClean="0">
                <a:solidFill>
                  <a:srgbClr val="4BACC6">
                    <a:lumMod val="75000"/>
                  </a:srgbClr>
                </a:solidFill>
              </a:rPr>
              <a:t>European coordination and support actions </a:t>
            </a:r>
            <a:endParaRPr lang="es-ES" sz="2800" b="1" dirty="0" smtClean="0">
              <a:solidFill>
                <a:srgbClr val="4BACC6">
                  <a:lumMod val="75000"/>
                </a:srgbClr>
              </a:solidFill>
            </a:endParaRPr>
          </a:p>
        </p:txBody>
      </p:sp>
      <p:sp>
        <p:nvSpPr>
          <p:cNvPr id="35" name="34 Rectángulo"/>
          <p:cNvSpPr/>
          <p:nvPr/>
        </p:nvSpPr>
        <p:spPr>
          <a:xfrm>
            <a:off x="1834138" y="4191930"/>
            <a:ext cx="5450531" cy="830997"/>
          </a:xfrm>
          <a:prstGeom prst="rect">
            <a:avLst/>
          </a:prstGeom>
        </p:spPr>
        <p:txBody>
          <a:bodyPr wrap="none">
            <a:spAutoFit/>
          </a:bodyPr>
          <a:lstStyle/>
          <a:p>
            <a:pPr defTabSz="914400"/>
            <a:r>
              <a:rPr lang="fr-FR" altLang="en-US" sz="2400" b="1" kern="0" dirty="0" smtClean="0">
                <a:solidFill>
                  <a:srgbClr val="1F85B7"/>
                </a:solidFill>
                <a:latin typeface="Arial"/>
                <a:cs typeface="Arial"/>
              </a:rPr>
              <a:t>ICAO CAEP </a:t>
            </a:r>
          </a:p>
          <a:p>
            <a:pPr defTabSz="914400"/>
            <a:r>
              <a:rPr lang="fr-FR" altLang="en-US" sz="2400" b="1" kern="0" dirty="0" smtClean="0">
                <a:solidFill>
                  <a:srgbClr val="1F85B7"/>
                </a:solidFill>
                <a:latin typeface="Arial"/>
                <a:cs typeface="Arial"/>
              </a:rPr>
              <a:t>Alternative Fuels </a:t>
            </a:r>
            <a:r>
              <a:rPr lang="fr-FR" altLang="en-US" sz="2400" b="1" kern="0" dirty="0" err="1" smtClean="0">
                <a:solidFill>
                  <a:srgbClr val="1F85B7"/>
                </a:solidFill>
                <a:latin typeface="Arial"/>
                <a:cs typeface="Arial"/>
              </a:rPr>
              <a:t>Task</a:t>
            </a:r>
            <a:r>
              <a:rPr lang="fr-FR" altLang="en-US" sz="2400" b="1" kern="0" dirty="0" smtClean="0">
                <a:solidFill>
                  <a:srgbClr val="1F85B7"/>
                </a:solidFill>
                <a:latin typeface="Arial"/>
                <a:cs typeface="Arial"/>
              </a:rPr>
              <a:t> Force (ATFT)</a:t>
            </a:r>
            <a:endParaRPr lang="es-ES" sz="2400" dirty="0">
              <a:solidFill>
                <a:prstClr val="black"/>
              </a:solidFill>
            </a:endParaRPr>
          </a:p>
        </p:txBody>
      </p:sp>
      <p:pic>
        <p:nvPicPr>
          <p:cNvPr id="38" name="Picture 3" descr="http://t0.gstatic.com/images?q=tbn:ANd9GcQEjoVKk7BVaR_Ng6tEmxd8mfNVtpDMShHdUN-vefcLO5mraz2_oA"/>
          <p:cNvPicPr>
            <a:picLocks noChangeAspect="1" noChangeArrowheads="1"/>
          </p:cNvPicPr>
          <p:nvPr/>
        </p:nvPicPr>
        <p:blipFill>
          <a:blip r:embed="rId15" cstate="screen"/>
          <a:srcRect r="14323" b="37167"/>
          <a:stretch>
            <a:fillRect/>
          </a:stretch>
        </p:blipFill>
        <p:spPr bwMode="auto">
          <a:xfrm>
            <a:off x="7956376" y="4261917"/>
            <a:ext cx="936104" cy="686097"/>
          </a:xfrm>
          <a:prstGeom prst="rect">
            <a:avLst/>
          </a:prstGeom>
          <a:noFill/>
        </p:spPr>
      </p:pic>
      <p:pic>
        <p:nvPicPr>
          <p:cNvPr id="2052" name="Picture 4" descr="https://encrypted-tbn0.gstatic.com/images?q=tbn:ANd9GcQ0GXo6TfU3cIysrGAtzUi_IXJAqlJDa4Tvkurij1eapR2kSJ5D"/>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7020453" y="4077592"/>
            <a:ext cx="1203104" cy="562367"/>
          </a:xfrm>
          <a:prstGeom prst="rect">
            <a:avLst/>
          </a:prstGeom>
          <a:noFill/>
        </p:spPr>
      </p:pic>
    </p:spTree>
    <p:extLst>
      <p:ext uri="{BB962C8B-B14F-4D97-AF65-F5344CB8AC3E}">
        <p14:creationId xmlns:p14="http://schemas.microsoft.com/office/powerpoint/2010/main" val="73974940"/>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p:cNvPicPr>
            <a:picLocks noChangeAspect="1" noChangeArrowheads="1"/>
          </p:cNvPicPr>
          <p:nvPr/>
        </p:nvPicPr>
        <p:blipFill>
          <a:blip r:embed="rId3" cstate="print"/>
          <a:srcRect/>
          <a:stretch>
            <a:fillRect/>
          </a:stretch>
        </p:blipFill>
        <p:spPr bwMode="auto">
          <a:xfrm>
            <a:off x="3162945" y="666907"/>
            <a:ext cx="2305050" cy="298847"/>
          </a:xfrm>
          <a:prstGeom prst="rect">
            <a:avLst/>
          </a:prstGeom>
          <a:noFill/>
          <a:ln w="9525" algn="ctr">
            <a:noFill/>
            <a:miter lim="800000"/>
            <a:headEnd/>
            <a:tailEnd/>
          </a:ln>
        </p:spPr>
      </p:pic>
      <p:pic>
        <p:nvPicPr>
          <p:cNvPr id="16" name="Picture 5"/>
          <p:cNvPicPr>
            <a:picLocks noChangeAspect="1" noChangeArrowheads="1"/>
          </p:cNvPicPr>
          <p:nvPr/>
        </p:nvPicPr>
        <p:blipFill>
          <a:blip r:embed="rId4" cstate="print"/>
          <a:srcRect/>
          <a:stretch>
            <a:fillRect/>
          </a:stretch>
        </p:blipFill>
        <p:spPr bwMode="auto">
          <a:xfrm>
            <a:off x="6724033" y="666075"/>
            <a:ext cx="2232025" cy="304800"/>
          </a:xfrm>
          <a:prstGeom prst="rect">
            <a:avLst/>
          </a:prstGeom>
          <a:noFill/>
          <a:ln w="9525" algn="ctr">
            <a:noFill/>
            <a:miter lim="800000"/>
            <a:headEnd/>
            <a:tailEnd/>
          </a:ln>
        </p:spPr>
      </p:pic>
      <p:grpSp>
        <p:nvGrpSpPr>
          <p:cNvPr id="2" name="38 Grupo"/>
          <p:cNvGrpSpPr>
            <a:grpSpLocks/>
          </p:cNvGrpSpPr>
          <p:nvPr/>
        </p:nvGrpSpPr>
        <p:grpSpPr bwMode="auto">
          <a:xfrm>
            <a:off x="96871" y="650957"/>
            <a:ext cx="2184400" cy="323850"/>
            <a:chOff x="3491880" y="987574"/>
            <a:chExt cx="2184400" cy="432048"/>
          </a:xfrm>
        </p:grpSpPr>
        <p:pic>
          <p:nvPicPr>
            <p:cNvPr id="20" name="Picture 3"/>
            <p:cNvPicPr>
              <a:picLocks noChangeAspect="1" noChangeArrowheads="1"/>
            </p:cNvPicPr>
            <p:nvPr/>
          </p:nvPicPr>
          <p:blipFill>
            <a:blip r:embed="rId5" cstate="print"/>
            <a:srcRect/>
            <a:stretch>
              <a:fillRect/>
            </a:stretch>
          </p:blipFill>
          <p:spPr bwMode="auto">
            <a:xfrm>
              <a:off x="3491880" y="1012825"/>
              <a:ext cx="2184400" cy="398463"/>
            </a:xfrm>
            <a:prstGeom prst="rect">
              <a:avLst/>
            </a:prstGeom>
            <a:noFill/>
            <a:ln w="9525" algn="ctr">
              <a:noFill/>
              <a:miter lim="800000"/>
              <a:headEnd/>
              <a:tailEnd/>
            </a:ln>
          </p:spPr>
        </p:pic>
        <p:cxnSp>
          <p:nvCxnSpPr>
            <p:cNvPr id="21" name="20 Conector recto"/>
            <p:cNvCxnSpPr/>
            <p:nvPr/>
          </p:nvCxnSpPr>
          <p:spPr>
            <a:xfrm rot="5400000">
              <a:off x="4639519" y="1203598"/>
              <a:ext cx="43204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2" name="Picture 2" descr="http://www.martinezestudio.com/wp-content/gallery/marca-idae/idae12.jpg"/>
          <p:cNvPicPr>
            <a:picLocks noChangeAspect="1" noChangeArrowheads="1"/>
          </p:cNvPicPr>
          <p:nvPr/>
        </p:nvPicPr>
        <p:blipFill>
          <a:blip r:embed="rId6" cstate="screen"/>
          <a:srcRect/>
          <a:stretch>
            <a:fillRect/>
          </a:stretch>
        </p:blipFill>
        <p:spPr bwMode="auto">
          <a:xfrm>
            <a:off x="5467995" y="658932"/>
            <a:ext cx="1191476" cy="294059"/>
          </a:xfrm>
          <a:prstGeom prst="rect">
            <a:avLst/>
          </a:prstGeom>
          <a:noFill/>
        </p:spPr>
      </p:pic>
      <p:pic>
        <p:nvPicPr>
          <p:cNvPr id="23" name="Picture 4" descr="http://farm3.static.flickr.com/2513/3929346743_7a010d71f6_o.jpg"/>
          <p:cNvPicPr>
            <a:picLocks noChangeAspect="1" noChangeArrowheads="1"/>
          </p:cNvPicPr>
          <p:nvPr/>
        </p:nvPicPr>
        <p:blipFill>
          <a:blip r:embed="rId7" cstate="screen"/>
          <a:srcRect/>
          <a:stretch>
            <a:fillRect/>
          </a:stretch>
        </p:blipFill>
        <p:spPr bwMode="auto">
          <a:xfrm>
            <a:off x="2310276" y="650956"/>
            <a:ext cx="826702" cy="324036"/>
          </a:xfrm>
          <a:prstGeom prst="rect">
            <a:avLst/>
          </a:prstGeom>
          <a:noFill/>
        </p:spPr>
      </p:pic>
      <p:grpSp>
        <p:nvGrpSpPr>
          <p:cNvPr id="3" name="23 Grupo"/>
          <p:cNvGrpSpPr/>
          <p:nvPr/>
        </p:nvGrpSpPr>
        <p:grpSpPr>
          <a:xfrm>
            <a:off x="-2604" y="0"/>
            <a:ext cx="9154541" cy="632669"/>
            <a:chOff x="-2604" y="0"/>
            <a:chExt cx="9154541" cy="843558"/>
          </a:xfrm>
        </p:grpSpPr>
        <p:grpSp>
          <p:nvGrpSpPr>
            <p:cNvPr id="4" name="1 Grupo"/>
            <p:cNvGrpSpPr/>
            <p:nvPr/>
          </p:nvGrpSpPr>
          <p:grpSpPr>
            <a:xfrm>
              <a:off x="1440160" y="0"/>
              <a:ext cx="5940152" cy="843558"/>
              <a:chOff x="683568" y="843558"/>
              <a:chExt cx="7560840" cy="1152128"/>
            </a:xfrm>
          </p:grpSpPr>
          <p:pic>
            <p:nvPicPr>
              <p:cNvPr id="28" name="Picture 3"/>
              <p:cNvPicPr>
                <a:picLocks noChangeAspect="1" noChangeArrowheads="1"/>
              </p:cNvPicPr>
              <p:nvPr/>
            </p:nvPicPr>
            <p:blipFill>
              <a:blip r:embed="rId8" cstate="print"/>
              <a:srcRect/>
              <a:stretch>
                <a:fillRect/>
              </a:stretch>
            </p:blipFill>
            <p:spPr bwMode="auto">
              <a:xfrm>
                <a:off x="683568" y="843558"/>
                <a:ext cx="7560840" cy="1152128"/>
              </a:xfrm>
              <a:prstGeom prst="rect">
                <a:avLst/>
              </a:prstGeom>
              <a:noFill/>
              <a:ln w="9525">
                <a:noFill/>
                <a:miter lim="800000"/>
                <a:headEnd/>
                <a:tailEnd/>
              </a:ln>
            </p:spPr>
          </p:pic>
          <p:pic>
            <p:nvPicPr>
              <p:cNvPr id="29" name="Picture 3"/>
              <p:cNvPicPr>
                <a:picLocks noChangeAspect="1" noChangeArrowheads="1"/>
              </p:cNvPicPr>
              <p:nvPr/>
            </p:nvPicPr>
            <p:blipFill>
              <a:blip r:embed="rId9" cstate="screen"/>
              <a:srcRect/>
              <a:stretch>
                <a:fillRect/>
              </a:stretch>
            </p:blipFill>
            <p:spPr bwMode="auto">
              <a:xfrm>
                <a:off x="5580112" y="1635646"/>
                <a:ext cx="2664296" cy="360040"/>
              </a:xfrm>
              <a:prstGeom prst="rect">
                <a:avLst/>
              </a:prstGeom>
              <a:noFill/>
              <a:ln w="9525">
                <a:noFill/>
                <a:miter lim="800000"/>
                <a:headEnd/>
                <a:tailEnd/>
              </a:ln>
            </p:spPr>
          </p:pic>
        </p:grpSp>
        <p:pic>
          <p:nvPicPr>
            <p:cNvPr id="26" name="Picture 3"/>
            <p:cNvPicPr>
              <a:picLocks noChangeAspect="1" noChangeArrowheads="1"/>
            </p:cNvPicPr>
            <p:nvPr/>
          </p:nvPicPr>
          <p:blipFill>
            <a:blip r:embed="rId10" cstate="print"/>
            <a:srcRect/>
            <a:stretch>
              <a:fillRect/>
            </a:stretch>
          </p:blipFill>
          <p:spPr bwMode="auto">
            <a:xfrm>
              <a:off x="6631657" y="0"/>
              <a:ext cx="2520280" cy="843558"/>
            </a:xfrm>
            <a:prstGeom prst="rect">
              <a:avLst/>
            </a:prstGeom>
            <a:noFill/>
            <a:ln w="9525">
              <a:noFill/>
              <a:miter lim="800000"/>
              <a:headEnd/>
              <a:tailEnd/>
            </a:ln>
          </p:spPr>
        </p:pic>
        <p:pic>
          <p:nvPicPr>
            <p:cNvPr id="27" name="Picture 3"/>
            <p:cNvPicPr>
              <a:picLocks noChangeAspect="1" noChangeArrowheads="1"/>
            </p:cNvPicPr>
            <p:nvPr/>
          </p:nvPicPr>
          <p:blipFill>
            <a:blip r:embed="rId10" cstate="print"/>
            <a:srcRect/>
            <a:stretch>
              <a:fillRect/>
            </a:stretch>
          </p:blipFill>
          <p:spPr bwMode="auto">
            <a:xfrm>
              <a:off x="-2604" y="0"/>
              <a:ext cx="2520280" cy="843558"/>
            </a:xfrm>
            <a:prstGeom prst="rect">
              <a:avLst/>
            </a:prstGeom>
            <a:noFill/>
            <a:ln w="9525">
              <a:noFill/>
              <a:miter lim="800000"/>
              <a:headEnd/>
              <a:tailEnd/>
            </a:ln>
          </p:spPr>
        </p:pic>
      </p:grpSp>
      <p:sp>
        <p:nvSpPr>
          <p:cNvPr id="40" name="39 Rectángulo"/>
          <p:cNvSpPr/>
          <p:nvPr/>
        </p:nvSpPr>
        <p:spPr>
          <a:xfrm>
            <a:off x="4716016" y="3795886"/>
            <a:ext cx="3744416" cy="1138773"/>
          </a:xfrm>
          <a:prstGeom prst="rect">
            <a:avLst/>
          </a:prstGeom>
        </p:spPr>
        <p:txBody>
          <a:bodyPr wrap="square">
            <a:spAutoFit/>
          </a:bodyPr>
          <a:lstStyle/>
          <a:p>
            <a:pPr defTabSz="914400"/>
            <a:r>
              <a:rPr lang="es-ES" sz="2800" b="1" dirty="0" smtClean="0">
                <a:solidFill>
                  <a:srgbClr val="4BACC6">
                    <a:lumMod val="75000"/>
                  </a:srgbClr>
                </a:solidFill>
              </a:rPr>
              <a:t/>
            </a:r>
            <a:br>
              <a:rPr lang="es-ES" sz="2800" b="1" dirty="0" smtClean="0">
                <a:solidFill>
                  <a:srgbClr val="4BACC6">
                    <a:lumMod val="75000"/>
                  </a:srgbClr>
                </a:solidFill>
              </a:rPr>
            </a:br>
            <a:r>
              <a:rPr lang="es-ES" sz="2000" b="1" dirty="0" smtClean="0">
                <a:solidFill>
                  <a:srgbClr val="4BACC6">
                    <a:lumMod val="75000"/>
                  </a:srgbClr>
                </a:solidFill>
              </a:rPr>
              <a:t>Avenida de la Hispanidad, nº 12</a:t>
            </a:r>
            <a:br>
              <a:rPr lang="es-ES" sz="2000" b="1" dirty="0" smtClean="0">
                <a:solidFill>
                  <a:srgbClr val="4BACC6">
                    <a:lumMod val="75000"/>
                  </a:srgbClr>
                </a:solidFill>
              </a:rPr>
            </a:br>
            <a:r>
              <a:rPr lang="es-ES" sz="2000" b="1" dirty="0" smtClean="0">
                <a:solidFill>
                  <a:srgbClr val="4BACC6">
                    <a:lumMod val="75000"/>
                  </a:srgbClr>
                </a:solidFill>
              </a:rPr>
              <a:t>28042 Madrid, </a:t>
            </a:r>
            <a:r>
              <a:rPr lang="es-ES" sz="2000" b="1" dirty="0" err="1" smtClean="0">
                <a:solidFill>
                  <a:srgbClr val="4BACC6">
                    <a:lumMod val="75000"/>
                  </a:srgbClr>
                </a:solidFill>
              </a:rPr>
              <a:t>Spain</a:t>
            </a:r>
            <a:endParaRPr lang="es-ES" sz="2000" b="1" dirty="0" smtClean="0">
              <a:solidFill>
                <a:srgbClr val="4BACC6">
                  <a:lumMod val="75000"/>
                </a:srgbClr>
              </a:solidFill>
            </a:endParaRPr>
          </a:p>
        </p:txBody>
      </p:sp>
      <p:pic>
        <p:nvPicPr>
          <p:cNvPr id="62466" name="Picture 2" descr="http://www.obsa.org/GaleriaFotos/logo_bioqueroseno_espana.jpg"/>
          <p:cNvPicPr>
            <a:picLocks noChangeAspect="1" noChangeArrowheads="1"/>
          </p:cNvPicPr>
          <p:nvPr/>
        </p:nvPicPr>
        <p:blipFill>
          <a:blip r:embed="rId11" cstate="print"/>
          <a:srcRect/>
          <a:stretch>
            <a:fillRect/>
          </a:stretch>
        </p:blipFill>
        <p:spPr bwMode="auto">
          <a:xfrm>
            <a:off x="345980" y="1221600"/>
            <a:ext cx="3521968" cy="660369"/>
          </a:xfrm>
          <a:prstGeom prst="rect">
            <a:avLst/>
          </a:prstGeom>
          <a:noFill/>
        </p:spPr>
      </p:pic>
      <p:sp>
        <p:nvSpPr>
          <p:cNvPr id="41" name="1 Título"/>
          <p:cNvSpPr txBox="1">
            <a:spLocks/>
          </p:cNvSpPr>
          <p:nvPr/>
        </p:nvSpPr>
        <p:spPr>
          <a:xfrm>
            <a:off x="401960" y="3132062"/>
            <a:ext cx="3419872" cy="378042"/>
          </a:xfrm>
          <a:prstGeom prst="rect">
            <a:avLst/>
          </a:prstGeom>
        </p:spPr>
        <p:txBody>
          <a:bodyPr/>
          <a:lstStyle/>
          <a:p>
            <a:pPr defTabSz="914400" fontAlgn="base">
              <a:spcBef>
                <a:spcPct val="0"/>
              </a:spcBef>
              <a:spcAft>
                <a:spcPct val="0"/>
              </a:spcAft>
              <a:defRPr/>
            </a:pPr>
            <a:r>
              <a:rPr lang="en-US" sz="2800" b="1" dirty="0" smtClean="0">
                <a:solidFill>
                  <a:srgbClr val="4BACC6">
                    <a:lumMod val="75000"/>
                  </a:srgbClr>
                </a:solidFill>
              </a:rPr>
              <a:t>www.itaka-project.eu</a:t>
            </a:r>
          </a:p>
        </p:txBody>
      </p:sp>
      <p:sp>
        <p:nvSpPr>
          <p:cNvPr id="42" name="41 Rectángulo"/>
          <p:cNvSpPr/>
          <p:nvPr/>
        </p:nvSpPr>
        <p:spPr>
          <a:xfrm>
            <a:off x="323528" y="1869672"/>
            <a:ext cx="3550844" cy="523220"/>
          </a:xfrm>
          <a:prstGeom prst="rect">
            <a:avLst/>
          </a:prstGeom>
        </p:spPr>
        <p:txBody>
          <a:bodyPr wrap="none">
            <a:spAutoFit/>
          </a:bodyPr>
          <a:lstStyle/>
          <a:p>
            <a:pPr defTabSz="914400" fontAlgn="base">
              <a:spcBef>
                <a:spcPct val="0"/>
              </a:spcBef>
              <a:spcAft>
                <a:spcPct val="0"/>
              </a:spcAft>
              <a:defRPr/>
            </a:pPr>
            <a:r>
              <a:rPr lang="en-US" sz="2800" b="1" dirty="0" smtClean="0">
                <a:solidFill>
                  <a:srgbClr val="4BACC6">
                    <a:lumMod val="75000"/>
                  </a:srgbClr>
                </a:solidFill>
              </a:rPr>
              <a:t>www.bioqueroseno.es</a:t>
            </a:r>
          </a:p>
        </p:txBody>
      </p:sp>
      <p:pic>
        <p:nvPicPr>
          <p:cNvPr id="43" name="Picture 2" descr="http://senasaaldia.senasa.es/wiki/docs/7_LOG_SEN.jpg">
            <a:hlinkClick r:id="rId12"/>
          </p:cNvPr>
          <p:cNvPicPr>
            <a:picLocks noChangeAspect="1" noChangeArrowheads="1"/>
          </p:cNvPicPr>
          <p:nvPr/>
        </p:nvPicPr>
        <p:blipFill>
          <a:blip r:embed="rId13" cstate="screen"/>
          <a:srcRect/>
          <a:stretch>
            <a:fillRect/>
          </a:stretch>
        </p:blipFill>
        <p:spPr bwMode="auto">
          <a:xfrm>
            <a:off x="4644008" y="3939902"/>
            <a:ext cx="2045062" cy="338699"/>
          </a:xfrm>
          <a:prstGeom prst="rect">
            <a:avLst/>
          </a:prstGeom>
          <a:noFill/>
        </p:spPr>
      </p:pic>
      <p:sp>
        <p:nvSpPr>
          <p:cNvPr id="44" name="1 Título"/>
          <p:cNvSpPr txBox="1">
            <a:spLocks/>
          </p:cNvSpPr>
          <p:nvPr/>
        </p:nvSpPr>
        <p:spPr>
          <a:xfrm>
            <a:off x="4719981" y="2643758"/>
            <a:ext cx="3960440" cy="1080120"/>
          </a:xfrm>
          <a:prstGeom prst="rect">
            <a:avLst/>
          </a:prstGeom>
        </p:spPr>
        <p:txBody>
          <a:bodyPr/>
          <a:lstStyle/>
          <a:p>
            <a:pPr defTabSz="914400" fontAlgn="base">
              <a:spcBef>
                <a:spcPct val="0"/>
              </a:spcBef>
              <a:spcAft>
                <a:spcPct val="0"/>
              </a:spcAft>
              <a:defRPr/>
            </a:pPr>
            <a:r>
              <a:rPr lang="en-US" sz="2000" b="1" dirty="0" smtClean="0">
                <a:solidFill>
                  <a:srgbClr val="4BACC6">
                    <a:lumMod val="75000"/>
                  </a:srgbClr>
                </a:solidFill>
              </a:rPr>
              <a:t>CÉSAR VELARDE</a:t>
            </a:r>
          </a:p>
          <a:p>
            <a:pPr defTabSz="914400" fontAlgn="base">
              <a:spcBef>
                <a:spcPct val="0"/>
              </a:spcBef>
              <a:spcAft>
                <a:spcPct val="0"/>
              </a:spcAft>
              <a:defRPr/>
            </a:pPr>
            <a:r>
              <a:rPr lang="en-US" sz="2000" b="1" dirty="0" smtClean="0">
                <a:solidFill>
                  <a:prstClr val="black">
                    <a:lumMod val="65000"/>
                    <a:lumOff val="35000"/>
                  </a:prstClr>
                </a:solidFill>
              </a:rPr>
              <a:t>Manager, Observatory of Sustainability in Aviation (OBSA)</a:t>
            </a:r>
          </a:p>
          <a:p>
            <a:pPr defTabSz="914400" fontAlgn="base">
              <a:spcBef>
                <a:spcPct val="0"/>
              </a:spcBef>
              <a:spcAft>
                <a:spcPct val="0"/>
              </a:spcAft>
              <a:defRPr/>
            </a:pPr>
            <a:r>
              <a:rPr lang="en-US" sz="2000" b="1" dirty="0" smtClean="0">
                <a:solidFill>
                  <a:srgbClr val="4BACC6">
                    <a:lumMod val="75000"/>
                  </a:srgbClr>
                </a:solidFill>
              </a:rPr>
              <a:t>cvelarde@senasa.es</a:t>
            </a:r>
          </a:p>
        </p:txBody>
      </p:sp>
      <p:pic>
        <p:nvPicPr>
          <p:cNvPr id="62468" name="Picture 4" descr="Itaka"/>
          <p:cNvPicPr>
            <a:picLocks noChangeAspect="1" noChangeArrowheads="1"/>
          </p:cNvPicPr>
          <p:nvPr/>
        </p:nvPicPr>
        <p:blipFill>
          <a:blip r:embed="rId14" cstate="print"/>
          <a:srcRect/>
          <a:stretch>
            <a:fillRect/>
          </a:stretch>
        </p:blipFill>
        <p:spPr bwMode="auto">
          <a:xfrm>
            <a:off x="467544" y="2301721"/>
            <a:ext cx="3312368" cy="776336"/>
          </a:xfrm>
          <a:prstGeom prst="rect">
            <a:avLst/>
          </a:prstGeom>
          <a:noFill/>
        </p:spPr>
      </p:pic>
      <p:sp>
        <p:nvSpPr>
          <p:cNvPr id="45" name="44 Rectángulo"/>
          <p:cNvSpPr/>
          <p:nvPr/>
        </p:nvSpPr>
        <p:spPr>
          <a:xfrm>
            <a:off x="539552" y="4114618"/>
            <a:ext cx="3264868" cy="523220"/>
          </a:xfrm>
          <a:prstGeom prst="rect">
            <a:avLst/>
          </a:prstGeom>
        </p:spPr>
        <p:txBody>
          <a:bodyPr wrap="none">
            <a:spAutoFit/>
          </a:bodyPr>
          <a:lstStyle/>
          <a:p>
            <a:pPr defTabSz="914400"/>
            <a:r>
              <a:rPr lang="es-ES" sz="2800" b="1" dirty="0" smtClean="0">
                <a:solidFill>
                  <a:srgbClr val="4BACC6">
                    <a:lumMod val="75000"/>
                  </a:srgbClr>
                </a:solidFill>
              </a:rPr>
              <a:t>www.core-jetfuel.eu</a:t>
            </a:r>
          </a:p>
        </p:txBody>
      </p:sp>
      <p:pic>
        <p:nvPicPr>
          <p:cNvPr id="62469" name="Picture 5"/>
          <p:cNvPicPr>
            <a:picLocks noChangeAspect="1" noChangeArrowheads="1"/>
          </p:cNvPicPr>
          <p:nvPr/>
        </p:nvPicPr>
        <p:blipFill>
          <a:blip r:embed="rId15" cstate="print"/>
          <a:srcRect/>
          <a:stretch>
            <a:fillRect/>
          </a:stretch>
        </p:blipFill>
        <p:spPr bwMode="auto">
          <a:xfrm>
            <a:off x="323529" y="3597864"/>
            <a:ext cx="3744417" cy="516754"/>
          </a:xfrm>
          <a:prstGeom prst="rect">
            <a:avLst/>
          </a:prstGeom>
          <a:noFill/>
          <a:ln w="9525">
            <a:noFill/>
            <a:miter lim="800000"/>
            <a:headEnd/>
            <a:tailEnd/>
          </a:ln>
        </p:spPr>
      </p:pic>
      <p:sp>
        <p:nvSpPr>
          <p:cNvPr id="24" name="23 Rectángulo"/>
          <p:cNvSpPr/>
          <p:nvPr/>
        </p:nvSpPr>
        <p:spPr>
          <a:xfrm>
            <a:off x="4644008" y="1275606"/>
            <a:ext cx="4083682" cy="400110"/>
          </a:xfrm>
          <a:prstGeom prst="rect">
            <a:avLst/>
          </a:prstGeom>
        </p:spPr>
        <p:txBody>
          <a:bodyPr wrap="none">
            <a:spAutoFit/>
          </a:bodyPr>
          <a:lstStyle/>
          <a:p>
            <a:pPr defTabSz="914400" fontAlgn="base">
              <a:spcBef>
                <a:spcPct val="0"/>
              </a:spcBef>
              <a:spcAft>
                <a:spcPct val="0"/>
              </a:spcAft>
              <a:defRPr/>
            </a:pPr>
            <a:r>
              <a:rPr lang="en-US" sz="2000" b="1" i="1" dirty="0" smtClean="0">
                <a:solidFill>
                  <a:srgbClr val="4BACC6">
                    <a:lumMod val="75000"/>
                  </a:srgbClr>
                </a:solidFill>
              </a:rPr>
              <a:t>SUSTAINABLE AVIATION FUELS WEEK</a:t>
            </a:r>
          </a:p>
        </p:txBody>
      </p:sp>
      <p:sp>
        <p:nvSpPr>
          <p:cNvPr id="25" name="24 Cerrar llave"/>
          <p:cNvSpPr/>
          <p:nvPr/>
        </p:nvSpPr>
        <p:spPr>
          <a:xfrm>
            <a:off x="3851920" y="1167594"/>
            <a:ext cx="648073" cy="3780420"/>
          </a:xfrm>
          <a:prstGeom prst="rightBrace">
            <a:avLst>
              <a:gd name="adj1" fmla="val 8333"/>
              <a:gd name="adj2" fmla="val 8109"/>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s-ES">
              <a:solidFill>
                <a:prstClr val="black"/>
              </a:solidFill>
            </a:endParaRPr>
          </a:p>
        </p:txBody>
      </p:sp>
      <p:pic>
        <p:nvPicPr>
          <p:cNvPr id="2052" name="Picture 4" descr="http://upload.wikimedia.org/wikipedia/commons/b/bb/Plaza_Mayor_de_Madrid_02.jpg"/>
          <p:cNvPicPr>
            <a:picLocks noChangeAspect="1" noChangeArrowheads="1"/>
          </p:cNvPicPr>
          <p:nvPr/>
        </p:nvPicPr>
        <p:blipFill>
          <a:blip r:embed="rId16" cstate="print"/>
          <a:srcRect/>
          <a:stretch>
            <a:fillRect/>
          </a:stretch>
        </p:blipFill>
        <p:spPr bwMode="auto">
          <a:xfrm>
            <a:off x="4788025" y="1599642"/>
            <a:ext cx="1936215" cy="972108"/>
          </a:xfrm>
          <a:prstGeom prst="rect">
            <a:avLst/>
          </a:prstGeom>
          <a:noFill/>
        </p:spPr>
      </p:pic>
      <p:sp>
        <p:nvSpPr>
          <p:cNvPr id="30" name="29 Rectángulo"/>
          <p:cNvSpPr/>
          <p:nvPr/>
        </p:nvSpPr>
        <p:spPr>
          <a:xfrm>
            <a:off x="6732241" y="1545636"/>
            <a:ext cx="2653051" cy="707886"/>
          </a:xfrm>
          <a:prstGeom prst="rect">
            <a:avLst/>
          </a:prstGeom>
        </p:spPr>
        <p:txBody>
          <a:bodyPr wrap="square">
            <a:spAutoFit/>
          </a:bodyPr>
          <a:lstStyle/>
          <a:p>
            <a:pPr defTabSz="914400" fontAlgn="base">
              <a:spcBef>
                <a:spcPct val="0"/>
              </a:spcBef>
              <a:spcAft>
                <a:spcPct val="0"/>
              </a:spcAft>
              <a:defRPr/>
            </a:pPr>
            <a:r>
              <a:rPr lang="en-US" sz="2000" b="1" dirty="0" smtClean="0">
                <a:solidFill>
                  <a:prstClr val="black">
                    <a:lumMod val="65000"/>
                    <a:lumOff val="35000"/>
                  </a:prstClr>
                </a:solidFill>
              </a:rPr>
              <a:t>MADRID, </a:t>
            </a:r>
          </a:p>
          <a:p>
            <a:pPr defTabSz="914400" fontAlgn="base">
              <a:spcBef>
                <a:spcPct val="0"/>
              </a:spcBef>
              <a:spcAft>
                <a:spcPct val="0"/>
              </a:spcAft>
              <a:defRPr/>
            </a:pPr>
            <a:r>
              <a:rPr lang="en-US" sz="2000" b="1" dirty="0" smtClean="0">
                <a:solidFill>
                  <a:prstClr val="black">
                    <a:lumMod val="65000"/>
                    <a:lumOff val="35000"/>
                  </a:prstClr>
                </a:solidFill>
              </a:rPr>
              <a:t>21-24 October 2014</a:t>
            </a:r>
          </a:p>
        </p:txBody>
      </p:sp>
      <p:pic>
        <p:nvPicPr>
          <p:cNvPr id="31" name="Picture 2" descr="http://manulegarreta.files.wordpress.com/2012/06/20081113143027-logo-ue1.gif"/>
          <p:cNvPicPr>
            <a:picLocks noChangeAspect="1" noChangeArrowheads="1"/>
          </p:cNvPicPr>
          <p:nvPr/>
        </p:nvPicPr>
        <p:blipFill>
          <a:blip r:embed="rId17" cstate="print"/>
          <a:srcRect/>
          <a:stretch>
            <a:fillRect/>
          </a:stretch>
        </p:blipFill>
        <p:spPr bwMode="auto">
          <a:xfrm>
            <a:off x="6852374" y="2273899"/>
            <a:ext cx="864096" cy="441867"/>
          </a:xfrm>
          <a:prstGeom prst="rect">
            <a:avLst/>
          </a:prstGeom>
          <a:noFill/>
        </p:spPr>
      </p:pic>
      <p:sp>
        <p:nvSpPr>
          <p:cNvPr id="32" name="31 Rectángulo"/>
          <p:cNvSpPr/>
          <p:nvPr/>
        </p:nvSpPr>
        <p:spPr>
          <a:xfrm>
            <a:off x="958814" y="4569972"/>
            <a:ext cx="2533066" cy="615553"/>
          </a:xfrm>
          <a:prstGeom prst="rect">
            <a:avLst/>
          </a:prstGeom>
        </p:spPr>
        <p:txBody>
          <a:bodyPr wrap="none">
            <a:spAutoFit/>
          </a:bodyPr>
          <a:lstStyle/>
          <a:p>
            <a:pPr defTabSz="914400"/>
            <a:r>
              <a:rPr lang="fr-FR" altLang="en-US" sz="3400" b="1" kern="0" dirty="0" smtClean="0">
                <a:solidFill>
                  <a:srgbClr val="1F85B7"/>
                </a:solidFill>
                <a:latin typeface="Arial"/>
                <a:cs typeface="Arial"/>
              </a:rPr>
              <a:t>FORUM-AE</a:t>
            </a:r>
            <a:endParaRPr lang="es-ES" dirty="0">
              <a:solidFill>
                <a:prstClr val="black"/>
              </a:solidFill>
            </a:endParaRPr>
          </a:p>
        </p:txBody>
      </p:sp>
    </p:spTree>
    <p:extLst>
      <p:ext uri="{BB962C8B-B14F-4D97-AF65-F5344CB8AC3E}">
        <p14:creationId xmlns:p14="http://schemas.microsoft.com/office/powerpoint/2010/main" val="260405744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pPr eaLnBrk="1" hangingPunct="1"/>
            <a:r>
              <a:rPr lang="en-US" b="1" dirty="0" smtClean="0"/>
              <a:t>ICAO Environmental Goals</a:t>
            </a:r>
            <a:endParaRPr lang="en-GB" b="1" dirty="0" smtClean="0"/>
          </a:p>
        </p:txBody>
      </p:sp>
      <p:graphicFrame>
        <p:nvGraphicFramePr>
          <p:cNvPr id="7" name="Diagram 6"/>
          <p:cNvGraphicFramePr/>
          <p:nvPr>
            <p:extLst>
              <p:ext uri="{D42A27DB-BD31-4B8C-83A1-F6EECF244321}">
                <p14:modId xmlns:p14="http://schemas.microsoft.com/office/powerpoint/2010/main" val="3243686279"/>
              </p:ext>
            </p:extLst>
          </p:nvPr>
        </p:nvGraphicFramePr>
        <p:xfrm>
          <a:off x="467544" y="857250"/>
          <a:ext cx="8062784" cy="3429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p:cNvGraphicFramePr/>
          <p:nvPr>
            <p:extLst>
              <p:ext uri="{D42A27DB-BD31-4B8C-83A1-F6EECF244321}">
                <p14:modId xmlns:p14="http://schemas.microsoft.com/office/powerpoint/2010/main" val="3173799979"/>
              </p:ext>
            </p:extLst>
          </p:nvPr>
        </p:nvGraphicFramePr>
        <p:xfrm>
          <a:off x="755577" y="3771900"/>
          <a:ext cx="7800975" cy="101123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3696504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CAO’s Role with Alternative Fuels</a:t>
            </a:r>
            <a:endParaRPr lang="en-GB" dirty="0"/>
          </a:p>
        </p:txBody>
      </p:sp>
      <p:sp>
        <p:nvSpPr>
          <p:cNvPr id="3" name="Content Placeholder 2"/>
          <p:cNvSpPr>
            <a:spLocks noGrp="1"/>
          </p:cNvSpPr>
          <p:nvPr>
            <p:ph idx="4294967295"/>
          </p:nvPr>
        </p:nvSpPr>
        <p:spPr>
          <a:xfrm>
            <a:off x="685800" y="1028701"/>
            <a:ext cx="8458200" cy="3394472"/>
          </a:xfrm>
        </p:spPr>
        <p:txBody>
          <a:bodyPr>
            <a:normAutofit fontScale="92500" lnSpcReduction="20000"/>
          </a:bodyPr>
          <a:lstStyle/>
          <a:p>
            <a:pPr lvl="8">
              <a:buNone/>
            </a:pPr>
            <a:r>
              <a:rPr lang="en-GB" dirty="0" smtClean="0"/>
              <a:t>	      </a:t>
            </a:r>
          </a:p>
          <a:p>
            <a:pPr lvl="8">
              <a:buNone/>
            </a:pPr>
            <a:endParaRPr lang="en-GB" dirty="0" smtClean="0"/>
          </a:p>
          <a:p>
            <a:pPr lvl="8">
              <a:buNone/>
            </a:pPr>
            <a:r>
              <a:rPr lang="en-GB" sz="4000" b="1" dirty="0" smtClean="0">
                <a:solidFill>
                  <a:schemeClr val="accent3">
                    <a:lumMod val="50000"/>
                  </a:schemeClr>
                </a:solidFill>
              </a:rPr>
              <a:t>ICAO is a FACILITATOR</a:t>
            </a:r>
          </a:p>
          <a:p>
            <a:pPr lvl="8"/>
            <a:r>
              <a:rPr lang="en-GB" sz="2800" dirty="0" smtClean="0">
                <a:solidFill>
                  <a:schemeClr val="tx1">
                    <a:lumMod val="95000"/>
                    <a:lumOff val="5000"/>
                  </a:schemeClr>
                </a:solidFill>
              </a:rPr>
              <a:t>Outreach</a:t>
            </a:r>
          </a:p>
          <a:p>
            <a:pPr lvl="8"/>
            <a:r>
              <a:rPr lang="en-GB" sz="2800" dirty="0" smtClean="0">
                <a:solidFill>
                  <a:schemeClr val="tx1">
                    <a:lumMod val="95000"/>
                    <a:lumOff val="5000"/>
                  </a:schemeClr>
                </a:solidFill>
              </a:rPr>
              <a:t>Information exchange </a:t>
            </a:r>
          </a:p>
          <a:p>
            <a:pPr lvl="8"/>
            <a:r>
              <a:rPr lang="en-GB" sz="2800" dirty="0" smtClean="0">
                <a:solidFill>
                  <a:schemeClr val="tx1">
                    <a:lumMod val="95000"/>
                    <a:lumOff val="5000"/>
                  </a:schemeClr>
                </a:solidFill>
              </a:rPr>
              <a:t>International collaboration</a:t>
            </a:r>
          </a:p>
          <a:p>
            <a:pPr lvl="8"/>
            <a:r>
              <a:rPr lang="en-GB" sz="2800" dirty="0" smtClean="0">
                <a:solidFill>
                  <a:schemeClr val="tx1">
                    <a:lumMod val="95000"/>
                    <a:lumOff val="5000"/>
                  </a:schemeClr>
                </a:solidFill>
              </a:rPr>
              <a:t>Broader view </a:t>
            </a:r>
          </a:p>
          <a:p>
            <a:pPr lvl="8"/>
            <a:r>
              <a:rPr lang="en-GB" sz="2800" b="1" dirty="0" smtClean="0">
                <a:solidFill>
                  <a:schemeClr val="tx1">
                    <a:lumMod val="95000"/>
                    <a:lumOff val="5000"/>
                  </a:schemeClr>
                </a:solidFill>
              </a:rPr>
              <a:t>Globally</a:t>
            </a:r>
            <a:endParaRPr lang="en-GB" sz="2800" b="1" dirty="0">
              <a:solidFill>
                <a:schemeClr val="tx1">
                  <a:lumMod val="95000"/>
                  <a:lumOff val="5000"/>
                </a:schemeClr>
              </a:solidFill>
            </a:endParaRPr>
          </a:p>
        </p:txBody>
      </p:sp>
      <p:pic>
        <p:nvPicPr>
          <p:cNvPr id="15362" name="Picture 2" descr="Petrol Clip Art"/>
          <p:cNvPicPr>
            <a:picLocks noChangeAspect="1" noChangeArrowheads="1"/>
          </p:cNvPicPr>
          <p:nvPr/>
        </p:nvPicPr>
        <p:blipFill>
          <a:blip r:embed="rId3" cstate="print"/>
          <a:srcRect/>
          <a:stretch>
            <a:fillRect/>
          </a:stretch>
        </p:blipFill>
        <p:spPr bwMode="auto">
          <a:xfrm>
            <a:off x="14190663" y="-19531013"/>
            <a:ext cx="2857500" cy="2014538"/>
          </a:xfrm>
          <a:prstGeom prst="rect">
            <a:avLst/>
          </a:prstGeom>
          <a:noFill/>
        </p:spPr>
      </p:pic>
      <p:pic>
        <p:nvPicPr>
          <p:cNvPr id="15364" name="Picture 4" descr="Petrol Clip Art"/>
          <p:cNvPicPr>
            <a:picLocks noChangeAspect="1" noChangeArrowheads="1"/>
          </p:cNvPicPr>
          <p:nvPr/>
        </p:nvPicPr>
        <p:blipFill>
          <a:blip r:embed="rId3" cstate="print"/>
          <a:srcRect/>
          <a:stretch>
            <a:fillRect/>
          </a:stretch>
        </p:blipFill>
        <p:spPr bwMode="auto">
          <a:xfrm>
            <a:off x="14190663" y="-19531013"/>
            <a:ext cx="2857500" cy="2014538"/>
          </a:xfrm>
          <a:prstGeom prst="rect">
            <a:avLst/>
          </a:prstGeom>
          <a:noFill/>
        </p:spPr>
      </p:pic>
      <p:sp>
        <p:nvSpPr>
          <p:cNvPr id="188" name="Title 1"/>
          <p:cNvSpPr txBox="1">
            <a:spLocks/>
          </p:cNvSpPr>
          <p:nvPr/>
        </p:nvSpPr>
        <p:spPr>
          <a:xfrm>
            <a:off x="685800" y="0"/>
            <a:ext cx="8229600" cy="857250"/>
          </a:xfrm>
          <a:prstGeom prst="rect">
            <a:avLst/>
          </a:prstGeom>
        </p:spPr>
        <p:txBody>
          <a:bodyPr vert="horz" lIns="91440" tIns="45720" rIns="91440" bIns="45720" rtlCol="0" anchor="ctr">
            <a:normAutofit/>
          </a:bodyPr>
          <a:lstStyle/>
          <a:p>
            <a:pPr algn="ctr" defTabSz="914400">
              <a:spcBef>
                <a:spcPct val="0"/>
              </a:spcBef>
              <a:defRPr/>
            </a:pPr>
            <a:endParaRPr lang="en-GB" sz="4400" dirty="0" smtClean="0">
              <a:solidFill>
                <a:prstClr val="black"/>
              </a:solidFill>
            </a:endParaRPr>
          </a:p>
        </p:txBody>
      </p:sp>
      <p:pic>
        <p:nvPicPr>
          <p:cNvPr id="15374" name="Picture 14"/>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09600" y="1485900"/>
            <a:ext cx="2571750" cy="2721769"/>
          </a:xfrm>
          <a:prstGeom prst="rect">
            <a:avLst/>
          </a:prstGeom>
          <a:noFill/>
          <a:ln w="9525">
            <a:noFill/>
            <a:miter lim="800000"/>
            <a:headEnd/>
            <a:tailEnd/>
          </a:ln>
        </p:spPr>
      </p:pic>
      <p:sp>
        <p:nvSpPr>
          <p:cNvPr id="91" name="TextBox 90"/>
          <p:cNvSpPr txBox="1"/>
          <p:nvPr/>
        </p:nvSpPr>
        <p:spPr>
          <a:xfrm>
            <a:off x="1447800" y="2800350"/>
            <a:ext cx="1219200" cy="646331"/>
          </a:xfrm>
          <a:prstGeom prst="rect">
            <a:avLst/>
          </a:prstGeom>
          <a:noFill/>
        </p:spPr>
        <p:txBody>
          <a:bodyPr wrap="square" rtlCol="0">
            <a:spAutoFit/>
          </a:bodyPr>
          <a:lstStyle/>
          <a:p>
            <a:pPr defTabSz="914400"/>
            <a:r>
              <a:rPr lang="en-GB" sz="3600" b="1" dirty="0" smtClean="0">
                <a:solidFill>
                  <a:prstClr val="white"/>
                </a:solidFill>
              </a:rPr>
              <a:t>ICAO</a:t>
            </a:r>
            <a:endParaRPr lang="en-GB" sz="3600" b="1" dirty="0">
              <a:solidFill>
                <a:prstClr val="white"/>
              </a:solidFill>
            </a:endParaRPr>
          </a:p>
        </p:txBody>
      </p:sp>
      <p:grpSp>
        <p:nvGrpSpPr>
          <p:cNvPr id="98" name="Group 9"/>
          <p:cNvGrpSpPr>
            <a:grpSpLocks/>
          </p:cNvGrpSpPr>
          <p:nvPr/>
        </p:nvGrpSpPr>
        <p:grpSpPr bwMode="auto">
          <a:xfrm>
            <a:off x="1600201" y="3257551"/>
            <a:ext cx="841375" cy="507206"/>
            <a:chOff x="144" y="118"/>
            <a:chExt cx="578" cy="474"/>
          </a:xfrm>
        </p:grpSpPr>
        <p:sp>
          <p:nvSpPr>
            <p:cNvPr id="99" name="Freeform 10"/>
            <p:cNvSpPr>
              <a:spLocks/>
            </p:cNvSpPr>
            <p:nvPr/>
          </p:nvSpPr>
          <p:spPr bwMode="auto">
            <a:xfrm>
              <a:off x="224" y="243"/>
              <a:ext cx="33" cy="19"/>
            </a:xfrm>
            <a:custGeom>
              <a:avLst/>
              <a:gdLst/>
              <a:ahLst/>
              <a:cxnLst>
                <a:cxn ang="0">
                  <a:pos x="560" y="245"/>
                </a:cxn>
                <a:cxn ang="0">
                  <a:pos x="35" y="0"/>
                </a:cxn>
                <a:cxn ang="0">
                  <a:pos x="0" y="77"/>
                </a:cxn>
                <a:cxn ang="0">
                  <a:pos x="525" y="322"/>
                </a:cxn>
                <a:cxn ang="0">
                  <a:pos x="560" y="245"/>
                </a:cxn>
              </a:cxnLst>
              <a:rect l="0" t="0" r="r" b="b"/>
              <a:pathLst>
                <a:path w="560" h="322">
                  <a:moveTo>
                    <a:pt x="560" y="245"/>
                  </a:moveTo>
                  <a:lnTo>
                    <a:pt x="35" y="0"/>
                  </a:lnTo>
                  <a:lnTo>
                    <a:pt x="0" y="77"/>
                  </a:lnTo>
                  <a:lnTo>
                    <a:pt x="525" y="322"/>
                  </a:lnTo>
                  <a:lnTo>
                    <a:pt x="560" y="245"/>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00" name="Freeform 11"/>
            <p:cNvSpPr>
              <a:spLocks/>
            </p:cNvSpPr>
            <p:nvPr/>
          </p:nvSpPr>
          <p:spPr bwMode="auto">
            <a:xfrm>
              <a:off x="238" y="210"/>
              <a:ext cx="35" cy="35"/>
            </a:xfrm>
            <a:custGeom>
              <a:avLst/>
              <a:gdLst/>
              <a:ahLst/>
              <a:cxnLst>
                <a:cxn ang="0">
                  <a:pos x="306" y="0"/>
                </a:cxn>
                <a:cxn ang="0">
                  <a:pos x="239" y="6"/>
                </a:cxn>
                <a:cxn ang="0">
                  <a:pos x="197" y="18"/>
                </a:cxn>
                <a:cxn ang="0">
                  <a:pos x="146" y="42"/>
                </a:cxn>
                <a:cxn ang="0">
                  <a:pos x="106" y="72"/>
                </a:cxn>
                <a:cxn ang="0">
                  <a:pos x="74" y="104"/>
                </a:cxn>
                <a:cxn ang="0">
                  <a:pos x="50" y="133"/>
                </a:cxn>
                <a:cxn ang="0">
                  <a:pos x="23" y="186"/>
                </a:cxn>
                <a:cxn ang="0">
                  <a:pos x="5" y="241"/>
                </a:cxn>
                <a:cxn ang="0">
                  <a:pos x="0" y="298"/>
                </a:cxn>
                <a:cxn ang="0">
                  <a:pos x="4" y="355"/>
                </a:cxn>
                <a:cxn ang="0">
                  <a:pos x="21" y="410"/>
                </a:cxn>
                <a:cxn ang="0">
                  <a:pos x="47" y="462"/>
                </a:cxn>
                <a:cxn ang="0">
                  <a:pos x="84" y="508"/>
                </a:cxn>
                <a:cxn ang="0">
                  <a:pos x="131" y="548"/>
                </a:cxn>
                <a:cxn ang="0">
                  <a:pos x="185" y="576"/>
                </a:cxn>
                <a:cxn ang="0">
                  <a:pos x="241" y="593"/>
                </a:cxn>
                <a:cxn ang="0">
                  <a:pos x="299" y="599"/>
                </a:cxn>
                <a:cxn ang="0">
                  <a:pos x="357" y="594"/>
                </a:cxn>
                <a:cxn ang="0">
                  <a:pos x="412" y="578"/>
                </a:cxn>
                <a:cxn ang="0">
                  <a:pos x="464" y="553"/>
                </a:cxn>
                <a:cxn ang="0">
                  <a:pos x="510" y="516"/>
                </a:cxn>
                <a:cxn ang="0">
                  <a:pos x="549" y="470"/>
                </a:cxn>
                <a:cxn ang="0">
                  <a:pos x="582" y="408"/>
                </a:cxn>
                <a:cxn ang="0">
                  <a:pos x="597" y="353"/>
                </a:cxn>
                <a:cxn ang="0">
                  <a:pos x="601" y="314"/>
                </a:cxn>
                <a:cxn ang="0">
                  <a:pos x="600" y="273"/>
                </a:cxn>
                <a:cxn ang="0">
                  <a:pos x="592" y="231"/>
                </a:cxn>
                <a:cxn ang="0">
                  <a:pos x="578" y="188"/>
                </a:cxn>
                <a:cxn ang="0">
                  <a:pos x="510" y="252"/>
                </a:cxn>
                <a:cxn ang="0">
                  <a:pos x="518" y="297"/>
                </a:cxn>
                <a:cxn ang="0">
                  <a:pos x="517" y="343"/>
                </a:cxn>
                <a:cxn ang="0">
                  <a:pos x="506" y="386"/>
                </a:cxn>
                <a:cxn ang="0">
                  <a:pos x="485" y="426"/>
                </a:cxn>
                <a:cxn ang="0">
                  <a:pos x="458" y="458"/>
                </a:cxn>
                <a:cxn ang="0">
                  <a:pos x="425" y="484"/>
                </a:cxn>
                <a:cxn ang="0">
                  <a:pos x="387" y="503"/>
                </a:cxn>
                <a:cxn ang="0">
                  <a:pos x="347" y="513"/>
                </a:cxn>
                <a:cxn ang="0">
                  <a:pos x="305" y="517"/>
                </a:cxn>
                <a:cxn ang="0">
                  <a:pos x="262" y="512"/>
                </a:cxn>
                <a:cxn ang="0">
                  <a:pos x="220" y="499"/>
                </a:cxn>
                <a:cxn ang="0">
                  <a:pos x="180" y="477"/>
                </a:cxn>
                <a:cxn ang="0">
                  <a:pos x="145" y="449"/>
                </a:cxn>
                <a:cxn ang="0">
                  <a:pos x="118" y="416"/>
                </a:cxn>
                <a:cxn ang="0">
                  <a:pos x="97" y="378"/>
                </a:cxn>
                <a:cxn ang="0">
                  <a:pos x="84" y="338"/>
                </a:cxn>
                <a:cxn ang="0">
                  <a:pos x="80" y="297"/>
                </a:cxn>
                <a:cxn ang="0">
                  <a:pos x="83" y="255"/>
                </a:cxn>
                <a:cxn ang="0">
                  <a:pos x="96" y="214"/>
                </a:cxn>
                <a:cxn ang="0">
                  <a:pos x="116" y="175"/>
                </a:cxn>
                <a:cxn ang="0">
                  <a:pos x="137" y="149"/>
                </a:cxn>
                <a:cxn ang="0">
                  <a:pos x="182" y="114"/>
                </a:cxn>
                <a:cxn ang="0">
                  <a:pos x="227" y="95"/>
                </a:cxn>
                <a:cxn ang="0">
                  <a:pos x="275" y="86"/>
                </a:cxn>
              </a:cxnLst>
              <a:rect l="0" t="0" r="r" b="b"/>
              <a:pathLst>
                <a:path w="601" h="599">
                  <a:moveTo>
                    <a:pt x="331" y="1"/>
                  </a:moveTo>
                  <a:lnTo>
                    <a:pt x="306" y="0"/>
                  </a:lnTo>
                  <a:lnTo>
                    <a:pt x="276" y="0"/>
                  </a:lnTo>
                  <a:lnTo>
                    <a:pt x="239" y="6"/>
                  </a:lnTo>
                  <a:lnTo>
                    <a:pt x="219" y="11"/>
                  </a:lnTo>
                  <a:lnTo>
                    <a:pt x="197" y="18"/>
                  </a:lnTo>
                  <a:lnTo>
                    <a:pt x="170" y="29"/>
                  </a:lnTo>
                  <a:lnTo>
                    <a:pt x="146" y="42"/>
                  </a:lnTo>
                  <a:lnTo>
                    <a:pt x="125" y="56"/>
                  </a:lnTo>
                  <a:lnTo>
                    <a:pt x="106" y="72"/>
                  </a:lnTo>
                  <a:lnTo>
                    <a:pt x="88" y="88"/>
                  </a:lnTo>
                  <a:lnTo>
                    <a:pt x="74" y="104"/>
                  </a:lnTo>
                  <a:lnTo>
                    <a:pt x="61" y="119"/>
                  </a:lnTo>
                  <a:lnTo>
                    <a:pt x="50" y="133"/>
                  </a:lnTo>
                  <a:lnTo>
                    <a:pt x="36" y="159"/>
                  </a:lnTo>
                  <a:lnTo>
                    <a:pt x="23" y="186"/>
                  </a:lnTo>
                  <a:lnTo>
                    <a:pt x="13" y="213"/>
                  </a:lnTo>
                  <a:lnTo>
                    <a:pt x="5" y="241"/>
                  </a:lnTo>
                  <a:lnTo>
                    <a:pt x="1" y="270"/>
                  </a:lnTo>
                  <a:lnTo>
                    <a:pt x="0" y="298"/>
                  </a:lnTo>
                  <a:lnTo>
                    <a:pt x="1" y="327"/>
                  </a:lnTo>
                  <a:lnTo>
                    <a:pt x="4" y="355"/>
                  </a:lnTo>
                  <a:lnTo>
                    <a:pt x="12" y="384"/>
                  </a:lnTo>
                  <a:lnTo>
                    <a:pt x="21" y="410"/>
                  </a:lnTo>
                  <a:lnTo>
                    <a:pt x="33" y="436"/>
                  </a:lnTo>
                  <a:lnTo>
                    <a:pt x="47" y="462"/>
                  </a:lnTo>
                  <a:lnTo>
                    <a:pt x="64" y="486"/>
                  </a:lnTo>
                  <a:lnTo>
                    <a:pt x="84" y="508"/>
                  </a:lnTo>
                  <a:lnTo>
                    <a:pt x="106" y="529"/>
                  </a:lnTo>
                  <a:lnTo>
                    <a:pt x="131" y="548"/>
                  </a:lnTo>
                  <a:lnTo>
                    <a:pt x="158" y="564"/>
                  </a:lnTo>
                  <a:lnTo>
                    <a:pt x="185" y="576"/>
                  </a:lnTo>
                  <a:lnTo>
                    <a:pt x="212" y="586"/>
                  </a:lnTo>
                  <a:lnTo>
                    <a:pt x="241" y="593"/>
                  </a:lnTo>
                  <a:lnTo>
                    <a:pt x="270" y="597"/>
                  </a:lnTo>
                  <a:lnTo>
                    <a:pt x="299" y="599"/>
                  </a:lnTo>
                  <a:lnTo>
                    <a:pt x="328" y="598"/>
                  </a:lnTo>
                  <a:lnTo>
                    <a:pt x="357" y="594"/>
                  </a:lnTo>
                  <a:lnTo>
                    <a:pt x="385" y="588"/>
                  </a:lnTo>
                  <a:lnTo>
                    <a:pt x="412" y="578"/>
                  </a:lnTo>
                  <a:lnTo>
                    <a:pt x="439" y="567"/>
                  </a:lnTo>
                  <a:lnTo>
                    <a:pt x="464" y="553"/>
                  </a:lnTo>
                  <a:lnTo>
                    <a:pt x="488" y="536"/>
                  </a:lnTo>
                  <a:lnTo>
                    <a:pt x="510" y="516"/>
                  </a:lnTo>
                  <a:lnTo>
                    <a:pt x="530" y="494"/>
                  </a:lnTo>
                  <a:lnTo>
                    <a:pt x="549" y="470"/>
                  </a:lnTo>
                  <a:lnTo>
                    <a:pt x="566" y="440"/>
                  </a:lnTo>
                  <a:lnTo>
                    <a:pt x="582" y="408"/>
                  </a:lnTo>
                  <a:lnTo>
                    <a:pt x="592" y="372"/>
                  </a:lnTo>
                  <a:lnTo>
                    <a:pt x="597" y="353"/>
                  </a:lnTo>
                  <a:lnTo>
                    <a:pt x="600" y="334"/>
                  </a:lnTo>
                  <a:lnTo>
                    <a:pt x="601" y="314"/>
                  </a:lnTo>
                  <a:lnTo>
                    <a:pt x="601" y="294"/>
                  </a:lnTo>
                  <a:lnTo>
                    <a:pt x="600" y="273"/>
                  </a:lnTo>
                  <a:lnTo>
                    <a:pt x="597" y="252"/>
                  </a:lnTo>
                  <a:lnTo>
                    <a:pt x="592" y="231"/>
                  </a:lnTo>
                  <a:lnTo>
                    <a:pt x="586" y="209"/>
                  </a:lnTo>
                  <a:lnTo>
                    <a:pt x="578" y="188"/>
                  </a:lnTo>
                  <a:lnTo>
                    <a:pt x="568" y="166"/>
                  </a:lnTo>
                  <a:lnTo>
                    <a:pt x="510" y="252"/>
                  </a:lnTo>
                  <a:lnTo>
                    <a:pt x="514" y="274"/>
                  </a:lnTo>
                  <a:lnTo>
                    <a:pt x="518" y="297"/>
                  </a:lnTo>
                  <a:lnTo>
                    <a:pt x="519" y="320"/>
                  </a:lnTo>
                  <a:lnTo>
                    <a:pt x="517" y="343"/>
                  </a:lnTo>
                  <a:lnTo>
                    <a:pt x="512" y="365"/>
                  </a:lnTo>
                  <a:lnTo>
                    <a:pt x="506" y="386"/>
                  </a:lnTo>
                  <a:lnTo>
                    <a:pt x="497" y="407"/>
                  </a:lnTo>
                  <a:lnTo>
                    <a:pt x="485" y="426"/>
                  </a:lnTo>
                  <a:lnTo>
                    <a:pt x="472" y="443"/>
                  </a:lnTo>
                  <a:lnTo>
                    <a:pt x="458" y="458"/>
                  </a:lnTo>
                  <a:lnTo>
                    <a:pt x="442" y="472"/>
                  </a:lnTo>
                  <a:lnTo>
                    <a:pt x="425" y="484"/>
                  </a:lnTo>
                  <a:lnTo>
                    <a:pt x="407" y="494"/>
                  </a:lnTo>
                  <a:lnTo>
                    <a:pt x="387" y="503"/>
                  </a:lnTo>
                  <a:lnTo>
                    <a:pt x="367" y="509"/>
                  </a:lnTo>
                  <a:lnTo>
                    <a:pt x="347" y="513"/>
                  </a:lnTo>
                  <a:lnTo>
                    <a:pt x="326" y="516"/>
                  </a:lnTo>
                  <a:lnTo>
                    <a:pt x="305" y="517"/>
                  </a:lnTo>
                  <a:lnTo>
                    <a:pt x="283" y="515"/>
                  </a:lnTo>
                  <a:lnTo>
                    <a:pt x="262" y="512"/>
                  </a:lnTo>
                  <a:lnTo>
                    <a:pt x="241" y="507"/>
                  </a:lnTo>
                  <a:lnTo>
                    <a:pt x="220" y="499"/>
                  </a:lnTo>
                  <a:lnTo>
                    <a:pt x="199" y="490"/>
                  </a:lnTo>
                  <a:lnTo>
                    <a:pt x="180" y="477"/>
                  </a:lnTo>
                  <a:lnTo>
                    <a:pt x="161" y="465"/>
                  </a:lnTo>
                  <a:lnTo>
                    <a:pt x="145" y="449"/>
                  </a:lnTo>
                  <a:lnTo>
                    <a:pt x="130" y="433"/>
                  </a:lnTo>
                  <a:lnTo>
                    <a:pt x="118" y="416"/>
                  </a:lnTo>
                  <a:lnTo>
                    <a:pt x="106" y="397"/>
                  </a:lnTo>
                  <a:lnTo>
                    <a:pt x="97" y="378"/>
                  </a:lnTo>
                  <a:lnTo>
                    <a:pt x="89" y="358"/>
                  </a:lnTo>
                  <a:lnTo>
                    <a:pt x="84" y="338"/>
                  </a:lnTo>
                  <a:lnTo>
                    <a:pt x="81" y="317"/>
                  </a:lnTo>
                  <a:lnTo>
                    <a:pt x="80" y="297"/>
                  </a:lnTo>
                  <a:lnTo>
                    <a:pt x="81" y="276"/>
                  </a:lnTo>
                  <a:lnTo>
                    <a:pt x="83" y="255"/>
                  </a:lnTo>
                  <a:lnTo>
                    <a:pt x="88" y="234"/>
                  </a:lnTo>
                  <a:lnTo>
                    <a:pt x="96" y="214"/>
                  </a:lnTo>
                  <a:lnTo>
                    <a:pt x="104" y="194"/>
                  </a:lnTo>
                  <a:lnTo>
                    <a:pt x="116" y="175"/>
                  </a:lnTo>
                  <a:lnTo>
                    <a:pt x="126" y="161"/>
                  </a:lnTo>
                  <a:lnTo>
                    <a:pt x="137" y="149"/>
                  </a:lnTo>
                  <a:lnTo>
                    <a:pt x="160" y="129"/>
                  </a:lnTo>
                  <a:lnTo>
                    <a:pt x="182" y="114"/>
                  </a:lnTo>
                  <a:lnTo>
                    <a:pt x="205" y="103"/>
                  </a:lnTo>
                  <a:lnTo>
                    <a:pt x="227" y="95"/>
                  </a:lnTo>
                  <a:lnTo>
                    <a:pt x="246" y="90"/>
                  </a:lnTo>
                  <a:lnTo>
                    <a:pt x="275" y="86"/>
                  </a:lnTo>
                  <a:lnTo>
                    <a:pt x="331" y="1"/>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01" name="Freeform 12"/>
            <p:cNvSpPr>
              <a:spLocks noEditPoints="1"/>
            </p:cNvSpPr>
            <p:nvPr/>
          </p:nvSpPr>
          <p:spPr bwMode="auto">
            <a:xfrm>
              <a:off x="264" y="187"/>
              <a:ext cx="36" cy="36"/>
            </a:xfrm>
            <a:custGeom>
              <a:avLst/>
              <a:gdLst/>
              <a:ahLst/>
              <a:cxnLst>
                <a:cxn ang="0">
                  <a:pos x="619" y="253"/>
                </a:cxn>
                <a:cxn ang="0">
                  <a:pos x="54" y="0"/>
                </a:cxn>
                <a:cxn ang="0">
                  <a:pos x="0" y="53"/>
                </a:cxn>
                <a:cxn ang="0">
                  <a:pos x="255" y="619"/>
                </a:cxn>
                <a:cxn ang="0">
                  <a:pos x="318" y="555"/>
                </a:cxn>
                <a:cxn ang="0">
                  <a:pos x="242" y="389"/>
                </a:cxn>
                <a:cxn ang="0">
                  <a:pos x="389" y="242"/>
                </a:cxn>
                <a:cxn ang="0">
                  <a:pos x="555" y="317"/>
                </a:cxn>
                <a:cxn ang="0">
                  <a:pos x="619" y="253"/>
                </a:cxn>
                <a:cxn ang="0">
                  <a:pos x="208" y="313"/>
                </a:cxn>
                <a:cxn ang="0">
                  <a:pos x="104" y="104"/>
                </a:cxn>
                <a:cxn ang="0">
                  <a:pos x="105" y="103"/>
                </a:cxn>
                <a:cxn ang="0">
                  <a:pos x="313" y="208"/>
                </a:cxn>
                <a:cxn ang="0">
                  <a:pos x="208" y="313"/>
                </a:cxn>
              </a:cxnLst>
              <a:rect l="0" t="0" r="r" b="b"/>
              <a:pathLst>
                <a:path w="619" h="619">
                  <a:moveTo>
                    <a:pt x="619" y="253"/>
                  </a:moveTo>
                  <a:lnTo>
                    <a:pt x="54" y="0"/>
                  </a:lnTo>
                  <a:lnTo>
                    <a:pt x="0" y="53"/>
                  </a:lnTo>
                  <a:lnTo>
                    <a:pt x="255" y="619"/>
                  </a:lnTo>
                  <a:lnTo>
                    <a:pt x="318" y="555"/>
                  </a:lnTo>
                  <a:lnTo>
                    <a:pt x="242" y="389"/>
                  </a:lnTo>
                  <a:lnTo>
                    <a:pt x="389" y="242"/>
                  </a:lnTo>
                  <a:lnTo>
                    <a:pt x="555" y="317"/>
                  </a:lnTo>
                  <a:lnTo>
                    <a:pt x="619" y="253"/>
                  </a:lnTo>
                  <a:close/>
                  <a:moveTo>
                    <a:pt x="208" y="313"/>
                  </a:moveTo>
                  <a:lnTo>
                    <a:pt x="104" y="104"/>
                  </a:lnTo>
                  <a:lnTo>
                    <a:pt x="105" y="103"/>
                  </a:lnTo>
                  <a:lnTo>
                    <a:pt x="313" y="208"/>
                  </a:lnTo>
                  <a:lnTo>
                    <a:pt x="208" y="313"/>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02" name="Freeform 13"/>
            <p:cNvSpPr>
              <a:spLocks noEditPoints="1"/>
            </p:cNvSpPr>
            <p:nvPr/>
          </p:nvSpPr>
          <p:spPr bwMode="auto">
            <a:xfrm>
              <a:off x="288" y="158"/>
              <a:ext cx="35" cy="36"/>
            </a:xfrm>
            <a:custGeom>
              <a:avLst/>
              <a:gdLst/>
              <a:ahLst/>
              <a:cxnLst>
                <a:cxn ang="0">
                  <a:pos x="502" y="77"/>
                </a:cxn>
                <a:cxn ang="0">
                  <a:pos x="428" y="28"/>
                </a:cxn>
                <a:cxn ang="0">
                  <a:pos x="346" y="3"/>
                </a:cxn>
                <a:cxn ang="0">
                  <a:pos x="259" y="2"/>
                </a:cxn>
                <a:cxn ang="0">
                  <a:pos x="174" y="29"/>
                </a:cxn>
                <a:cxn ang="0">
                  <a:pos x="95" y="82"/>
                </a:cxn>
                <a:cxn ang="0">
                  <a:pos x="38" y="155"/>
                </a:cxn>
                <a:cxn ang="0">
                  <a:pos x="6" y="236"/>
                </a:cxn>
                <a:cxn ang="0">
                  <a:pos x="0" y="322"/>
                </a:cxn>
                <a:cxn ang="0">
                  <a:pos x="19" y="407"/>
                </a:cxn>
                <a:cxn ang="0">
                  <a:pos x="60" y="483"/>
                </a:cxn>
                <a:cxn ang="0">
                  <a:pos x="123" y="545"/>
                </a:cxn>
                <a:cxn ang="0">
                  <a:pos x="199" y="585"/>
                </a:cxn>
                <a:cxn ang="0">
                  <a:pos x="284" y="602"/>
                </a:cxn>
                <a:cxn ang="0">
                  <a:pos x="371" y="594"/>
                </a:cxn>
                <a:cxn ang="0">
                  <a:pos x="456" y="559"/>
                </a:cxn>
                <a:cxn ang="0">
                  <a:pos x="528" y="499"/>
                </a:cxn>
                <a:cxn ang="0">
                  <a:pos x="577" y="423"/>
                </a:cxn>
                <a:cxn ang="0">
                  <a:pos x="600" y="340"/>
                </a:cxn>
                <a:cxn ang="0">
                  <a:pos x="599" y="254"/>
                </a:cxn>
                <a:cxn ang="0">
                  <a:pos x="573" y="172"/>
                </a:cxn>
                <a:cxn ang="0">
                  <a:pos x="476" y="173"/>
                </a:cxn>
                <a:cxn ang="0">
                  <a:pos x="502" y="220"/>
                </a:cxn>
                <a:cxn ang="0">
                  <a:pos x="519" y="278"/>
                </a:cxn>
                <a:cxn ang="0">
                  <a:pos x="519" y="341"/>
                </a:cxn>
                <a:cxn ang="0">
                  <a:pos x="500" y="405"/>
                </a:cxn>
                <a:cxn ang="0">
                  <a:pos x="456" y="462"/>
                </a:cxn>
                <a:cxn ang="0">
                  <a:pos x="390" y="507"/>
                </a:cxn>
                <a:cxn ang="0">
                  <a:pos x="323" y="523"/>
                </a:cxn>
                <a:cxn ang="0">
                  <a:pos x="259" y="518"/>
                </a:cxn>
                <a:cxn ang="0">
                  <a:pos x="201" y="495"/>
                </a:cxn>
                <a:cxn ang="0">
                  <a:pos x="153" y="459"/>
                </a:cxn>
                <a:cxn ang="0">
                  <a:pos x="118" y="417"/>
                </a:cxn>
                <a:cxn ang="0">
                  <a:pos x="94" y="366"/>
                </a:cxn>
                <a:cxn ang="0">
                  <a:pos x="82" y="305"/>
                </a:cxn>
                <a:cxn ang="0">
                  <a:pos x="87" y="241"/>
                </a:cxn>
                <a:cxn ang="0">
                  <a:pos x="114" y="179"/>
                </a:cxn>
                <a:cxn ang="0">
                  <a:pos x="167" y="123"/>
                </a:cxn>
                <a:cxn ang="0">
                  <a:pos x="233" y="89"/>
                </a:cxn>
                <a:cxn ang="0">
                  <a:pos x="299" y="79"/>
                </a:cxn>
                <a:cxn ang="0">
                  <a:pos x="362" y="91"/>
                </a:cxn>
                <a:cxn ang="0">
                  <a:pos x="418" y="118"/>
                </a:cxn>
                <a:cxn ang="0">
                  <a:pos x="463" y="158"/>
                </a:cxn>
              </a:cxnLst>
              <a:rect l="0" t="0" r="r" b="b"/>
              <a:pathLst>
                <a:path w="602" h="602">
                  <a:moveTo>
                    <a:pt x="543" y="121"/>
                  </a:moveTo>
                  <a:lnTo>
                    <a:pt x="523" y="98"/>
                  </a:lnTo>
                  <a:lnTo>
                    <a:pt x="502" y="77"/>
                  </a:lnTo>
                  <a:lnTo>
                    <a:pt x="479" y="58"/>
                  </a:lnTo>
                  <a:lnTo>
                    <a:pt x="455" y="41"/>
                  </a:lnTo>
                  <a:lnTo>
                    <a:pt x="428" y="28"/>
                  </a:lnTo>
                  <a:lnTo>
                    <a:pt x="402" y="17"/>
                  </a:lnTo>
                  <a:lnTo>
                    <a:pt x="374" y="9"/>
                  </a:lnTo>
                  <a:lnTo>
                    <a:pt x="346" y="3"/>
                  </a:lnTo>
                  <a:lnTo>
                    <a:pt x="317" y="0"/>
                  </a:lnTo>
                  <a:lnTo>
                    <a:pt x="288" y="0"/>
                  </a:lnTo>
                  <a:lnTo>
                    <a:pt x="259" y="2"/>
                  </a:lnTo>
                  <a:lnTo>
                    <a:pt x="230" y="9"/>
                  </a:lnTo>
                  <a:lnTo>
                    <a:pt x="202" y="17"/>
                  </a:lnTo>
                  <a:lnTo>
                    <a:pt x="174" y="29"/>
                  </a:lnTo>
                  <a:lnTo>
                    <a:pt x="146" y="43"/>
                  </a:lnTo>
                  <a:lnTo>
                    <a:pt x="120" y="61"/>
                  </a:lnTo>
                  <a:lnTo>
                    <a:pt x="95" y="82"/>
                  </a:lnTo>
                  <a:lnTo>
                    <a:pt x="74" y="104"/>
                  </a:lnTo>
                  <a:lnTo>
                    <a:pt x="54" y="129"/>
                  </a:lnTo>
                  <a:lnTo>
                    <a:pt x="38" y="155"/>
                  </a:lnTo>
                  <a:lnTo>
                    <a:pt x="24" y="181"/>
                  </a:lnTo>
                  <a:lnTo>
                    <a:pt x="15" y="209"/>
                  </a:lnTo>
                  <a:lnTo>
                    <a:pt x="6" y="236"/>
                  </a:lnTo>
                  <a:lnTo>
                    <a:pt x="2" y="265"/>
                  </a:lnTo>
                  <a:lnTo>
                    <a:pt x="0" y="294"/>
                  </a:lnTo>
                  <a:lnTo>
                    <a:pt x="0" y="322"/>
                  </a:lnTo>
                  <a:lnTo>
                    <a:pt x="4" y="351"/>
                  </a:lnTo>
                  <a:lnTo>
                    <a:pt x="10" y="379"/>
                  </a:lnTo>
                  <a:lnTo>
                    <a:pt x="19" y="407"/>
                  </a:lnTo>
                  <a:lnTo>
                    <a:pt x="31" y="433"/>
                  </a:lnTo>
                  <a:lnTo>
                    <a:pt x="44" y="459"/>
                  </a:lnTo>
                  <a:lnTo>
                    <a:pt x="60" y="483"/>
                  </a:lnTo>
                  <a:lnTo>
                    <a:pt x="79" y="506"/>
                  </a:lnTo>
                  <a:lnTo>
                    <a:pt x="100" y="527"/>
                  </a:lnTo>
                  <a:lnTo>
                    <a:pt x="123" y="545"/>
                  </a:lnTo>
                  <a:lnTo>
                    <a:pt x="147" y="560"/>
                  </a:lnTo>
                  <a:lnTo>
                    <a:pt x="173" y="574"/>
                  </a:lnTo>
                  <a:lnTo>
                    <a:pt x="199" y="585"/>
                  </a:lnTo>
                  <a:lnTo>
                    <a:pt x="227" y="593"/>
                  </a:lnTo>
                  <a:lnTo>
                    <a:pt x="256" y="599"/>
                  </a:lnTo>
                  <a:lnTo>
                    <a:pt x="284" y="602"/>
                  </a:lnTo>
                  <a:lnTo>
                    <a:pt x="314" y="602"/>
                  </a:lnTo>
                  <a:lnTo>
                    <a:pt x="342" y="600"/>
                  </a:lnTo>
                  <a:lnTo>
                    <a:pt x="371" y="594"/>
                  </a:lnTo>
                  <a:lnTo>
                    <a:pt x="400" y="586"/>
                  </a:lnTo>
                  <a:lnTo>
                    <a:pt x="428" y="574"/>
                  </a:lnTo>
                  <a:lnTo>
                    <a:pt x="456" y="559"/>
                  </a:lnTo>
                  <a:lnTo>
                    <a:pt x="482" y="541"/>
                  </a:lnTo>
                  <a:lnTo>
                    <a:pt x="506" y="521"/>
                  </a:lnTo>
                  <a:lnTo>
                    <a:pt x="528" y="499"/>
                  </a:lnTo>
                  <a:lnTo>
                    <a:pt x="547" y="475"/>
                  </a:lnTo>
                  <a:lnTo>
                    <a:pt x="563" y="450"/>
                  </a:lnTo>
                  <a:lnTo>
                    <a:pt x="577" y="423"/>
                  </a:lnTo>
                  <a:lnTo>
                    <a:pt x="587" y="396"/>
                  </a:lnTo>
                  <a:lnTo>
                    <a:pt x="594" y="369"/>
                  </a:lnTo>
                  <a:lnTo>
                    <a:pt x="600" y="340"/>
                  </a:lnTo>
                  <a:lnTo>
                    <a:pt x="602" y="311"/>
                  </a:lnTo>
                  <a:lnTo>
                    <a:pt x="602" y="282"/>
                  </a:lnTo>
                  <a:lnTo>
                    <a:pt x="599" y="254"/>
                  </a:lnTo>
                  <a:lnTo>
                    <a:pt x="592" y="226"/>
                  </a:lnTo>
                  <a:lnTo>
                    <a:pt x="584" y="198"/>
                  </a:lnTo>
                  <a:lnTo>
                    <a:pt x="573" y="172"/>
                  </a:lnTo>
                  <a:lnTo>
                    <a:pt x="559" y="146"/>
                  </a:lnTo>
                  <a:lnTo>
                    <a:pt x="543" y="121"/>
                  </a:lnTo>
                  <a:close/>
                  <a:moveTo>
                    <a:pt x="476" y="173"/>
                  </a:moveTo>
                  <a:lnTo>
                    <a:pt x="485" y="188"/>
                  </a:lnTo>
                  <a:lnTo>
                    <a:pt x="495" y="203"/>
                  </a:lnTo>
                  <a:lnTo>
                    <a:pt x="502" y="220"/>
                  </a:lnTo>
                  <a:lnTo>
                    <a:pt x="509" y="239"/>
                  </a:lnTo>
                  <a:lnTo>
                    <a:pt x="515" y="258"/>
                  </a:lnTo>
                  <a:lnTo>
                    <a:pt x="519" y="278"/>
                  </a:lnTo>
                  <a:lnTo>
                    <a:pt x="521" y="299"/>
                  </a:lnTo>
                  <a:lnTo>
                    <a:pt x="521" y="320"/>
                  </a:lnTo>
                  <a:lnTo>
                    <a:pt x="519" y="341"/>
                  </a:lnTo>
                  <a:lnTo>
                    <a:pt x="515" y="362"/>
                  </a:lnTo>
                  <a:lnTo>
                    <a:pt x="508" y="383"/>
                  </a:lnTo>
                  <a:lnTo>
                    <a:pt x="500" y="405"/>
                  </a:lnTo>
                  <a:lnTo>
                    <a:pt x="488" y="425"/>
                  </a:lnTo>
                  <a:lnTo>
                    <a:pt x="473" y="443"/>
                  </a:lnTo>
                  <a:lnTo>
                    <a:pt x="456" y="462"/>
                  </a:lnTo>
                  <a:lnTo>
                    <a:pt x="436" y="480"/>
                  </a:lnTo>
                  <a:lnTo>
                    <a:pt x="412" y="495"/>
                  </a:lnTo>
                  <a:lnTo>
                    <a:pt x="390" y="507"/>
                  </a:lnTo>
                  <a:lnTo>
                    <a:pt x="367" y="515"/>
                  </a:lnTo>
                  <a:lnTo>
                    <a:pt x="345" y="520"/>
                  </a:lnTo>
                  <a:lnTo>
                    <a:pt x="323" y="523"/>
                  </a:lnTo>
                  <a:lnTo>
                    <a:pt x="301" y="525"/>
                  </a:lnTo>
                  <a:lnTo>
                    <a:pt x="280" y="522"/>
                  </a:lnTo>
                  <a:lnTo>
                    <a:pt x="259" y="518"/>
                  </a:lnTo>
                  <a:lnTo>
                    <a:pt x="238" y="512"/>
                  </a:lnTo>
                  <a:lnTo>
                    <a:pt x="219" y="505"/>
                  </a:lnTo>
                  <a:lnTo>
                    <a:pt x="201" y="495"/>
                  </a:lnTo>
                  <a:lnTo>
                    <a:pt x="183" y="485"/>
                  </a:lnTo>
                  <a:lnTo>
                    <a:pt x="167" y="472"/>
                  </a:lnTo>
                  <a:lnTo>
                    <a:pt x="153" y="459"/>
                  </a:lnTo>
                  <a:lnTo>
                    <a:pt x="140" y="447"/>
                  </a:lnTo>
                  <a:lnTo>
                    <a:pt x="128" y="432"/>
                  </a:lnTo>
                  <a:lnTo>
                    <a:pt x="118" y="417"/>
                  </a:lnTo>
                  <a:lnTo>
                    <a:pt x="108" y="401"/>
                  </a:lnTo>
                  <a:lnTo>
                    <a:pt x="101" y="383"/>
                  </a:lnTo>
                  <a:lnTo>
                    <a:pt x="94" y="366"/>
                  </a:lnTo>
                  <a:lnTo>
                    <a:pt x="88" y="346"/>
                  </a:lnTo>
                  <a:lnTo>
                    <a:pt x="84" y="326"/>
                  </a:lnTo>
                  <a:lnTo>
                    <a:pt x="82" y="305"/>
                  </a:lnTo>
                  <a:lnTo>
                    <a:pt x="82" y="283"/>
                  </a:lnTo>
                  <a:lnTo>
                    <a:pt x="83" y="262"/>
                  </a:lnTo>
                  <a:lnTo>
                    <a:pt x="87" y="241"/>
                  </a:lnTo>
                  <a:lnTo>
                    <a:pt x="94" y="220"/>
                  </a:lnTo>
                  <a:lnTo>
                    <a:pt x="102" y="199"/>
                  </a:lnTo>
                  <a:lnTo>
                    <a:pt x="114" y="179"/>
                  </a:lnTo>
                  <a:lnTo>
                    <a:pt x="128" y="159"/>
                  </a:lnTo>
                  <a:lnTo>
                    <a:pt x="146" y="141"/>
                  </a:lnTo>
                  <a:lnTo>
                    <a:pt x="167" y="123"/>
                  </a:lnTo>
                  <a:lnTo>
                    <a:pt x="188" y="109"/>
                  </a:lnTo>
                  <a:lnTo>
                    <a:pt x="210" y="97"/>
                  </a:lnTo>
                  <a:lnTo>
                    <a:pt x="233" y="89"/>
                  </a:lnTo>
                  <a:lnTo>
                    <a:pt x="255" y="83"/>
                  </a:lnTo>
                  <a:lnTo>
                    <a:pt x="277" y="80"/>
                  </a:lnTo>
                  <a:lnTo>
                    <a:pt x="299" y="79"/>
                  </a:lnTo>
                  <a:lnTo>
                    <a:pt x="320" y="81"/>
                  </a:lnTo>
                  <a:lnTo>
                    <a:pt x="341" y="84"/>
                  </a:lnTo>
                  <a:lnTo>
                    <a:pt x="362" y="91"/>
                  </a:lnTo>
                  <a:lnTo>
                    <a:pt x="381" y="98"/>
                  </a:lnTo>
                  <a:lnTo>
                    <a:pt x="400" y="108"/>
                  </a:lnTo>
                  <a:lnTo>
                    <a:pt x="418" y="118"/>
                  </a:lnTo>
                  <a:lnTo>
                    <a:pt x="435" y="131"/>
                  </a:lnTo>
                  <a:lnTo>
                    <a:pt x="449" y="143"/>
                  </a:lnTo>
                  <a:lnTo>
                    <a:pt x="463" y="158"/>
                  </a:lnTo>
                  <a:lnTo>
                    <a:pt x="476" y="173"/>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03" name="Freeform 14"/>
            <p:cNvSpPr>
              <a:spLocks noEditPoints="1"/>
            </p:cNvSpPr>
            <p:nvPr/>
          </p:nvSpPr>
          <p:spPr bwMode="auto">
            <a:xfrm>
              <a:off x="334" y="150"/>
              <a:ext cx="13" cy="13"/>
            </a:xfrm>
            <a:custGeom>
              <a:avLst/>
              <a:gdLst/>
              <a:ahLst/>
              <a:cxnLst>
                <a:cxn ang="0">
                  <a:pos x="128" y="176"/>
                </a:cxn>
                <a:cxn ang="0">
                  <a:pos x="104" y="176"/>
                </a:cxn>
                <a:cxn ang="0">
                  <a:pos x="80" y="168"/>
                </a:cxn>
                <a:cxn ang="0">
                  <a:pos x="61" y="151"/>
                </a:cxn>
                <a:cxn ang="0">
                  <a:pos x="50" y="128"/>
                </a:cxn>
                <a:cxn ang="0">
                  <a:pos x="48" y="102"/>
                </a:cxn>
                <a:cxn ang="0">
                  <a:pos x="56" y="79"/>
                </a:cxn>
                <a:cxn ang="0">
                  <a:pos x="72" y="60"/>
                </a:cxn>
                <a:cxn ang="0">
                  <a:pos x="96" y="49"/>
                </a:cxn>
                <a:cxn ang="0">
                  <a:pos x="120" y="48"/>
                </a:cxn>
                <a:cxn ang="0">
                  <a:pos x="143" y="56"/>
                </a:cxn>
                <a:cxn ang="0">
                  <a:pos x="162" y="73"/>
                </a:cxn>
                <a:cxn ang="0">
                  <a:pos x="173" y="96"/>
                </a:cxn>
                <a:cxn ang="0">
                  <a:pos x="175" y="121"/>
                </a:cxn>
                <a:cxn ang="0">
                  <a:pos x="167" y="146"/>
                </a:cxn>
                <a:cxn ang="0">
                  <a:pos x="151" y="164"/>
                </a:cxn>
                <a:cxn ang="0">
                  <a:pos x="161" y="213"/>
                </a:cxn>
                <a:cxn ang="0">
                  <a:pos x="197" y="186"/>
                </a:cxn>
                <a:cxn ang="0">
                  <a:pos x="218" y="149"/>
                </a:cxn>
                <a:cxn ang="0">
                  <a:pos x="224" y="107"/>
                </a:cxn>
                <a:cxn ang="0">
                  <a:pos x="212" y="63"/>
                </a:cxn>
                <a:cxn ang="0">
                  <a:pos x="185" y="28"/>
                </a:cxn>
                <a:cxn ang="0">
                  <a:pos x="148" y="5"/>
                </a:cxn>
                <a:cxn ang="0">
                  <a:pos x="106" y="0"/>
                </a:cxn>
                <a:cxn ang="0">
                  <a:pos x="63" y="12"/>
                </a:cxn>
                <a:cxn ang="0">
                  <a:pos x="27" y="39"/>
                </a:cxn>
                <a:cxn ang="0">
                  <a:pos x="5" y="76"/>
                </a:cxn>
                <a:cxn ang="0">
                  <a:pos x="0" y="118"/>
                </a:cxn>
                <a:cxn ang="0">
                  <a:pos x="11" y="161"/>
                </a:cxn>
                <a:cxn ang="0">
                  <a:pos x="38" y="197"/>
                </a:cxn>
                <a:cxn ang="0">
                  <a:pos x="76" y="218"/>
                </a:cxn>
                <a:cxn ang="0">
                  <a:pos x="118" y="224"/>
                </a:cxn>
                <a:cxn ang="0">
                  <a:pos x="161" y="213"/>
                </a:cxn>
              </a:cxnLst>
              <a:rect l="0" t="0" r="r" b="b"/>
              <a:pathLst>
                <a:path w="224" h="224">
                  <a:moveTo>
                    <a:pt x="141" y="172"/>
                  </a:moveTo>
                  <a:lnTo>
                    <a:pt x="128" y="176"/>
                  </a:lnTo>
                  <a:lnTo>
                    <a:pt x="116" y="177"/>
                  </a:lnTo>
                  <a:lnTo>
                    <a:pt x="104" y="176"/>
                  </a:lnTo>
                  <a:lnTo>
                    <a:pt x="91" y="173"/>
                  </a:lnTo>
                  <a:lnTo>
                    <a:pt x="80" y="168"/>
                  </a:lnTo>
                  <a:lnTo>
                    <a:pt x="70" y="160"/>
                  </a:lnTo>
                  <a:lnTo>
                    <a:pt x="61" y="151"/>
                  </a:lnTo>
                  <a:lnTo>
                    <a:pt x="55" y="139"/>
                  </a:lnTo>
                  <a:lnTo>
                    <a:pt x="50" y="128"/>
                  </a:lnTo>
                  <a:lnTo>
                    <a:pt x="48" y="115"/>
                  </a:lnTo>
                  <a:lnTo>
                    <a:pt x="48" y="102"/>
                  </a:lnTo>
                  <a:lnTo>
                    <a:pt x="51" y="91"/>
                  </a:lnTo>
                  <a:lnTo>
                    <a:pt x="56" y="79"/>
                  </a:lnTo>
                  <a:lnTo>
                    <a:pt x="63" y="69"/>
                  </a:lnTo>
                  <a:lnTo>
                    <a:pt x="72" y="60"/>
                  </a:lnTo>
                  <a:lnTo>
                    <a:pt x="83" y="53"/>
                  </a:lnTo>
                  <a:lnTo>
                    <a:pt x="96" y="49"/>
                  </a:lnTo>
                  <a:lnTo>
                    <a:pt x="107" y="47"/>
                  </a:lnTo>
                  <a:lnTo>
                    <a:pt x="120" y="48"/>
                  </a:lnTo>
                  <a:lnTo>
                    <a:pt x="132" y="51"/>
                  </a:lnTo>
                  <a:lnTo>
                    <a:pt x="143" y="56"/>
                  </a:lnTo>
                  <a:lnTo>
                    <a:pt x="153" y="63"/>
                  </a:lnTo>
                  <a:lnTo>
                    <a:pt x="162" y="73"/>
                  </a:lnTo>
                  <a:lnTo>
                    <a:pt x="168" y="83"/>
                  </a:lnTo>
                  <a:lnTo>
                    <a:pt x="173" y="96"/>
                  </a:lnTo>
                  <a:lnTo>
                    <a:pt x="175" y="109"/>
                  </a:lnTo>
                  <a:lnTo>
                    <a:pt x="175" y="121"/>
                  </a:lnTo>
                  <a:lnTo>
                    <a:pt x="172" y="134"/>
                  </a:lnTo>
                  <a:lnTo>
                    <a:pt x="167" y="146"/>
                  </a:lnTo>
                  <a:lnTo>
                    <a:pt x="161" y="156"/>
                  </a:lnTo>
                  <a:lnTo>
                    <a:pt x="151" y="164"/>
                  </a:lnTo>
                  <a:lnTo>
                    <a:pt x="141" y="172"/>
                  </a:lnTo>
                  <a:close/>
                  <a:moveTo>
                    <a:pt x="161" y="213"/>
                  </a:moveTo>
                  <a:lnTo>
                    <a:pt x="181" y="201"/>
                  </a:lnTo>
                  <a:lnTo>
                    <a:pt x="197" y="186"/>
                  </a:lnTo>
                  <a:lnTo>
                    <a:pt x="209" y="169"/>
                  </a:lnTo>
                  <a:lnTo>
                    <a:pt x="218" y="149"/>
                  </a:lnTo>
                  <a:lnTo>
                    <a:pt x="223" y="128"/>
                  </a:lnTo>
                  <a:lnTo>
                    <a:pt x="224" y="107"/>
                  </a:lnTo>
                  <a:lnTo>
                    <a:pt x="221" y="84"/>
                  </a:lnTo>
                  <a:lnTo>
                    <a:pt x="212" y="63"/>
                  </a:lnTo>
                  <a:lnTo>
                    <a:pt x="201" y="43"/>
                  </a:lnTo>
                  <a:lnTo>
                    <a:pt x="185" y="28"/>
                  </a:lnTo>
                  <a:lnTo>
                    <a:pt x="168" y="15"/>
                  </a:lnTo>
                  <a:lnTo>
                    <a:pt x="148" y="5"/>
                  </a:lnTo>
                  <a:lnTo>
                    <a:pt x="127" y="1"/>
                  </a:lnTo>
                  <a:lnTo>
                    <a:pt x="106" y="0"/>
                  </a:lnTo>
                  <a:lnTo>
                    <a:pt x="84" y="3"/>
                  </a:lnTo>
                  <a:lnTo>
                    <a:pt x="63" y="12"/>
                  </a:lnTo>
                  <a:lnTo>
                    <a:pt x="43" y="23"/>
                  </a:lnTo>
                  <a:lnTo>
                    <a:pt x="27" y="39"/>
                  </a:lnTo>
                  <a:lnTo>
                    <a:pt x="15" y="56"/>
                  </a:lnTo>
                  <a:lnTo>
                    <a:pt x="5" y="76"/>
                  </a:lnTo>
                  <a:lnTo>
                    <a:pt x="1" y="96"/>
                  </a:lnTo>
                  <a:lnTo>
                    <a:pt x="0" y="118"/>
                  </a:lnTo>
                  <a:lnTo>
                    <a:pt x="3" y="140"/>
                  </a:lnTo>
                  <a:lnTo>
                    <a:pt x="11" y="161"/>
                  </a:lnTo>
                  <a:lnTo>
                    <a:pt x="23" y="181"/>
                  </a:lnTo>
                  <a:lnTo>
                    <a:pt x="38" y="197"/>
                  </a:lnTo>
                  <a:lnTo>
                    <a:pt x="56" y="210"/>
                  </a:lnTo>
                  <a:lnTo>
                    <a:pt x="76" y="218"/>
                  </a:lnTo>
                  <a:lnTo>
                    <a:pt x="96" y="223"/>
                  </a:lnTo>
                  <a:lnTo>
                    <a:pt x="118" y="224"/>
                  </a:lnTo>
                  <a:lnTo>
                    <a:pt x="140" y="221"/>
                  </a:lnTo>
                  <a:lnTo>
                    <a:pt x="161" y="213"/>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04" name="Freeform 15"/>
            <p:cNvSpPr>
              <a:spLocks noEditPoints="1"/>
            </p:cNvSpPr>
            <p:nvPr/>
          </p:nvSpPr>
          <p:spPr bwMode="auto">
            <a:xfrm>
              <a:off x="361" y="124"/>
              <a:ext cx="36" cy="35"/>
            </a:xfrm>
            <a:custGeom>
              <a:avLst/>
              <a:gdLst/>
              <a:ahLst/>
              <a:cxnLst>
                <a:cxn ang="0">
                  <a:pos x="572" y="167"/>
                </a:cxn>
                <a:cxn ang="0">
                  <a:pos x="522" y="95"/>
                </a:cxn>
                <a:cxn ang="0">
                  <a:pos x="455" y="41"/>
                </a:cxn>
                <a:cxn ang="0">
                  <a:pos x="375" y="8"/>
                </a:cxn>
                <a:cxn ang="0">
                  <a:pos x="285" y="0"/>
                </a:cxn>
                <a:cxn ang="0">
                  <a:pos x="193" y="21"/>
                </a:cxn>
                <a:cxn ang="0">
                  <a:pos x="113" y="66"/>
                </a:cxn>
                <a:cxn ang="0">
                  <a:pos x="53" y="130"/>
                </a:cxn>
                <a:cxn ang="0">
                  <a:pos x="15" y="207"/>
                </a:cxn>
                <a:cxn ang="0">
                  <a:pos x="0" y="293"/>
                </a:cxn>
                <a:cxn ang="0">
                  <a:pos x="11" y="379"/>
                </a:cxn>
                <a:cxn ang="0">
                  <a:pos x="45" y="460"/>
                </a:cxn>
                <a:cxn ang="0">
                  <a:pos x="101" y="525"/>
                </a:cxn>
                <a:cxn ang="0">
                  <a:pos x="173" y="574"/>
                </a:cxn>
                <a:cxn ang="0">
                  <a:pos x="257" y="599"/>
                </a:cxn>
                <a:cxn ang="0">
                  <a:pos x="347" y="598"/>
                </a:cxn>
                <a:cxn ang="0">
                  <a:pos x="438" y="569"/>
                </a:cxn>
                <a:cxn ang="0">
                  <a:pos x="510" y="518"/>
                </a:cxn>
                <a:cxn ang="0">
                  <a:pos x="564" y="448"/>
                </a:cxn>
                <a:cxn ang="0">
                  <a:pos x="595" y="368"/>
                </a:cxn>
                <a:cxn ang="0">
                  <a:pos x="602" y="282"/>
                </a:cxn>
                <a:cxn ang="0">
                  <a:pos x="512" y="247"/>
                </a:cxn>
                <a:cxn ang="0">
                  <a:pos x="519" y="301"/>
                </a:cxn>
                <a:cxn ang="0">
                  <a:pos x="512" y="361"/>
                </a:cxn>
                <a:cxn ang="0">
                  <a:pos x="488" y="419"/>
                </a:cxn>
                <a:cxn ang="0">
                  <a:pos x="447" y="471"/>
                </a:cxn>
                <a:cxn ang="0">
                  <a:pos x="385" y="508"/>
                </a:cxn>
                <a:cxn ang="0">
                  <a:pos x="307" y="524"/>
                </a:cxn>
                <a:cxn ang="0">
                  <a:pos x="238" y="515"/>
                </a:cxn>
                <a:cxn ang="0">
                  <a:pos x="181" y="485"/>
                </a:cxn>
                <a:cxn ang="0">
                  <a:pos x="136" y="442"/>
                </a:cxn>
                <a:cxn ang="0">
                  <a:pos x="104" y="392"/>
                </a:cxn>
                <a:cxn ang="0">
                  <a:pos x="89" y="340"/>
                </a:cxn>
                <a:cxn ang="0">
                  <a:pos x="85" y="282"/>
                </a:cxn>
                <a:cxn ang="0">
                  <a:pos x="97" y="222"/>
                </a:cxn>
                <a:cxn ang="0">
                  <a:pos x="125" y="165"/>
                </a:cxn>
                <a:cxn ang="0">
                  <a:pos x="174" y="117"/>
                </a:cxn>
                <a:cxn ang="0">
                  <a:pos x="243" y="85"/>
                </a:cxn>
                <a:cxn ang="0">
                  <a:pos x="318" y="78"/>
                </a:cxn>
                <a:cxn ang="0">
                  <a:pos x="382" y="94"/>
                </a:cxn>
                <a:cxn ang="0">
                  <a:pos x="437" y="128"/>
                </a:cxn>
                <a:cxn ang="0">
                  <a:pos x="478" y="175"/>
                </a:cxn>
                <a:cxn ang="0">
                  <a:pos x="505" y="228"/>
                </a:cxn>
              </a:cxnLst>
              <a:rect l="0" t="0" r="r" b="b"/>
              <a:pathLst>
                <a:path w="602" h="602">
                  <a:moveTo>
                    <a:pt x="593" y="224"/>
                  </a:moveTo>
                  <a:lnTo>
                    <a:pt x="583" y="196"/>
                  </a:lnTo>
                  <a:lnTo>
                    <a:pt x="572" y="167"/>
                  </a:lnTo>
                  <a:lnTo>
                    <a:pt x="557" y="142"/>
                  </a:lnTo>
                  <a:lnTo>
                    <a:pt x="540" y="118"/>
                  </a:lnTo>
                  <a:lnTo>
                    <a:pt x="522" y="95"/>
                  </a:lnTo>
                  <a:lnTo>
                    <a:pt x="501" y="75"/>
                  </a:lnTo>
                  <a:lnTo>
                    <a:pt x="479" y="57"/>
                  </a:lnTo>
                  <a:lnTo>
                    <a:pt x="455" y="41"/>
                  </a:lnTo>
                  <a:lnTo>
                    <a:pt x="429" y="27"/>
                  </a:lnTo>
                  <a:lnTo>
                    <a:pt x="402" y="17"/>
                  </a:lnTo>
                  <a:lnTo>
                    <a:pt x="375" y="8"/>
                  </a:lnTo>
                  <a:lnTo>
                    <a:pt x="345" y="3"/>
                  </a:lnTo>
                  <a:lnTo>
                    <a:pt x="316" y="0"/>
                  </a:lnTo>
                  <a:lnTo>
                    <a:pt x="285" y="0"/>
                  </a:lnTo>
                  <a:lnTo>
                    <a:pt x="255" y="4"/>
                  </a:lnTo>
                  <a:lnTo>
                    <a:pt x="223" y="10"/>
                  </a:lnTo>
                  <a:lnTo>
                    <a:pt x="193" y="21"/>
                  </a:lnTo>
                  <a:lnTo>
                    <a:pt x="163" y="34"/>
                  </a:lnTo>
                  <a:lnTo>
                    <a:pt x="137" y="48"/>
                  </a:lnTo>
                  <a:lnTo>
                    <a:pt x="113" y="66"/>
                  </a:lnTo>
                  <a:lnTo>
                    <a:pt x="91" y="85"/>
                  </a:lnTo>
                  <a:lnTo>
                    <a:pt x="71" y="107"/>
                  </a:lnTo>
                  <a:lnTo>
                    <a:pt x="53" y="130"/>
                  </a:lnTo>
                  <a:lnTo>
                    <a:pt x="38" y="155"/>
                  </a:lnTo>
                  <a:lnTo>
                    <a:pt x="25" y="181"/>
                  </a:lnTo>
                  <a:lnTo>
                    <a:pt x="15" y="207"/>
                  </a:lnTo>
                  <a:lnTo>
                    <a:pt x="8" y="236"/>
                  </a:lnTo>
                  <a:lnTo>
                    <a:pt x="2" y="264"/>
                  </a:lnTo>
                  <a:lnTo>
                    <a:pt x="0" y="293"/>
                  </a:lnTo>
                  <a:lnTo>
                    <a:pt x="1" y="321"/>
                  </a:lnTo>
                  <a:lnTo>
                    <a:pt x="4" y="350"/>
                  </a:lnTo>
                  <a:lnTo>
                    <a:pt x="11" y="379"/>
                  </a:lnTo>
                  <a:lnTo>
                    <a:pt x="19" y="407"/>
                  </a:lnTo>
                  <a:lnTo>
                    <a:pt x="31" y="434"/>
                  </a:lnTo>
                  <a:lnTo>
                    <a:pt x="45" y="460"/>
                  </a:lnTo>
                  <a:lnTo>
                    <a:pt x="62" y="483"/>
                  </a:lnTo>
                  <a:lnTo>
                    <a:pt x="80" y="505"/>
                  </a:lnTo>
                  <a:lnTo>
                    <a:pt x="101" y="525"/>
                  </a:lnTo>
                  <a:lnTo>
                    <a:pt x="123" y="544"/>
                  </a:lnTo>
                  <a:lnTo>
                    <a:pt x="147" y="560"/>
                  </a:lnTo>
                  <a:lnTo>
                    <a:pt x="173" y="574"/>
                  </a:lnTo>
                  <a:lnTo>
                    <a:pt x="200" y="584"/>
                  </a:lnTo>
                  <a:lnTo>
                    <a:pt x="227" y="593"/>
                  </a:lnTo>
                  <a:lnTo>
                    <a:pt x="257" y="599"/>
                  </a:lnTo>
                  <a:lnTo>
                    <a:pt x="286" y="602"/>
                  </a:lnTo>
                  <a:lnTo>
                    <a:pt x="317" y="601"/>
                  </a:lnTo>
                  <a:lnTo>
                    <a:pt x="347" y="598"/>
                  </a:lnTo>
                  <a:lnTo>
                    <a:pt x="379" y="592"/>
                  </a:lnTo>
                  <a:lnTo>
                    <a:pt x="409" y="582"/>
                  </a:lnTo>
                  <a:lnTo>
                    <a:pt x="438" y="569"/>
                  </a:lnTo>
                  <a:lnTo>
                    <a:pt x="464" y="554"/>
                  </a:lnTo>
                  <a:lnTo>
                    <a:pt x="488" y="537"/>
                  </a:lnTo>
                  <a:lnTo>
                    <a:pt x="510" y="518"/>
                  </a:lnTo>
                  <a:lnTo>
                    <a:pt x="530" y="496"/>
                  </a:lnTo>
                  <a:lnTo>
                    <a:pt x="548" y="473"/>
                  </a:lnTo>
                  <a:lnTo>
                    <a:pt x="564" y="448"/>
                  </a:lnTo>
                  <a:lnTo>
                    <a:pt x="577" y="423"/>
                  </a:lnTo>
                  <a:lnTo>
                    <a:pt x="587" y="396"/>
                  </a:lnTo>
                  <a:lnTo>
                    <a:pt x="595" y="368"/>
                  </a:lnTo>
                  <a:lnTo>
                    <a:pt x="600" y="340"/>
                  </a:lnTo>
                  <a:lnTo>
                    <a:pt x="602" y="312"/>
                  </a:lnTo>
                  <a:lnTo>
                    <a:pt x="602" y="282"/>
                  </a:lnTo>
                  <a:lnTo>
                    <a:pt x="599" y="254"/>
                  </a:lnTo>
                  <a:lnTo>
                    <a:pt x="593" y="224"/>
                  </a:lnTo>
                  <a:close/>
                  <a:moveTo>
                    <a:pt x="512" y="247"/>
                  </a:moveTo>
                  <a:lnTo>
                    <a:pt x="515" y="264"/>
                  </a:lnTo>
                  <a:lnTo>
                    <a:pt x="518" y="282"/>
                  </a:lnTo>
                  <a:lnTo>
                    <a:pt x="519" y="301"/>
                  </a:lnTo>
                  <a:lnTo>
                    <a:pt x="518" y="321"/>
                  </a:lnTo>
                  <a:lnTo>
                    <a:pt x="516" y="341"/>
                  </a:lnTo>
                  <a:lnTo>
                    <a:pt x="512" y="361"/>
                  </a:lnTo>
                  <a:lnTo>
                    <a:pt x="506" y="381"/>
                  </a:lnTo>
                  <a:lnTo>
                    <a:pt x="498" y="400"/>
                  </a:lnTo>
                  <a:lnTo>
                    <a:pt x="488" y="419"/>
                  </a:lnTo>
                  <a:lnTo>
                    <a:pt x="477" y="438"/>
                  </a:lnTo>
                  <a:lnTo>
                    <a:pt x="463" y="455"/>
                  </a:lnTo>
                  <a:lnTo>
                    <a:pt x="447" y="471"/>
                  </a:lnTo>
                  <a:lnTo>
                    <a:pt x="428" y="485"/>
                  </a:lnTo>
                  <a:lnTo>
                    <a:pt x="408" y="498"/>
                  </a:lnTo>
                  <a:lnTo>
                    <a:pt x="385" y="508"/>
                  </a:lnTo>
                  <a:lnTo>
                    <a:pt x="359" y="517"/>
                  </a:lnTo>
                  <a:lnTo>
                    <a:pt x="333" y="522"/>
                  </a:lnTo>
                  <a:lnTo>
                    <a:pt x="307" y="524"/>
                  </a:lnTo>
                  <a:lnTo>
                    <a:pt x="283" y="524"/>
                  </a:lnTo>
                  <a:lnTo>
                    <a:pt x="260" y="521"/>
                  </a:lnTo>
                  <a:lnTo>
                    <a:pt x="238" y="515"/>
                  </a:lnTo>
                  <a:lnTo>
                    <a:pt x="218" y="507"/>
                  </a:lnTo>
                  <a:lnTo>
                    <a:pt x="199" y="497"/>
                  </a:lnTo>
                  <a:lnTo>
                    <a:pt x="181" y="485"/>
                  </a:lnTo>
                  <a:lnTo>
                    <a:pt x="164" y="473"/>
                  </a:lnTo>
                  <a:lnTo>
                    <a:pt x="150" y="458"/>
                  </a:lnTo>
                  <a:lnTo>
                    <a:pt x="136" y="442"/>
                  </a:lnTo>
                  <a:lnTo>
                    <a:pt x="123" y="426"/>
                  </a:lnTo>
                  <a:lnTo>
                    <a:pt x="114" y="409"/>
                  </a:lnTo>
                  <a:lnTo>
                    <a:pt x="104" y="392"/>
                  </a:lnTo>
                  <a:lnTo>
                    <a:pt x="97" y="375"/>
                  </a:lnTo>
                  <a:lnTo>
                    <a:pt x="92" y="357"/>
                  </a:lnTo>
                  <a:lnTo>
                    <a:pt x="89" y="340"/>
                  </a:lnTo>
                  <a:lnTo>
                    <a:pt x="85" y="321"/>
                  </a:lnTo>
                  <a:lnTo>
                    <a:pt x="84" y="302"/>
                  </a:lnTo>
                  <a:lnTo>
                    <a:pt x="85" y="282"/>
                  </a:lnTo>
                  <a:lnTo>
                    <a:pt x="88" y="262"/>
                  </a:lnTo>
                  <a:lnTo>
                    <a:pt x="92" y="242"/>
                  </a:lnTo>
                  <a:lnTo>
                    <a:pt x="97" y="222"/>
                  </a:lnTo>
                  <a:lnTo>
                    <a:pt x="104" y="202"/>
                  </a:lnTo>
                  <a:lnTo>
                    <a:pt x="114" y="183"/>
                  </a:lnTo>
                  <a:lnTo>
                    <a:pt x="125" y="165"/>
                  </a:lnTo>
                  <a:lnTo>
                    <a:pt x="140" y="147"/>
                  </a:lnTo>
                  <a:lnTo>
                    <a:pt x="156" y="132"/>
                  </a:lnTo>
                  <a:lnTo>
                    <a:pt x="174" y="117"/>
                  </a:lnTo>
                  <a:lnTo>
                    <a:pt x="195" y="104"/>
                  </a:lnTo>
                  <a:lnTo>
                    <a:pt x="218" y="94"/>
                  </a:lnTo>
                  <a:lnTo>
                    <a:pt x="243" y="85"/>
                  </a:lnTo>
                  <a:lnTo>
                    <a:pt x="270" y="80"/>
                  </a:lnTo>
                  <a:lnTo>
                    <a:pt x="294" y="78"/>
                  </a:lnTo>
                  <a:lnTo>
                    <a:pt x="318" y="78"/>
                  </a:lnTo>
                  <a:lnTo>
                    <a:pt x="340" y="81"/>
                  </a:lnTo>
                  <a:lnTo>
                    <a:pt x="362" y="86"/>
                  </a:lnTo>
                  <a:lnTo>
                    <a:pt x="382" y="94"/>
                  </a:lnTo>
                  <a:lnTo>
                    <a:pt x="402" y="104"/>
                  </a:lnTo>
                  <a:lnTo>
                    <a:pt x="420" y="115"/>
                  </a:lnTo>
                  <a:lnTo>
                    <a:pt x="437" y="128"/>
                  </a:lnTo>
                  <a:lnTo>
                    <a:pt x="452" y="143"/>
                  </a:lnTo>
                  <a:lnTo>
                    <a:pt x="465" y="158"/>
                  </a:lnTo>
                  <a:lnTo>
                    <a:pt x="478" y="175"/>
                  </a:lnTo>
                  <a:lnTo>
                    <a:pt x="488" y="193"/>
                  </a:lnTo>
                  <a:lnTo>
                    <a:pt x="498" y="210"/>
                  </a:lnTo>
                  <a:lnTo>
                    <a:pt x="505" y="228"/>
                  </a:lnTo>
                  <a:lnTo>
                    <a:pt x="512" y="247"/>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05" name="Freeform 16"/>
            <p:cNvSpPr>
              <a:spLocks noEditPoints="1"/>
            </p:cNvSpPr>
            <p:nvPr/>
          </p:nvSpPr>
          <p:spPr bwMode="auto">
            <a:xfrm>
              <a:off x="403" y="118"/>
              <a:ext cx="30" cy="35"/>
            </a:xfrm>
            <a:custGeom>
              <a:avLst/>
              <a:gdLst/>
              <a:ahLst/>
              <a:cxnLst>
                <a:cxn ang="0">
                  <a:pos x="515" y="562"/>
                </a:cxn>
                <a:cxn ang="0">
                  <a:pos x="255" y="0"/>
                </a:cxn>
                <a:cxn ang="0">
                  <a:pos x="179" y="5"/>
                </a:cxn>
                <a:cxn ang="0">
                  <a:pos x="0" y="598"/>
                </a:cxn>
                <a:cxn ang="0">
                  <a:pos x="89" y="592"/>
                </a:cxn>
                <a:cxn ang="0">
                  <a:pos x="141" y="417"/>
                </a:cxn>
                <a:cxn ang="0">
                  <a:pos x="349" y="403"/>
                </a:cxn>
                <a:cxn ang="0">
                  <a:pos x="424" y="569"/>
                </a:cxn>
                <a:cxn ang="0">
                  <a:pos x="515" y="562"/>
                </a:cxn>
                <a:cxn ang="0">
                  <a:pos x="166" y="338"/>
                </a:cxn>
                <a:cxn ang="0">
                  <a:pos x="224" y="112"/>
                </a:cxn>
                <a:cxn ang="0">
                  <a:pos x="225" y="112"/>
                </a:cxn>
                <a:cxn ang="0">
                  <a:pos x="314" y="328"/>
                </a:cxn>
                <a:cxn ang="0">
                  <a:pos x="166" y="338"/>
                </a:cxn>
              </a:cxnLst>
              <a:rect l="0" t="0" r="r" b="b"/>
              <a:pathLst>
                <a:path w="515" h="598">
                  <a:moveTo>
                    <a:pt x="515" y="562"/>
                  </a:moveTo>
                  <a:lnTo>
                    <a:pt x="255" y="0"/>
                  </a:lnTo>
                  <a:lnTo>
                    <a:pt x="179" y="5"/>
                  </a:lnTo>
                  <a:lnTo>
                    <a:pt x="0" y="598"/>
                  </a:lnTo>
                  <a:lnTo>
                    <a:pt x="89" y="592"/>
                  </a:lnTo>
                  <a:lnTo>
                    <a:pt x="141" y="417"/>
                  </a:lnTo>
                  <a:lnTo>
                    <a:pt x="349" y="403"/>
                  </a:lnTo>
                  <a:lnTo>
                    <a:pt x="424" y="569"/>
                  </a:lnTo>
                  <a:lnTo>
                    <a:pt x="515" y="562"/>
                  </a:lnTo>
                  <a:close/>
                  <a:moveTo>
                    <a:pt x="166" y="338"/>
                  </a:moveTo>
                  <a:lnTo>
                    <a:pt x="224" y="112"/>
                  </a:lnTo>
                  <a:lnTo>
                    <a:pt x="225" y="112"/>
                  </a:lnTo>
                  <a:lnTo>
                    <a:pt x="314" y="328"/>
                  </a:lnTo>
                  <a:lnTo>
                    <a:pt x="166" y="338"/>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06" name="Freeform 17"/>
            <p:cNvSpPr>
              <a:spLocks/>
            </p:cNvSpPr>
            <p:nvPr/>
          </p:nvSpPr>
          <p:spPr bwMode="auto">
            <a:xfrm>
              <a:off x="437" y="118"/>
              <a:ext cx="34" cy="35"/>
            </a:xfrm>
            <a:custGeom>
              <a:avLst/>
              <a:gdLst/>
              <a:ahLst/>
              <a:cxnLst>
                <a:cxn ang="0">
                  <a:pos x="563" y="156"/>
                </a:cxn>
                <a:cxn ang="0">
                  <a:pos x="537" y="115"/>
                </a:cxn>
                <a:cxn ang="0">
                  <a:pos x="509" y="84"/>
                </a:cxn>
                <a:cxn ang="0">
                  <a:pos x="469" y="53"/>
                </a:cxn>
                <a:cxn ang="0">
                  <a:pos x="423" y="26"/>
                </a:cxn>
                <a:cxn ang="0">
                  <a:pos x="378" y="11"/>
                </a:cxn>
                <a:cxn ang="0">
                  <a:pos x="320" y="1"/>
                </a:cxn>
                <a:cxn ang="0">
                  <a:pos x="260" y="2"/>
                </a:cxn>
                <a:cxn ang="0">
                  <a:pos x="203" y="16"/>
                </a:cxn>
                <a:cxn ang="0">
                  <a:pos x="151" y="39"/>
                </a:cxn>
                <a:cxn ang="0">
                  <a:pos x="104" y="72"/>
                </a:cxn>
                <a:cxn ang="0">
                  <a:pos x="64" y="113"/>
                </a:cxn>
                <a:cxn ang="0">
                  <a:pos x="33" y="161"/>
                </a:cxn>
                <a:cxn ang="0">
                  <a:pos x="12" y="217"/>
                </a:cxn>
                <a:cxn ang="0">
                  <a:pos x="1" y="278"/>
                </a:cxn>
                <a:cxn ang="0">
                  <a:pos x="3" y="338"/>
                </a:cxn>
                <a:cxn ang="0">
                  <a:pos x="16" y="396"/>
                </a:cxn>
                <a:cxn ang="0">
                  <a:pos x="40" y="448"/>
                </a:cxn>
                <a:cxn ang="0">
                  <a:pos x="73" y="496"/>
                </a:cxn>
                <a:cxn ang="0">
                  <a:pos x="115" y="537"/>
                </a:cxn>
                <a:cxn ang="0">
                  <a:pos x="163" y="569"/>
                </a:cxn>
                <a:cxn ang="0">
                  <a:pos x="217" y="591"/>
                </a:cxn>
                <a:cxn ang="0">
                  <a:pos x="277" y="601"/>
                </a:cxn>
                <a:cxn ang="0">
                  <a:pos x="347" y="598"/>
                </a:cxn>
                <a:cxn ang="0">
                  <a:pos x="420" y="576"/>
                </a:cxn>
                <a:cxn ang="0">
                  <a:pos x="473" y="546"/>
                </a:cxn>
                <a:cxn ang="0">
                  <a:pos x="505" y="519"/>
                </a:cxn>
                <a:cxn ang="0">
                  <a:pos x="536" y="484"/>
                </a:cxn>
                <a:cxn ang="0">
                  <a:pos x="446" y="458"/>
                </a:cxn>
                <a:cxn ang="0">
                  <a:pos x="410" y="487"/>
                </a:cxn>
                <a:cxn ang="0">
                  <a:pos x="372" y="508"/>
                </a:cxn>
                <a:cxn ang="0">
                  <a:pos x="328" y="521"/>
                </a:cxn>
                <a:cxn ang="0">
                  <a:pos x="283" y="523"/>
                </a:cxn>
                <a:cxn ang="0">
                  <a:pos x="241" y="516"/>
                </a:cxn>
                <a:cxn ang="0">
                  <a:pos x="203" y="500"/>
                </a:cxn>
                <a:cxn ang="0">
                  <a:pos x="168" y="477"/>
                </a:cxn>
                <a:cxn ang="0">
                  <a:pos x="139" y="447"/>
                </a:cxn>
                <a:cxn ang="0">
                  <a:pos x="114" y="413"/>
                </a:cxn>
                <a:cxn ang="0">
                  <a:pos x="97" y="373"/>
                </a:cxn>
                <a:cxn ang="0">
                  <a:pos x="86" y="330"/>
                </a:cxn>
                <a:cxn ang="0">
                  <a:pos x="85" y="284"/>
                </a:cxn>
                <a:cxn ang="0">
                  <a:pos x="93" y="240"/>
                </a:cxn>
                <a:cxn ang="0">
                  <a:pos x="108" y="199"/>
                </a:cxn>
                <a:cxn ang="0">
                  <a:pos x="131" y="163"/>
                </a:cxn>
                <a:cxn ang="0">
                  <a:pos x="159" y="133"/>
                </a:cxn>
                <a:cxn ang="0">
                  <a:pos x="193" y="107"/>
                </a:cxn>
                <a:cxn ang="0">
                  <a:pos x="231" y="89"/>
                </a:cxn>
                <a:cxn ang="0">
                  <a:pos x="272" y="80"/>
                </a:cxn>
                <a:cxn ang="0">
                  <a:pos x="316" y="78"/>
                </a:cxn>
                <a:cxn ang="0">
                  <a:pos x="348" y="83"/>
                </a:cxn>
                <a:cxn ang="0">
                  <a:pos x="402" y="105"/>
                </a:cxn>
                <a:cxn ang="0">
                  <a:pos x="441" y="134"/>
                </a:cxn>
                <a:cxn ang="0">
                  <a:pos x="473" y="171"/>
                </a:cxn>
              </a:cxnLst>
              <a:rect l="0" t="0" r="r" b="b"/>
              <a:pathLst>
                <a:path w="574" h="601">
                  <a:moveTo>
                    <a:pt x="574" y="178"/>
                  </a:moveTo>
                  <a:lnTo>
                    <a:pt x="563" y="156"/>
                  </a:lnTo>
                  <a:lnTo>
                    <a:pt x="546" y="129"/>
                  </a:lnTo>
                  <a:lnTo>
                    <a:pt x="537" y="115"/>
                  </a:lnTo>
                  <a:lnTo>
                    <a:pt x="524" y="100"/>
                  </a:lnTo>
                  <a:lnTo>
                    <a:pt x="509" y="84"/>
                  </a:lnTo>
                  <a:lnTo>
                    <a:pt x="491" y="69"/>
                  </a:lnTo>
                  <a:lnTo>
                    <a:pt x="469" y="53"/>
                  </a:lnTo>
                  <a:lnTo>
                    <a:pt x="446" y="38"/>
                  </a:lnTo>
                  <a:lnTo>
                    <a:pt x="423" y="26"/>
                  </a:lnTo>
                  <a:lnTo>
                    <a:pt x="400" y="18"/>
                  </a:lnTo>
                  <a:lnTo>
                    <a:pt x="378" y="11"/>
                  </a:lnTo>
                  <a:lnTo>
                    <a:pt x="357" y="6"/>
                  </a:lnTo>
                  <a:lnTo>
                    <a:pt x="320" y="1"/>
                  </a:lnTo>
                  <a:lnTo>
                    <a:pt x="289" y="0"/>
                  </a:lnTo>
                  <a:lnTo>
                    <a:pt x="260" y="2"/>
                  </a:lnTo>
                  <a:lnTo>
                    <a:pt x="232" y="7"/>
                  </a:lnTo>
                  <a:lnTo>
                    <a:pt x="203" y="16"/>
                  </a:lnTo>
                  <a:lnTo>
                    <a:pt x="177" y="26"/>
                  </a:lnTo>
                  <a:lnTo>
                    <a:pt x="151" y="39"/>
                  </a:lnTo>
                  <a:lnTo>
                    <a:pt x="126" y="54"/>
                  </a:lnTo>
                  <a:lnTo>
                    <a:pt x="104" y="72"/>
                  </a:lnTo>
                  <a:lnTo>
                    <a:pt x="83" y="92"/>
                  </a:lnTo>
                  <a:lnTo>
                    <a:pt x="64" y="113"/>
                  </a:lnTo>
                  <a:lnTo>
                    <a:pt x="47" y="137"/>
                  </a:lnTo>
                  <a:lnTo>
                    <a:pt x="33" y="161"/>
                  </a:lnTo>
                  <a:lnTo>
                    <a:pt x="21" y="188"/>
                  </a:lnTo>
                  <a:lnTo>
                    <a:pt x="12" y="217"/>
                  </a:lnTo>
                  <a:lnTo>
                    <a:pt x="5" y="246"/>
                  </a:lnTo>
                  <a:lnTo>
                    <a:pt x="1" y="278"/>
                  </a:lnTo>
                  <a:lnTo>
                    <a:pt x="0" y="308"/>
                  </a:lnTo>
                  <a:lnTo>
                    <a:pt x="3" y="338"/>
                  </a:lnTo>
                  <a:lnTo>
                    <a:pt x="9" y="367"/>
                  </a:lnTo>
                  <a:lnTo>
                    <a:pt x="16" y="396"/>
                  </a:lnTo>
                  <a:lnTo>
                    <a:pt x="27" y="423"/>
                  </a:lnTo>
                  <a:lnTo>
                    <a:pt x="40" y="448"/>
                  </a:lnTo>
                  <a:lnTo>
                    <a:pt x="56" y="474"/>
                  </a:lnTo>
                  <a:lnTo>
                    <a:pt x="73" y="496"/>
                  </a:lnTo>
                  <a:lnTo>
                    <a:pt x="93" y="518"/>
                  </a:lnTo>
                  <a:lnTo>
                    <a:pt x="115" y="537"/>
                  </a:lnTo>
                  <a:lnTo>
                    <a:pt x="138" y="554"/>
                  </a:lnTo>
                  <a:lnTo>
                    <a:pt x="163" y="569"/>
                  </a:lnTo>
                  <a:lnTo>
                    <a:pt x="190" y="581"/>
                  </a:lnTo>
                  <a:lnTo>
                    <a:pt x="217" y="591"/>
                  </a:lnTo>
                  <a:lnTo>
                    <a:pt x="246" y="597"/>
                  </a:lnTo>
                  <a:lnTo>
                    <a:pt x="277" y="601"/>
                  </a:lnTo>
                  <a:lnTo>
                    <a:pt x="312" y="601"/>
                  </a:lnTo>
                  <a:lnTo>
                    <a:pt x="347" y="598"/>
                  </a:lnTo>
                  <a:lnTo>
                    <a:pt x="383" y="590"/>
                  </a:lnTo>
                  <a:lnTo>
                    <a:pt x="420" y="576"/>
                  </a:lnTo>
                  <a:lnTo>
                    <a:pt x="456" y="558"/>
                  </a:lnTo>
                  <a:lnTo>
                    <a:pt x="473" y="546"/>
                  </a:lnTo>
                  <a:lnTo>
                    <a:pt x="489" y="533"/>
                  </a:lnTo>
                  <a:lnTo>
                    <a:pt x="505" y="519"/>
                  </a:lnTo>
                  <a:lnTo>
                    <a:pt x="521" y="502"/>
                  </a:lnTo>
                  <a:lnTo>
                    <a:pt x="536" y="484"/>
                  </a:lnTo>
                  <a:lnTo>
                    <a:pt x="549" y="465"/>
                  </a:lnTo>
                  <a:lnTo>
                    <a:pt x="446" y="458"/>
                  </a:lnTo>
                  <a:lnTo>
                    <a:pt x="429" y="474"/>
                  </a:lnTo>
                  <a:lnTo>
                    <a:pt x="410" y="487"/>
                  </a:lnTo>
                  <a:lnTo>
                    <a:pt x="392" y="499"/>
                  </a:lnTo>
                  <a:lnTo>
                    <a:pt x="372" y="508"/>
                  </a:lnTo>
                  <a:lnTo>
                    <a:pt x="349" y="516"/>
                  </a:lnTo>
                  <a:lnTo>
                    <a:pt x="328" y="521"/>
                  </a:lnTo>
                  <a:lnTo>
                    <a:pt x="305" y="523"/>
                  </a:lnTo>
                  <a:lnTo>
                    <a:pt x="283" y="523"/>
                  </a:lnTo>
                  <a:lnTo>
                    <a:pt x="262" y="521"/>
                  </a:lnTo>
                  <a:lnTo>
                    <a:pt x="241" y="516"/>
                  </a:lnTo>
                  <a:lnTo>
                    <a:pt x="222" y="510"/>
                  </a:lnTo>
                  <a:lnTo>
                    <a:pt x="203" y="500"/>
                  </a:lnTo>
                  <a:lnTo>
                    <a:pt x="185" y="490"/>
                  </a:lnTo>
                  <a:lnTo>
                    <a:pt x="168" y="477"/>
                  </a:lnTo>
                  <a:lnTo>
                    <a:pt x="153" y="463"/>
                  </a:lnTo>
                  <a:lnTo>
                    <a:pt x="139" y="447"/>
                  </a:lnTo>
                  <a:lnTo>
                    <a:pt x="125" y="431"/>
                  </a:lnTo>
                  <a:lnTo>
                    <a:pt x="114" y="413"/>
                  </a:lnTo>
                  <a:lnTo>
                    <a:pt x="104" y="393"/>
                  </a:lnTo>
                  <a:lnTo>
                    <a:pt x="97" y="373"/>
                  </a:lnTo>
                  <a:lnTo>
                    <a:pt x="91" y="352"/>
                  </a:lnTo>
                  <a:lnTo>
                    <a:pt x="86" y="330"/>
                  </a:lnTo>
                  <a:lnTo>
                    <a:pt x="85" y="307"/>
                  </a:lnTo>
                  <a:lnTo>
                    <a:pt x="85" y="284"/>
                  </a:lnTo>
                  <a:lnTo>
                    <a:pt x="89" y="262"/>
                  </a:lnTo>
                  <a:lnTo>
                    <a:pt x="93" y="240"/>
                  </a:lnTo>
                  <a:lnTo>
                    <a:pt x="99" y="219"/>
                  </a:lnTo>
                  <a:lnTo>
                    <a:pt x="108" y="199"/>
                  </a:lnTo>
                  <a:lnTo>
                    <a:pt x="118" y="181"/>
                  </a:lnTo>
                  <a:lnTo>
                    <a:pt x="131" y="163"/>
                  </a:lnTo>
                  <a:lnTo>
                    <a:pt x="144" y="147"/>
                  </a:lnTo>
                  <a:lnTo>
                    <a:pt x="159" y="133"/>
                  </a:lnTo>
                  <a:lnTo>
                    <a:pt x="175" y="119"/>
                  </a:lnTo>
                  <a:lnTo>
                    <a:pt x="193" y="107"/>
                  </a:lnTo>
                  <a:lnTo>
                    <a:pt x="211" y="98"/>
                  </a:lnTo>
                  <a:lnTo>
                    <a:pt x="231" y="89"/>
                  </a:lnTo>
                  <a:lnTo>
                    <a:pt x="251" y="83"/>
                  </a:lnTo>
                  <a:lnTo>
                    <a:pt x="272" y="80"/>
                  </a:lnTo>
                  <a:lnTo>
                    <a:pt x="294" y="78"/>
                  </a:lnTo>
                  <a:lnTo>
                    <a:pt x="316" y="78"/>
                  </a:lnTo>
                  <a:lnTo>
                    <a:pt x="333" y="80"/>
                  </a:lnTo>
                  <a:lnTo>
                    <a:pt x="348" y="83"/>
                  </a:lnTo>
                  <a:lnTo>
                    <a:pt x="378" y="93"/>
                  </a:lnTo>
                  <a:lnTo>
                    <a:pt x="402" y="105"/>
                  </a:lnTo>
                  <a:lnTo>
                    <a:pt x="423" y="119"/>
                  </a:lnTo>
                  <a:lnTo>
                    <a:pt x="441" y="134"/>
                  </a:lnTo>
                  <a:lnTo>
                    <a:pt x="455" y="148"/>
                  </a:lnTo>
                  <a:lnTo>
                    <a:pt x="473" y="171"/>
                  </a:lnTo>
                  <a:lnTo>
                    <a:pt x="574" y="178"/>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07" name="Freeform 18"/>
            <p:cNvSpPr>
              <a:spLocks/>
            </p:cNvSpPr>
            <p:nvPr/>
          </p:nvSpPr>
          <p:spPr bwMode="auto">
            <a:xfrm>
              <a:off x="475" y="123"/>
              <a:ext cx="12" cy="34"/>
            </a:xfrm>
            <a:custGeom>
              <a:avLst/>
              <a:gdLst/>
              <a:ahLst/>
              <a:cxnLst>
                <a:cxn ang="0">
                  <a:pos x="82" y="583"/>
                </a:cxn>
                <a:cxn ang="0">
                  <a:pos x="212" y="19"/>
                </a:cxn>
                <a:cxn ang="0">
                  <a:pos x="130" y="0"/>
                </a:cxn>
                <a:cxn ang="0">
                  <a:pos x="0" y="565"/>
                </a:cxn>
                <a:cxn ang="0">
                  <a:pos x="82" y="583"/>
                </a:cxn>
              </a:cxnLst>
              <a:rect l="0" t="0" r="r" b="b"/>
              <a:pathLst>
                <a:path w="212" h="583">
                  <a:moveTo>
                    <a:pt x="82" y="583"/>
                  </a:moveTo>
                  <a:lnTo>
                    <a:pt x="212" y="19"/>
                  </a:lnTo>
                  <a:lnTo>
                    <a:pt x="130" y="0"/>
                  </a:lnTo>
                  <a:lnTo>
                    <a:pt x="0" y="565"/>
                  </a:lnTo>
                  <a:lnTo>
                    <a:pt x="82" y="583"/>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08" name="Freeform 19"/>
            <p:cNvSpPr>
              <a:spLocks noEditPoints="1"/>
            </p:cNvSpPr>
            <p:nvPr/>
          </p:nvSpPr>
          <p:spPr bwMode="auto">
            <a:xfrm>
              <a:off x="500" y="142"/>
              <a:ext cx="14" cy="13"/>
            </a:xfrm>
            <a:custGeom>
              <a:avLst/>
              <a:gdLst/>
              <a:ahLst/>
              <a:cxnLst>
                <a:cxn ang="0">
                  <a:pos x="78" y="167"/>
                </a:cxn>
                <a:cxn ang="0">
                  <a:pos x="60" y="149"/>
                </a:cxn>
                <a:cxn ang="0">
                  <a:pos x="51" y="126"/>
                </a:cxn>
                <a:cxn ang="0">
                  <a:pos x="51" y="101"/>
                </a:cxn>
                <a:cxn ang="0">
                  <a:pos x="59" y="76"/>
                </a:cxn>
                <a:cxn ang="0">
                  <a:pos x="77" y="59"/>
                </a:cxn>
                <a:cxn ang="0">
                  <a:pos x="99" y="48"/>
                </a:cxn>
                <a:cxn ang="0">
                  <a:pos x="124" y="47"/>
                </a:cxn>
                <a:cxn ang="0">
                  <a:pos x="148" y="55"/>
                </a:cxn>
                <a:cxn ang="0">
                  <a:pos x="166" y="73"/>
                </a:cxn>
                <a:cxn ang="0">
                  <a:pos x="175" y="96"/>
                </a:cxn>
                <a:cxn ang="0">
                  <a:pos x="176" y="121"/>
                </a:cxn>
                <a:cxn ang="0">
                  <a:pos x="167" y="145"/>
                </a:cxn>
                <a:cxn ang="0">
                  <a:pos x="149" y="164"/>
                </a:cxn>
                <a:cxn ang="0">
                  <a:pos x="127" y="174"/>
                </a:cxn>
                <a:cxn ang="0">
                  <a:pos x="101" y="177"/>
                </a:cxn>
                <a:cxn ang="0">
                  <a:pos x="73" y="215"/>
                </a:cxn>
                <a:cxn ang="0">
                  <a:pos x="117" y="224"/>
                </a:cxn>
                <a:cxn ang="0">
                  <a:pos x="158" y="214"/>
                </a:cxn>
                <a:cxn ang="0">
                  <a:pos x="194" y="189"/>
                </a:cxn>
                <a:cxn ang="0">
                  <a:pos x="217" y="151"/>
                </a:cxn>
                <a:cxn ang="0">
                  <a:pos x="225" y="107"/>
                </a:cxn>
                <a:cxn ang="0">
                  <a:pos x="216" y="66"/>
                </a:cxn>
                <a:cxn ang="0">
                  <a:pos x="191" y="30"/>
                </a:cxn>
                <a:cxn ang="0">
                  <a:pos x="153" y="7"/>
                </a:cxn>
                <a:cxn ang="0">
                  <a:pos x="109" y="0"/>
                </a:cxn>
                <a:cxn ang="0">
                  <a:pos x="68" y="9"/>
                </a:cxn>
                <a:cxn ang="0">
                  <a:pos x="32" y="33"/>
                </a:cxn>
                <a:cxn ang="0">
                  <a:pos x="9" y="71"/>
                </a:cxn>
                <a:cxn ang="0">
                  <a:pos x="0" y="115"/>
                </a:cxn>
                <a:cxn ang="0">
                  <a:pos x="10" y="157"/>
                </a:cxn>
                <a:cxn ang="0">
                  <a:pos x="35" y="192"/>
                </a:cxn>
                <a:cxn ang="0">
                  <a:pos x="73" y="215"/>
                </a:cxn>
              </a:cxnLst>
              <a:rect l="0" t="0" r="r" b="b"/>
              <a:pathLst>
                <a:path w="225" h="224">
                  <a:moveTo>
                    <a:pt x="90" y="172"/>
                  </a:moveTo>
                  <a:lnTo>
                    <a:pt x="78" y="167"/>
                  </a:lnTo>
                  <a:lnTo>
                    <a:pt x="68" y="159"/>
                  </a:lnTo>
                  <a:lnTo>
                    <a:pt x="60" y="149"/>
                  </a:lnTo>
                  <a:lnTo>
                    <a:pt x="55" y="138"/>
                  </a:lnTo>
                  <a:lnTo>
                    <a:pt x="51" y="126"/>
                  </a:lnTo>
                  <a:lnTo>
                    <a:pt x="50" y="113"/>
                  </a:lnTo>
                  <a:lnTo>
                    <a:pt x="51" y="101"/>
                  </a:lnTo>
                  <a:lnTo>
                    <a:pt x="54" y="88"/>
                  </a:lnTo>
                  <a:lnTo>
                    <a:pt x="59" y="76"/>
                  </a:lnTo>
                  <a:lnTo>
                    <a:pt x="68" y="67"/>
                  </a:lnTo>
                  <a:lnTo>
                    <a:pt x="77" y="59"/>
                  </a:lnTo>
                  <a:lnTo>
                    <a:pt x="88" y="52"/>
                  </a:lnTo>
                  <a:lnTo>
                    <a:pt x="99" y="48"/>
                  </a:lnTo>
                  <a:lnTo>
                    <a:pt x="112" y="46"/>
                  </a:lnTo>
                  <a:lnTo>
                    <a:pt x="124" y="47"/>
                  </a:lnTo>
                  <a:lnTo>
                    <a:pt x="136" y="50"/>
                  </a:lnTo>
                  <a:lnTo>
                    <a:pt x="148" y="55"/>
                  </a:lnTo>
                  <a:lnTo>
                    <a:pt x="158" y="64"/>
                  </a:lnTo>
                  <a:lnTo>
                    <a:pt x="166" y="73"/>
                  </a:lnTo>
                  <a:lnTo>
                    <a:pt x="172" y="84"/>
                  </a:lnTo>
                  <a:lnTo>
                    <a:pt x="175" y="96"/>
                  </a:lnTo>
                  <a:lnTo>
                    <a:pt x="176" y="108"/>
                  </a:lnTo>
                  <a:lnTo>
                    <a:pt x="176" y="121"/>
                  </a:lnTo>
                  <a:lnTo>
                    <a:pt x="172" y="133"/>
                  </a:lnTo>
                  <a:lnTo>
                    <a:pt x="167" y="145"/>
                  </a:lnTo>
                  <a:lnTo>
                    <a:pt x="158" y="155"/>
                  </a:lnTo>
                  <a:lnTo>
                    <a:pt x="149" y="164"/>
                  </a:lnTo>
                  <a:lnTo>
                    <a:pt x="138" y="170"/>
                  </a:lnTo>
                  <a:lnTo>
                    <a:pt x="127" y="174"/>
                  </a:lnTo>
                  <a:lnTo>
                    <a:pt x="114" y="177"/>
                  </a:lnTo>
                  <a:lnTo>
                    <a:pt x="101" y="177"/>
                  </a:lnTo>
                  <a:lnTo>
                    <a:pt x="90" y="172"/>
                  </a:lnTo>
                  <a:close/>
                  <a:moveTo>
                    <a:pt x="73" y="215"/>
                  </a:moveTo>
                  <a:lnTo>
                    <a:pt x="95" y="222"/>
                  </a:lnTo>
                  <a:lnTo>
                    <a:pt x="117" y="224"/>
                  </a:lnTo>
                  <a:lnTo>
                    <a:pt x="138" y="221"/>
                  </a:lnTo>
                  <a:lnTo>
                    <a:pt x="158" y="214"/>
                  </a:lnTo>
                  <a:lnTo>
                    <a:pt x="177" y="204"/>
                  </a:lnTo>
                  <a:lnTo>
                    <a:pt x="194" y="189"/>
                  </a:lnTo>
                  <a:lnTo>
                    <a:pt x="208" y="172"/>
                  </a:lnTo>
                  <a:lnTo>
                    <a:pt x="217" y="151"/>
                  </a:lnTo>
                  <a:lnTo>
                    <a:pt x="223" y="129"/>
                  </a:lnTo>
                  <a:lnTo>
                    <a:pt x="225" y="107"/>
                  </a:lnTo>
                  <a:lnTo>
                    <a:pt x="222" y="86"/>
                  </a:lnTo>
                  <a:lnTo>
                    <a:pt x="216" y="66"/>
                  </a:lnTo>
                  <a:lnTo>
                    <a:pt x="204" y="47"/>
                  </a:lnTo>
                  <a:lnTo>
                    <a:pt x="191" y="30"/>
                  </a:lnTo>
                  <a:lnTo>
                    <a:pt x="174" y="18"/>
                  </a:lnTo>
                  <a:lnTo>
                    <a:pt x="153" y="7"/>
                  </a:lnTo>
                  <a:lnTo>
                    <a:pt x="131" y="1"/>
                  </a:lnTo>
                  <a:lnTo>
                    <a:pt x="109" y="0"/>
                  </a:lnTo>
                  <a:lnTo>
                    <a:pt x="88" y="2"/>
                  </a:lnTo>
                  <a:lnTo>
                    <a:pt x="68" y="9"/>
                  </a:lnTo>
                  <a:lnTo>
                    <a:pt x="49" y="20"/>
                  </a:lnTo>
                  <a:lnTo>
                    <a:pt x="32" y="33"/>
                  </a:lnTo>
                  <a:lnTo>
                    <a:pt x="18" y="50"/>
                  </a:lnTo>
                  <a:lnTo>
                    <a:pt x="9" y="71"/>
                  </a:lnTo>
                  <a:lnTo>
                    <a:pt x="2" y="93"/>
                  </a:lnTo>
                  <a:lnTo>
                    <a:pt x="0" y="115"/>
                  </a:lnTo>
                  <a:lnTo>
                    <a:pt x="3" y="136"/>
                  </a:lnTo>
                  <a:lnTo>
                    <a:pt x="10" y="157"/>
                  </a:lnTo>
                  <a:lnTo>
                    <a:pt x="20" y="175"/>
                  </a:lnTo>
                  <a:lnTo>
                    <a:pt x="35" y="192"/>
                  </a:lnTo>
                  <a:lnTo>
                    <a:pt x="52" y="206"/>
                  </a:lnTo>
                  <a:lnTo>
                    <a:pt x="73" y="215"/>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09" name="Freeform 20"/>
            <p:cNvSpPr>
              <a:spLocks/>
            </p:cNvSpPr>
            <p:nvPr/>
          </p:nvSpPr>
          <p:spPr bwMode="auto">
            <a:xfrm>
              <a:off x="523" y="143"/>
              <a:ext cx="41" cy="43"/>
            </a:xfrm>
            <a:custGeom>
              <a:avLst/>
              <a:gdLst/>
              <a:ahLst/>
              <a:cxnLst>
                <a:cxn ang="0">
                  <a:pos x="0" y="496"/>
                </a:cxn>
                <a:cxn ang="0">
                  <a:pos x="298" y="0"/>
                </a:cxn>
                <a:cxn ang="0">
                  <a:pos x="371" y="44"/>
                </a:cxn>
                <a:cxn ang="0">
                  <a:pos x="144" y="421"/>
                </a:cxn>
                <a:cxn ang="0">
                  <a:pos x="146" y="423"/>
                </a:cxn>
                <a:cxn ang="0">
                  <a:pos x="614" y="190"/>
                </a:cxn>
                <a:cxn ang="0">
                  <a:pos x="693" y="237"/>
                </a:cxn>
                <a:cxn ang="0">
                  <a:pos x="395" y="734"/>
                </a:cxn>
                <a:cxn ang="0">
                  <a:pos x="322" y="690"/>
                </a:cxn>
                <a:cxn ang="0">
                  <a:pos x="553" y="307"/>
                </a:cxn>
                <a:cxn ang="0">
                  <a:pos x="552" y="306"/>
                </a:cxn>
                <a:cxn ang="0">
                  <a:pos x="75" y="542"/>
                </a:cxn>
                <a:cxn ang="0">
                  <a:pos x="0" y="496"/>
                </a:cxn>
              </a:cxnLst>
              <a:rect l="0" t="0" r="r" b="b"/>
              <a:pathLst>
                <a:path w="693" h="734">
                  <a:moveTo>
                    <a:pt x="0" y="496"/>
                  </a:moveTo>
                  <a:lnTo>
                    <a:pt x="298" y="0"/>
                  </a:lnTo>
                  <a:lnTo>
                    <a:pt x="371" y="44"/>
                  </a:lnTo>
                  <a:lnTo>
                    <a:pt x="144" y="421"/>
                  </a:lnTo>
                  <a:lnTo>
                    <a:pt x="146" y="423"/>
                  </a:lnTo>
                  <a:lnTo>
                    <a:pt x="614" y="190"/>
                  </a:lnTo>
                  <a:lnTo>
                    <a:pt x="693" y="237"/>
                  </a:lnTo>
                  <a:lnTo>
                    <a:pt x="395" y="734"/>
                  </a:lnTo>
                  <a:lnTo>
                    <a:pt x="322" y="690"/>
                  </a:lnTo>
                  <a:lnTo>
                    <a:pt x="553" y="307"/>
                  </a:lnTo>
                  <a:lnTo>
                    <a:pt x="552" y="306"/>
                  </a:lnTo>
                  <a:lnTo>
                    <a:pt x="75" y="542"/>
                  </a:lnTo>
                  <a:lnTo>
                    <a:pt x="0" y="496"/>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10" name="Freeform 21"/>
            <p:cNvSpPr>
              <a:spLocks/>
            </p:cNvSpPr>
            <p:nvPr/>
          </p:nvSpPr>
          <p:spPr bwMode="auto">
            <a:xfrm>
              <a:off x="554" y="166"/>
              <a:ext cx="40" cy="41"/>
            </a:xfrm>
            <a:custGeom>
              <a:avLst/>
              <a:gdLst/>
              <a:ahLst/>
              <a:cxnLst>
                <a:cxn ang="0">
                  <a:pos x="314" y="707"/>
                </a:cxn>
                <a:cxn ang="0">
                  <a:pos x="328" y="337"/>
                </a:cxn>
                <a:cxn ang="0">
                  <a:pos x="686" y="263"/>
                </a:cxn>
                <a:cxn ang="0">
                  <a:pos x="606" y="195"/>
                </a:cxn>
                <a:cxn ang="0">
                  <a:pos x="254" y="274"/>
                </a:cxn>
                <a:cxn ang="0">
                  <a:pos x="253" y="273"/>
                </a:cxn>
                <a:cxn ang="0">
                  <a:pos x="437" y="53"/>
                </a:cxn>
                <a:cxn ang="0">
                  <a:pos x="373" y="0"/>
                </a:cxn>
                <a:cxn ang="0">
                  <a:pos x="0" y="443"/>
                </a:cxn>
                <a:cxn ang="0">
                  <a:pos x="64" y="498"/>
                </a:cxn>
                <a:cxn ang="0">
                  <a:pos x="253" y="273"/>
                </a:cxn>
                <a:cxn ang="0">
                  <a:pos x="254" y="274"/>
                </a:cxn>
                <a:cxn ang="0">
                  <a:pos x="235" y="640"/>
                </a:cxn>
                <a:cxn ang="0">
                  <a:pos x="314" y="707"/>
                </a:cxn>
              </a:cxnLst>
              <a:rect l="0" t="0" r="r" b="b"/>
              <a:pathLst>
                <a:path w="686" h="707">
                  <a:moveTo>
                    <a:pt x="314" y="707"/>
                  </a:moveTo>
                  <a:lnTo>
                    <a:pt x="328" y="337"/>
                  </a:lnTo>
                  <a:lnTo>
                    <a:pt x="686" y="263"/>
                  </a:lnTo>
                  <a:lnTo>
                    <a:pt x="606" y="195"/>
                  </a:lnTo>
                  <a:lnTo>
                    <a:pt x="254" y="274"/>
                  </a:lnTo>
                  <a:lnTo>
                    <a:pt x="253" y="273"/>
                  </a:lnTo>
                  <a:lnTo>
                    <a:pt x="437" y="53"/>
                  </a:lnTo>
                  <a:lnTo>
                    <a:pt x="373" y="0"/>
                  </a:lnTo>
                  <a:lnTo>
                    <a:pt x="0" y="443"/>
                  </a:lnTo>
                  <a:lnTo>
                    <a:pt x="64" y="498"/>
                  </a:lnTo>
                  <a:lnTo>
                    <a:pt x="253" y="273"/>
                  </a:lnTo>
                  <a:lnTo>
                    <a:pt x="254" y="274"/>
                  </a:lnTo>
                  <a:lnTo>
                    <a:pt x="235" y="640"/>
                  </a:lnTo>
                  <a:lnTo>
                    <a:pt x="314" y="707"/>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11" name="Freeform 22"/>
            <p:cNvSpPr>
              <a:spLocks noEditPoints="1"/>
            </p:cNvSpPr>
            <p:nvPr/>
          </p:nvSpPr>
          <p:spPr bwMode="auto">
            <a:xfrm>
              <a:off x="573" y="195"/>
              <a:ext cx="37" cy="36"/>
            </a:xfrm>
            <a:custGeom>
              <a:avLst/>
              <a:gdLst/>
              <a:ahLst/>
              <a:cxnLst>
                <a:cxn ang="0">
                  <a:pos x="345" y="607"/>
                </a:cxn>
                <a:cxn ang="0">
                  <a:pos x="629" y="56"/>
                </a:cxn>
                <a:cxn ang="0">
                  <a:pos x="577" y="0"/>
                </a:cxn>
                <a:cxn ang="0">
                  <a:pos x="0" y="224"/>
                </a:cxn>
                <a:cxn ang="0">
                  <a:pos x="60" y="290"/>
                </a:cxn>
                <a:cxn ang="0">
                  <a:pos x="229" y="224"/>
                </a:cxn>
                <a:cxn ang="0">
                  <a:pos x="369" y="379"/>
                </a:cxn>
                <a:cxn ang="0">
                  <a:pos x="285" y="541"/>
                </a:cxn>
                <a:cxn ang="0">
                  <a:pos x="345" y="607"/>
                </a:cxn>
                <a:cxn ang="0">
                  <a:pos x="307" y="194"/>
                </a:cxn>
                <a:cxn ang="0">
                  <a:pos x="522" y="101"/>
                </a:cxn>
                <a:cxn ang="0">
                  <a:pos x="523" y="102"/>
                </a:cxn>
                <a:cxn ang="0">
                  <a:pos x="407" y="305"/>
                </a:cxn>
                <a:cxn ang="0">
                  <a:pos x="307" y="194"/>
                </a:cxn>
              </a:cxnLst>
              <a:rect l="0" t="0" r="r" b="b"/>
              <a:pathLst>
                <a:path w="629" h="607">
                  <a:moveTo>
                    <a:pt x="345" y="607"/>
                  </a:moveTo>
                  <a:lnTo>
                    <a:pt x="629" y="56"/>
                  </a:lnTo>
                  <a:lnTo>
                    <a:pt x="577" y="0"/>
                  </a:lnTo>
                  <a:lnTo>
                    <a:pt x="0" y="224"/>
                  </a:lnTo>
                  <a:lnTo>
                    <a:pt x="60" y="290"/>
                  </a:lnTo>
                  <a:lnTo>
                    <a:pt x="229" y="224"/>
                  </a:lnTo>
                  <a:lnTo>
                    <a:pt x="369" y="379"/>
                  </a:lnTo>
                  <a:lnTo>
                    <a:pt x="285" y="541"/>
                  </a:lnTo>
                  <a:lnTo>
                    <a:pt x="345" y="607"/>
                  </a:lnTo>
                  <a:close/>
                  <a:moveTo>
                    <a:pt x="307" y="194"/>
                  </a:moveTo>
                  <a:lnTo>
                    <a:pt x="522" y="101"/>
                  </a:lnTo>
                  <a:lnTo>
                    <a:pt x="523" y="102"/>
                  </a:lnTo>
                  <a:lnTo>
                    <a:pt x="407" y="305"/>
                  </a:lnTo>
                  <a:lnTo>
                    <a:pt x="307" y="194"/>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12" name="Freeform 23"/>
            <p:cNvSpPr>
              <a:spLocks noEditPoints="1"/>
            </p:cNvSpPr>
            <p:nvPr/>
          </p:nvSpPr>
          <p:spPr bwMode="auto">
            <a:xfrm>
              <a:off x="600" y="221"/>
              <a:ext cx="36" cy="36"/>
            </a:xfrm>
            <a:custGeom>
              <a:avLst/>
              <a:gdLst/>
              <a:ahLst/>
              <a:cxnLst>
                <a:cxn ang="0">
                  <a:pos x="502" y="524"/>
                </a:cxn>
                <a:cxn ang="0">
                  <a:pos x="558" y="456"/>
                </a:cxn>
                <a:cxn ang="0">
                  <a:pos x="592" y="377"/>
                </a:cxn>
                <a:cxn ang="0">
                  <a:pos x="601" y="291"/>
                </a:cxn>
                <a:cxn ang="0">
                  <a:pos x="585" y="203"/>
                </a:cxn>
                <a:cxn ang="0">
                  <a:pos x="539" y="119"/>
                </a:cxn>
                <a:cxn ang="0">
                  <a:pos x="474" y="55"/>
                </a:cxn>
                <a:cxn ang="0">
                  <a:pos x="395" y="15"/>
                </a:cxn>
                <a:cxn ang="0">
                  <a:pos x="311" y="0"/>
                </a:cxn>
                <a:cxn ang="0">
                  <a:pos x="225" y="10"/>
                </a:cxn>
                <a:cxn ang="0">
                  <a:pos x="145" y="43"/>
                </a:cxn>
                <a:cxn ang="0">
                  <a:pos x="77" y="99"/>
                </a:cxn>
                <a:cxn ang="0">
                  <a:pos x="29" y="171"/>
                </a:cxn>
                <a:cxn ang="0">
                  <a:pos x="3" y="253"/>
                </a:cxn>
                <a:cxn ang="0">
                  <a:pos x="2" y="340"/>
                </a:cxn>
                <a:cxn ang="0">
                  <a:pos x="27" y="428"/>
                </a:cxn>
                <a:cxn ang="0">
                  <a:pos x="79" y="507"/>
                </a:cxn>
                <a:cxn ang="0">
                  <a:pos x="150" y="562"/>
                </a:cxn>
                <a:cxn ang="0">
                  <a:pos x="231" y="594"/>
                </a:cxn>
                <a:cxn ang="0">
                  <a:pos x="316" y="602"/>
                </a:cxn>
                <a:cxn ang="0">
                  <a:pos x="401" y="585"/>
                </a:cxn>
                <a:cxn ang="0">
                  <a:pos x="410" y="489"/>
                </a:cxn>
                <a:cxn ang="0">
                  <a:pos x="359" y="510"/>
                </a:cxn>
                <a:cxn ang="0">
                  <a:pos x="300" y="520"/>
                </a:cxn>
                <a:cxn ang="0">
                  <a:pos x="238" y="514"/>
                </a:cxn>
                <a:cxn ang="0">
                  <a:pos x="177" y="489"/>
                </a:cxn>
                <a:cxn ang="0">
                  <a:pos x="124" y="439"/>
                </a:cxn>
                <a:cxn ang="0">
                  <a:pos x="87" y="369"/>
                </a:cxn>
                <a:cxn ang="0">
                  <a:pos x="77" y="300"/>
                </a:cxn>
                <a:cxn ang="0">
                  <a:pos x="89" y="236"/>
                </a:cxn>
                <a:cxn ang="0">
                  <a:pos x="118" y="181"/>
                </a:cxn>
                <a:cxn ang="0">
                  <a:pos x="158" y="137"/>
                </a:cxn>
                <a:cxn ang="0">
                  <a:pos x="204" y="106"/>
                </a:cxn>
                <a:cxn ang="0">
                  <a:pos x="258" y="89"/>
                </a:cxn>
                <a:cxn ang="0">
                  <a:pos x="319" y="83"/>
                </a:cxn>
                <a:cxn ang="0">
                  <a:pos x="383" y="95"/>
                </a:cxn>
                <a:cxn ang="0">
                  <a:pos x="441" y="128"/>
                </a:cxn>
                <a:cxn ang="0">
                  <a:pos x="491" y="186"/>
                </a:cxn>
                <a:cxn ang="0">
                  <a:pos x="519" y="256"/>
                </a:cxn>
                <a:cxn ang="0">
                  <a:pos x="521" y="322"/>
                </a:cxn>
                <a:cxn ang="0">
                  <a:pos x="504" y="383"/>
                </a:cxn>
                <a:cxn ang="0">
                  <a:pos x="470" y="436"/>
                </a:cxn>
                <a:cxn ang="0">
                  <a:pos x="426" y="478"/>
                </a:cxn>
              </a:cxnLst>
              <a:rect l="0" t="0" r="r" b="b"/>
              <a:pathLst>
                <a:path w="601" h="602">
                  <a:moveTo>
                    <a:pt x="454" y="560"/>
                  </a:moveTo>
                  <a:lnTo>
                    <a:pt x="479" y="543"/>
                  </a:lnTo>
                  <a:lnTo>
                    <a:pt x="502" y="524"/>
                  </a:lnTo>
                  <a:lnTo>
                    <a:pt x="524" y="503"/>
                  </a:lnTo>
                  <a:lnTo>
                    <a:pt x="542" y="480"/>
                  </a:lnTo>
                  <a:lnTo>
                    <a:pt x="558" y="456"/>
                  </a:lnTo>
                  <a:lnTo>
                    <a:pt x="572" y="431"/>
                  </a:lnTo>
                  <a:lnTo>
                    <a:pt x="583" y="404"/>
                  </a:lnTo>
                  <a:lnTo>
                    <a:pt x="592" y="377"/>
                  </a:lnTo>
                  <a:lnTo>
                    <a:pt x="598" y="349"/>
                  </a:lnTo>
                  <a:lnTo>
                    <a:pt x="601" y="320"/>
                  </a:lnTo>
                  <a:lnTo>
                    <a:pt x="601" y="291"/>
                  </a:lnTo>
                  <a:lnTo>
                    <a:pt x="599" y="261"/>
                  </a:lnTo>
                  <a:lnTo>
                    <a:pt x="593" y="232"/>
                  </a:lnTo>
                  <a:lnTo>
                    <a:pt x="585" y="203"/>
                  </a:lnTo>
                  <a:lnTo>
                    <a:pt x="573" y="175"/>
                  </a:lnTo>
                  <a:lnTo>
                    <a:pt x="557" y="146"/>
                  </a:lnTo>
                  <a:lnTo>
                    <a:pt x="539" y="119"/>
                  </a:lnTo>
                  <a:lnTo>
                    <a:pt x="519" y="95"/>
                  </a:lnTo>
                  <a:lnTo>
                    <a:pt x="497" y="74"/>
                  </a:lnTo>
                  <a:lnTo>
                    <a:pt x="474" y="55"/>
                  </a:lnTo>
                  <a:lnTo>
                    <a:pt x="449" y="39"/>
                  </a:lnTo>
                  <a:lnTo>
                    <a:pt x="422" y="25"/>
                  </a:lnTo>
                  <a:lnTo>
                    <a:pt x="395" y="15"/>
                  </a:lnTo>
                  <a:lnTo>
                    <a:pt x="368" y="8"/>
                  </a:lnTo>
                  <a:lnTo>
                    <a:pt x="339" y="2"/>
                  </a:lnTo>
                  <a:lnTo>
                    <a:pt x="311" y="0"/>
                  </a:lnTo>
                  <a:lnTo>
                    <a:pt x="282" y="0"/>
                  </a:lnTo>
                  <a:lnTo>
                    <a:pt x="253" y="3"/>
                  </a:lnTo>
                  <a:lnTo>
                    <a:pt x="225" y="10"/>
                  </a:lnTo>
                  <a:lnTo>
                    <a:pt x="197" y="18"/>
                  </a:lnTo>
                  <a:lnTo>
                    <a:pt x="171" y="29"/>
                  </a:lnTo>
                  <a:lnTo>
                    <a:pt x="145" y="43"/>
                  </a:lnTo>
                  <a:lnTo>
                    <a:pt x="121" y="59"/>
                  </a:lnTo>
                  <a:lnTo>
                    <a:pt x="97" y="78"/>
                  </a:lnTo>
                  <a:lnTo>
                    <a:pt x="77" y="99"/>
                  </a:lnTo>
                  <a:lnTo>
                    <a:pt x="58" y="121"/>
                  </a:lnTo>
                  <a:lnTo>
                    <a:pt x="43" y="145"/>
                  </a:lnTo>
                  <a:lnTo>
                    <a:pt x="29" y="171"/>
                  </a:lnTo>
                  <a:lnTo>
                    <a:pt x="17" y="197"/>
                  </a:lnTo>
                  <a:lnTo>
                    <a:pt x="9" y="224"/>
                  </a:lnTo>
                  <a:lnTo>
                    <a:pt x="3" y="253"/>
                  </a:lnTo>
                  <a:lnTo>
                    <a:pt x="0" y="281"/>
                  </a:lnTo>
                  <a:lnTo>
                    <a:pt x="0" y="311"/>
                  </a:lnTo>
                  <a:lnTo>
                    <a:pt x="2" y="340"/>
                  </a:lnTo>
                  <a:lnTo>
                    <a:pt x="7" y="370"/>
                  </a:lnTo>
                  <a:lnTo>
                    <a:pt x="15" y="399"/>
                  </a:lnTo>
                  <a:lnTo>
                    <a:pt x="27" y="428"/>
                  </a:lnTo>
                  <a:lnTo>
                    <a:pt x="43" y="456"/>
                  </a:lnTo>
                  <a:lnTo>
                    <a:pt x="61" y="482"/>
                  </a:lnTo>
                  <a:lnTo>
                    <a:pt x="79" y="507"/>
                  </a:lnTo>
                  <a:lnTo>
                    <a:pt x="102" y="528"/>
                  </a:lnTo>
                  <a:lnTo>
                    <a:pt x="125" y="547"/>
                  </a:lnTo>
                  <a:lnTo>
                    <a:pt x="150" y="562"/>
                  </a:lnTo>
                  <a:lnTo>
                    <a:pt x="176" y="576"/>
                  </a:lnTo>
                  <a:lnTo>
                    <a:pt x="203" y="587"/>
                  </a:lnTo>
                  <a:lnTo>
                    <a:pt x="231" y="594"/>
                  </a:lnTo>
                  <a:lnTo>
                    <a:pt x="259" y="599"/>
                  </a:lnTo>
                  <a:lnTo>
                    <a:pt x="288" y="602"/>
                  </a:lnTo>
                  <a:lnTo>
                    <a:pt x="316" y="602"/>
                  </a:lnTo>
                  <a:lnTo>
                    <a:pt x="345" y="599"/>
                  </a:lnTo>
                  <a:lnTo>
                    <a:pt x="373" y="594"/>
                  </a:lnTo>
                  <a:lnTo>
                    <a:pt x="401" y="585"/>
                  </a:lnTo>
                  <a:lnTo>
                    <a:pt x="428" y="574"/>
                  </a:lnTo>
                  <a:lnTo>
                    <a:pt x="454" y="560"/>
                  </a:lnTo>
                  <a:close/>
                  <a:moveTo>
                    <a:pt x="410" y="489"/>
                  </a:moveTo>
                  <a:lnTo>
                    <a:pt x="394" y="497"/>
                  </a:lnTo>
                  <a:lnTo>
                    <a:pt x="377" y="504"/>
                  </a:lnTo>
                  <a:lnTo>
                    <a:pt x="359" y="510"/>
                  </a:lnTo>
                  <a:lnTo>
                    <a:pt x="340" y="515"/>
                  </a:lnTo>
                  <a:lnTo>
                    <a:pt x="320" y="518"/>
                  </a:lnTo>
                  <a:lnTo>
                    <a:pt x="300" y="520"/>
                  </a:lnTo>
                  <a:lnTo>
                    <a:pt x="279" y="520"/>
                  </a:lnTo>
                  <a:lnTo>
                    <a:pt x="259" y="518"/>
                  </a:lnTo>
                  <a:lnTo>
                    <a:pt x="238" y="514"/>
                  </a:lnTo>
                  <a:lnTo>
                    <a:pt x="217" y="508"/>
                  </a:lnTo>
                  <a:lnTo>
                    <a:pt x="197" y="499"/>
                  </a:lnTo>
                  <a:lnTo>
                    <a:pt x="177" y="489"/>
                  </a:lnTo>
                  <a:lnTo>
                    <a:pt x="158" y="475"/>
                  </a:lnTo>
                  <a:lnTo>
                    <a:pt x="141" y="458"/>
                  </a:lnTo>
                  <a:lnTo>
                    <a:pt x="124" y="439"/>
                  </a:lnTo>
                  <a:lnTo>
                    <a:pt x="109" y="416"/>
                  </a:lnTo>
                  <a:lnTo>
                    <a:pt x="96" y="393"/>
                  </a:lnTo>
                  <a:lnTo>
                    <a:pt x="87" y="369"/>
                  </a:lnTo>
                  <a:lnTo>
                    <a:pt x="81" y="345"/>
                  </a:lnTo>
                  <a:lnTo>
                    <a:pt x="77" y="322"/>
                  </a:lnTo>
                  <a:lnTo>
                    <a:pt x="77" y="300"/>
                  </a:lnTo>
                  <a:lnTo>
                    <a:pt x="78" y="278"/>
                  </a:lnTo>
                  <a:lnTo>
                    <a:pt x="83" y="257"/>
                  </a:lnTo>
                  <a:lnTo>
                    <a:pt x="89" y="236"/>
                  </a:lnTo>
                  <a:lnTo>
                    <a:pt x="97" y="217"/>
                  </a:lnTo>
                  <a:lnTo>
                    <a:pt x="107" y="198"/>
                  </a:lnTo>
                  <a:lnTo>
                    <a:pt x="118" y="181"/>
                  </a:lnTo>
                  <a:lnTo>
                    <a:pt x="131" y="165"/>
                  </a:lnTo>
                  <a:lnTo>
                    <a:pt x="145" y="151"/>
                  </a:lnTo>
                  <a:lnTo>
                    <a:pt x="158" y="137"/>
                  </a:lnTo>
                  <a:lnTo>
                    <a:pt x="173" y="125"/>
                  </a:lnTo>
                  <a:lnTo>
                    <a:pt x="188" y="115"/>
                  </a:lnTo>
                  <a:lnTo>
                    <a:pt x="204" y="106"/>
                  </a:lnTo>
                  <a:lnTo>
                    <a:pt x="220" y="99"/>
                  </a:lnTo>
                  <a:lnTo>
                    <a:pt x="239" y="93"/>
                  </a:lnTo>
                  <a:lnTo>
                    <a:pt x="258" y="89"/>
                  </a:lnTo>
                  <a:lnTo>
                    <a:pt x="278" y="84"/>
                  </a:lnTo>
                  <a:lnTo>
                    <a:pt x="298" y="83"/>
                  </a:lnTo>
                  <a:lnTo>
                    <a:pt x="319" y="83"/>
                  </a:lnTo>
                  <a:lnTo>
                    <a:pt x="340" y="84"/>
                  </a:lnTo>
                  <a:lnTo>
                    <a:pt x="361" y="89"/>
                  </a:lnTo>
                  <a:lnTo>
                    <a:pt x="383" y="95"/>
                  </a:lnTo>
                  <a:lnTo>
                    <a:pt x="403" y="103"/>
                  </a:lnTo>
                  <a:lnTo>
                    <a:pt x="422" y="115"/>
                  </a:lnTo>
                  <a:lnTo>
                    <a:pt x="441" y="128"/>
                  </a:lnTo>
                  <a:lnTo>
                    <a:pt x="459" y="144"/>
                  </a:lnTo>
                  <a:lnTo>
                    <a:pt x="476" y="163"/>
                  </a:lnTo>
                  <a:lnTo>
                    <a:pt x="491" y="186"/>
                  </a:lnTo>
                  <a:lnTo>
                    <a:pt x="504" y="210"/>
                  </a:lnTo>
                  <a:lnTo>
                    <a:pt x="513" y="233"/>
                  </a:lnTo>
                  <a:lnTo>
                    <a:pt x="519" y="256"/>
                  </a:lnTo>
                  <a:lnTo>
                    <a:pt x="522" y="278"/>
                  </a:lnTo>
                  <a:lnTo>
                    <a:pt x="522" y="300"/>
                  </a:lnTo>
                  <a:lnTo>
                    <a:pt x="521" y="322"/>
                  </a:lnTo>
                  <a:lnTo>
                    <a:pt x="517" y="343"/>
                  </a:lnTo>
                  <a:lnTo>
                    <a:pt x="511" y="363"/>
                  </a:lnTo>
                  <a:lnTo>
                    <a:pt x="504" y="383"/>
                  </a:lnTo>
                  <a:lnTo>
                    <a:pt x="494" y="402"/>
                  </a:lnTo>
                  <a:lnTo>
                    <a:pt x="482" y="420"/>
                  </a:lnTo>
                  <a:lnTo>
                    <a:pt x="470" y="436"/>
                  </a:lnTo>
                  <a:lnTo>
                    <a:pt x="456" y="452"/>
                  </a:lnTo>
                  <a:lnTo>
                    <a:pt x="441" y="465"/>
                  </a:lnTo>
                  <a:lnTo>
                    <a:pt x="426" y="478"/>
                  </a:lnTo>
                  <a:lnTo>
                    <a:pt x="410" y="489"/>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13" name="Freeform 24"/>
            <p:cNvSpPr>
              <a:spLocks noEditPoints="1"/>
            </p:cNvSpPr>
            <p:nvPr/>
          </p:nvSpPr>
          <p:spPr bwMode="auto">
            <a:xfrm>
              <a:off x="256" y="478"/>
              <a:ext cx="42" cy="42"/>
            </a:xfrm>
            <a:custGeom>
              <a:avLst/>
              <a:gdLst/>
              <a:ahLst/>
              <a:cxnLst>
                <a:cxn ang="0">
                  <a:pos x="565" y="346"/>
                </a:cxn>
                <a:cxn ang="0">
                  <a:pos x="407" y="97"/>
                </a:cxn>
                <a:cxn ang="0">
                  <a:pos x="403" y="368"/>
                </a:cxn>
                <a:cxn ang="0">
                  <a:pos x="478" y="441"/>
                </a:cxn>
                <a:cxn ang="0">
                  <a:pos x="505" y="465"/>
                </a:cxn>
                <a:cxn ang="0">
                  <a:pos x="544" y="490"/>
                </a:cxn>
                <a:cxn ang="0">
                  <a:pos x="550" y="503"/>
                </a:cxn>
                <a:cxn ang="0">
                  <a:pos x="548" y="523"/>
                </a:cxn>
                <a:cxn ang="0">
                  <a:pos x="536" y="538"/>
                </a:cxn>
                <a:cxn ang="0">
                  <a:pos x="508" y="540"/>
                </a:cxn>
                <a:cxn ang="0">
                  <a:pos x="481" y="534"/>
                </a:cxn>
                <a:cxn ang="0">
                  <a:pos x="470" y="523"/>
                </a:cxn>
                <a:cxn ang="0">
                  <a:pos x="461" y="504"/>
                </a:cxn>
                <a:cxn ang="0">
                  <a:pos x="452" y="491"/>
                </a:cxn>
                <a:cxn ang="0">
                  <a:pos x="363" y="444"/>
                </a:cxn>
                <a:cxn ang="0">
                  <a:pos x="352" y="489"/>
                </a:cxn>
                <a:cxn ang="0">
                  <a:pos x="353" y="548"/>
                </a:cxn>
                <a:cxn ang="0">
                  <a:pos x="355" y="599"/>
                </a:cxn>
                <a:cxn ang="0">
                  <a:pos x="362" y="617"/>
                </a:cxn>
                <a:cxn ang="0">
                  <a:pos x="371" y="625"/>
                </a:cxn>
                <a:cxn ang="0">
                  <a:pos x="390" y="626"/>
                </a:cxn>
                <a:cxn ang="0">
                  <a:pos x="413" y="616"/>
                </a:cxn>
                <a:cxn ang="0">
                  <a:pos x="450" y="664"/>
                </a:cxn>
                <a:cxn ang="0">
                  <a:pos x="443" y="680"/>
                </a:cxn>
                <a:cxn ang="0">
                  <a:pos x="425" y="697"/>
                </a:cxn>
                <a:cxn ang="0">
                  <a:pos x="390" y="710"/>
                </a:cxn>
                <a:cxn ang="0">
                  <a:pos x="352" y="710"/>
                </a:cxn>
                <a:cxn ang="0">
                  <a:pos x="330" y="696"/>
                </a:cxn>
                <a:cxn ang="0">
                  <a:pos x="313" y="670"/>
                </a:cxn>
                <a:cxn ang="0">
                  <a:pos x="302" y="638"/>
                </a:cxn>
                <a:cxn ang="0">
                  <a:pos x="290" y="581"/>
                </a:cxn>
                <a:cxn ang="0">
                  <a:pos x="286" y="507"/>
                </a:cxn>
                <a:cxn ang="0">
                  <a:pos x="293" y="447"/>
                </a:cxn>
                <a:cxn ang="0">
                  <a:pos x="312" y="396"/>
                </a:cxn>
                <a:cxn ang="0">
                  <a:pos x="221" y="284"/>
                </a:cxn>
                <a:cxn ang="0">
                  <a:pos x="233" y="408"/>
                </a:cxn>
                <a:cxn ang="0">
                  <a:pos x="0" y="422"/>
                </a:cxn>
                <a:cxn ang="0">
                  <a:pos x="61" y="342"/>
                </a:cxn>
                <a:cxn ang="0">
                  <a:pos x="490" y="97"/>
                </a:cxn>
                <a:cxn ang="0">
                  <a:pos x="615" y="211"/>
                </a:cxn>
                <a:cxn ang="0">
                  <a:pos x="691" y="297"/>
                </a:cxn>
                <a:cxn ang="0">
                  <a:pos x="583" y="437"/>
                </a:cxn>
                <a:cxn ang="0">
                  <a:pos x="423" y="343"/>
                </a:cxn>
                <a:cxn ang="0">
                  <a:pos x="261" y="238"/>
                </a:cxn>
                <a:cxn ang="0">
                  <a:pos x="394" y="267"/>
                </a:cxn>
                <a:cxn ang="0">
                  <a:pos x="261" y="238"/>
                </a:cxn>
              </a:cxnLst>
              <a:rect l="0" t="0" r="r" b="b"/>
              <a:pathLst>
                <a:path w="699" h="713">
                  <a:moveTo>
                    <a:pt x="355" y="147"/>
                  </a:moveTo>
                  <a:lnTo>
                    <a:pt x="565" y="346"/>
                  </a:lnTo>
                  <a:lnTo>
                    <a:pt x="616" y="289"/>
                  </a:lnTo>
                  <a:lnTo>
                    <a:pt x="407" y="97"/>
                  </a:lnTo>
                  <a:lnTo>
                    <a:pt x="355" y="147"/>
                  </a:lnTo>
                  <a:close/>
                  <a:moveTo>
                    <a:pt x="403" y="368"/>
                  </a:moveTo>
                  <a:lnTo>
                    <a:pt x="453" y="416"/>
                  </a:lnTo>
                  <a:lnTo>
                    <a:pt x="478" y="441"/>
                  </a:lnTo>
                  <a:lnTo>
                    <a:pt x="491" y="455"/>
                  </a:lnTo>
                  <a:lnTo>
                    <a:pt x="505" y="465"/>
                  </a:lnTo>
                  <a:lnTo>
                    <a:pt x="537" y="485"/>
                  </a:lnTo>
                  <a:lnTo>
                    <a:pt x="544" y="490"/>
                  </a:lnTo>
                  <a:lnTo>
                    <a:pt x="548" y="497"/>
                  </a:lnTo>
                  <a:lnTo>
                    <a:pt x="550" y="503"/>
                  </a:lnTo>
                  <a:lnTo>
                    <a:pt x="551" y="510"/>
                  </a:lnTo>
                  <a:lnTo>
                    <a:pt x="548" y="523"/>
                  </a:lnTo>
                  <a:lnTo>
                    <a:pt x="544" y="533"/>
                  </a:lnTo>
                  <a:lnTo>
                    <a:pt x="536" y="538"/>
                  </a:lnTo>
                  <a:lnTo>
                    <a:pt x="524" y="540"/>
                  </a:lnTo>
                  <a:lnTo>
                    <a:pt x="508" y="540"/>
                  </a:lnTo>
                  <a:lnTo>
                    <a:pt x="489" y="537"/>
                  </a:lnTo>
                  <a:lnTo>
                    <a:pt x="481" y="534"/>
                  </a:lnTo>
                  <a:lnTo>
                    <a:pt x="474" y="528"/>
                  </a:lnTo>
                  <a:lnTo>
                    <a:pt x="470" y="523"/>
                  </a:lnTo>
                  <a:lnTo>
                    <a:pt x="467" y="517"/>
                  </a:lnTo>
                  <a:lnTo>
                    <a:pt x="461" y="504"/>
                  </a:lnTo>
                  <a:lnTo>
                    <a:pt x="457" y="497"/>
                  </a:lnTo>
                  <a:lnTo>
                    <a:pt x="452" y="491"/>
                  </a:lnTo>
                  <a:lnTo>
                    <a:pt x="373" y="419"/>
                  </a:lnTo>
                  <a:lnTo>
                    <a:pt x="363" y="444"/>
                  </a:lnTo>
                  <a:lnTo>
                    <a:pt x="356" y="467"/>
                  </a:lnTo>
                  <a:lnTo>
                    <a:pt x="352" y="489"/>
                  </a:lnTo>
                  <a:lnTo>
                    <a:pt x="351" y="509"/>
                  </a:lnTo>
                  <a:lnTo>
                    <a:pt x="353" y="548"/>
                  </a:lnTo>
                  <a:lnTo>
                    <a:pt x="355" y="586"/>
                  </a:lnTo>
                  <a:lnTo>
                    <a:pt x="355" y="599"/>
                  </a:lnTo>
                  <a:lnTo>
                    <a:pt x="357" y="609"/>
                  </a:lnTo>
                  <a:lnTo>
                    <a:pt x="362" y="617"/>
                  </a:lnTo>
                  <a:lnTo>
                    <a:pt x="366" y="622"/>
                  </a:lnTo>
                  <a:lnTo>
                    <a:pt x="371" y="625"/>
                  </a:lnTo>
                  <a:lnTo>
                    <a:pt x="376" y="627"/>
                  </a:lnTo>
                  <a:lnTo>
                    <a:pt x="390" y="626"/>
                  </a:lnTo>
                  <a:lnTo>
                    <a:pt x="403" y="621"/>
                  </a:lnTo>
                  <a:lnTo>
                    <a:pt x="413" y="616"/>
                  </a:lnTo>
                  <a:lnTo>
                    <a:pt x="425" y="608"/>
                  </a:lnTo>
                  <a:lnTo>
                    <a:pt x="450" y="664"/>
                  </a:lnTo>
                  <a:lnTo>
                    <a:pt x="447" y="672"/>
                  </a:lnTo>
                  <a:lnTo>
                    <a:pt x="443" y="680"/>
                  </a:lnTo>
                  <a:lnTo>
                    <a:pt x="435" y="688"/>
                  </a:lnTo>
                  <a:lnTo>
                    <a:pt x="425" y="697"/>
                  </a:lnTo>
                  <a:lnTo>
                    <a:pt x="410" y="705"/>
                  </a:lnTo>
                  <a:lnTo>
                    <a:pt x="390" y="710"/>
                  </a:lnTo>
                  <a:lnTo>
                    <a:pt x="366" y="713"/>
                  </a:lnTo>
                  <a:lnTo>
                    <a:pt x="352" y="710"/>
                  </a:lnTo>
                  <a:lnTo>
                    <a:pt x="341" y="705"/>
                  </a:lnTo>
                  <a:lnTo>
                    <a:pt x="330" y="696"/>
                  </a:lnTo>
                  <a:lnTo>
                    <a:pt x="322" y="685"/>
                  </a:lnTo>
                  <a:lnTo>
                    <a:pt x="313" y="670"/>
                  </a:lnTo>
                  <a:lnTo>
                    <a:pt x="307" y="656"/>
                  </a:lnTo>
                  <a:lnTo>
                    <a:pt x="302" y="638"/>
                  </a:lnTo>
                  <a:lnTo>
                    <a:pt x="296" y="620"/>
                  </a:lnTo>
                  <a:lnTo>
                    <a:pt x="290" y="581"/>
                  </a:lnTo>
                  <a:lnTo>
                    <a:pt x="287" y="542"/>
                  </a:lnTo>
                  <a:lnTo>
                    <a:pt x="286" y="507"/>
                  </a:lnTo>
                  <a:lnTo>
                    <a:pt x="288" y="478"/>
                  </a:lnTo>
                  <a:lnTo>
                    <a:pt x="293" y="447"/>
                  </a:lnTo>
                  <a:lnTo>
                    <a:pt x="302" y="420"/>
                  </a:lnTo>
                  <a:lnTo>
                    <a:pt x="312" y="396"/>
                  </a:lnTo>
                  <a:lnTo>
                    <a:pt x="324" y="376"/>
                  </a:lnTo>
                  <a:lnTo>
                    <a:pt x="221" y="284"/>
                  </a:lnTo>
                  <a:lnTo>
                    <a:pt x="134" y="381"/>
                  </a:lnTo>
                  <a:lnTo>
                    <a:pt x="233" y="408"/>
                  </a:lnTo>
                  <a:lnTo>
                    <a:pt x="208" y="467"/>
                  </a:lnTo>
                  <a:lnTo>
                    <a:pt x="0" y="422"/>
                  </a:lnTo>
                  <a:lnTo>
                    <a:pt x="20" y="353"/>
                  </a:lnTo>
                  <a:lnTo>
                    <a:pt x="61" y="342"/>
                  </a:lnTo>
                  <a:lnTo>
                    <a:pt x="378" y="0"/>
                  </a:lnTo>
                  <a:lnTo>
                    <a:pt x="490" y="97"/>
                  </a:lnTo>
                  <a:lnTo>
                    <a:pt x="578" y="176"/>
                  </a:lnTo>
                  <a:lnTo>
                    <a:pt x="615" y="211"/>
                  </a:lnTo>
                  <a:lnTo>
                    <a:pt x="643" y="240"/>
                  </a:lnTo>
                  <a:lnTo>
                    <a:pt x="691" y="297"/>
                  </a:lnTo>
                  <a:lnTo>
                    <a:pt x="699" y="307"/>
                  </a:lnTo>
                  <a:lnTo>
                    <a:pt x="583" y="437"/>
                  </a:lnTo>
                  <a:lnTo>
                    <a:pt x="447" y="315"/>
                  </a:lnTo>
                  <a:lnTo>
                    <a:pt x="423" y="343"/>
                  </a:lnTo>
                  <a:lnTo>
                    <a:pt x="403" y="368"/>
                  </a:lnTo>
                  <a:close/>
                  <a:moveTo>
                    <a:pt x="261" y="238"/>
                  </a:moveTo>
                  <a:lnTo>
                    <a:pt x="355" y="325"/>
                  </a:lnTo>
                  <a:lnTo>
                    <a:pt x="394" y="267"/>
                  </a:lnTo>
                  <a:lnTo>
                    <a:pt x="305" y="187"/>
                  </a:lnTo>
                  <a:lnTo>
                    <a:pt x="261" y="238"/>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14" name="Freeform 25"/>
            <p:cNvSpPr>
              <a:spLocks noEditPoints="1"/>
            </p:cNvSpPr>
            <p:nvPr/>
          </p:nvSpPr>
          <p:spPr bwMode="auto">
            <a:xfrm>
              <a:off x="428" y="563"/>
              <a:ext cx="10" cy="10"/>
            </a:xfrm>
            <a:custGeom>
              <a:avLst/>
              <a:gdLst/>
              <a:ahLst/>
              <a:cxnLst>
                <a:cxn ang="0">
                  <a:pos x="34" y="100"/>
                </a:cxn>
                <a:cxn ang="0">
                  <a:pos x="42" y="120"/>
                </a:cxn>
                <a:cxn ang="0">
                  <a:pos x="57" y="136"/>
                </a:cxn>
                <a:cxn ang="0">
                  <a:pos x="77" y="144"/>
                </a:cxn>
                <a:cxn ang="0">
                  <a:pos x="100" y="144"/>
                </a:cxn>
                <a:cxn ang="0">
                  <a:pos x="120" y="136"/>
                </a:cxn>
                <a:cxn ang="0">
                  <a:pos x="135" y="120"/>
                </a:cxn>
                <a:cxn ang="0">
                  <a:pos x="143" y="100"/>
                </a:cxn>
                <a:cxn ang="0">
                  <a:pos x="143" y="78"/>
                </a:cxn>
                <a:cxn ang="0">
                  <a:pos x="135" y="58"/>
                </a:cxn>
                <a:cxn ang="0">
                  <a:pos x="120" y="42"/>
                </a:cxn>
                <a:cxn ang="0">
                  <a:pos x="100" y="34"/>
                </a:cxn>
                <a:cxn ang="0">
                  <a:pos x="77" y="34"/>
                </a:cxn>
                <a:cxn ang="0">
                  <a:pos x="57" y="42"/>
                </a:cxn>
                <a:cxn ang="0">
                  <a:pos x="42" y="58"/>
                </a:cxn>
                <a:cxn ang="0">
                  <a:pos x="34" y="78"/>
                </a:cxn>
                <a:cxn ang="0">
                  <a:pos x="0" y="88"/>
                </a:cxn>
                <a:cxn ang="0">
                  <a:pos x="7" y="55"/>
                </a:cxn>
                <a:cxn ang="0">
                  <a:pos x="26" y="26"/>
                </a:cxn>
                <a:cxn ang="0">
                  <a:pos x="54" y="7"/>
                </a:cxn>
                <a:cxn ang="0">
                  <a:pos x="88" y="0"/>
                </a:cxn>
                <a:cxn ang="0">
                  <a:pos x="123" y="7"/>
                </a:cxn>
                <a:cxn ang="0">
                  <a:pos x="150" y="26"/>
                </a:cxn>
                <a:cxn ang="0">
                  <a:pos x="170" y="55"/>
                </a:cxn>
                <a:cxn ang="0">
                  <a:pos x="177" y="88"/>
                </a:cxn>
                <a:cxn ang="0">
                  <a:pos x="170" y="123"/>
                </a:cxn>
                <a:cxn ang="0">
                  <a:pos x="150" y="152"/>
                </a:cxn>
                <a:cxn ang="0">
                  <a:pos x="123" y="170"/>
                </a:cxn>
                <a:cxn ang="0">
                  <a:pos x="88" y="177"/>
                </a:cxn>
                <a:cxn ang="0">
                  <a:pos x="54" y="170"/>
                </a:cxn>
                <a:cxn ang="0">
                  <a:pos x="26" y="152"/>
                </a:cxn>
                <a:cxn ang="0">
                  <a:pos x="7" y="123"/>
                </a:cxn>
                <a:cxn ang="0">
                  <a:pos x="0" y="88"/>
                </a:cxn>
              </a:cxnLst>
              <a:rect l="0" t="0" r="r" b="b"/>
              <a:pathLst>
                <a:path w="177" h="177">
                  <a:moveTo>
                    <a:pt x="33" y="88"/>
                  </a:moveTo>
                  <a:lnTo>
                    <a:pt x="34" y="100"/>
                  </a:lnTo>
                  <a:lnTo>
                    <a:pt x="37" y="110"/>
                  </a:lnTo>
                  <a:lnTo>
                    <a:pt x="42" y="120"/>
                  </a:lnTo>
                  <a:lnTo>
                    <a:pt x="48" y="128"/>
                  </a:lnTo>
                  <a:lnTo>
                    <a:pt x="57" y="136"/>
                  </a:lnTo>
                  <a:lnTo>
                    <a:pt x="66" y="140"/>
                  </a:lnTo>
                  <a:lnTo>
                    <a:pt x="77" y="144"/>
                  </a:lnTo>
                  <a:lnTo>
                    <a:pt x="88" y="145"/>
                  </a:lnTo>
                  <a:lnTo>
                    <a:pt x="100" y="144"/>
                  </a:lnTo>
                  <a:lnTo>
                    <a:pt x="110" y="140"/>
                  </a:lnTo>
                  <a:lnTo>
                    <a:pt x="120" y="136"/>
                  </a:lnTo>
                  <a:lnTo>
                    <a:pt x="128" y="128"/>
                  </a:lnTo>
                  <a:lnTo>
                    <a:pt x="135" y="120"/>
                  </a:lnTo>
                  <a:lnTo>
                    <a:pt x="140" y="110"/>
                  </a:lnTo>
                  <a:lnTo>
                    <a:pt x="143" y="100"/>
                  </a:lnTo>
                  <a:lnTo>
                    <a:pt x="144" y="88"/>
                  </a:lnTo>
                  <a:lnTo>
                    <a:pt x="143" y="78"/>
                  </a:lnTo>
                  <a:lnTo>
                    <a:pt x="140" y="67"/>
                  </a:lnTo>
                  <a:lnTo>
                    <a:pt x="135" y="58"/>
                  </a:lnTo>
                  <a:lnTo>
                    <a:pt x="128" y="49"/>
                  </a:lnTo>
                  <a:lnTo>
                    <a:pt x="120" y="42"/>
                  </a:lnTo>
                  <a:lnTo>
                    <a:pt x="110" y="37"/>
                  </a:lnTo>
                  <a:lnTo>
                    <a:pt x="100" y="34"/>
                  </a:lnTo>
                  <a:lnTo>
                    <a:pt x="88" y="33"/>
                  </a:lnTo>
                  <a:lnTo>
                    <a:pt x="77" y="34"/>
                  </a:lnTo>
                  <a:lnTo>
                    <a:pt x="66" y="37"/>
                  </a:lnTo>
                  <a:lnTo>
                    <a:pt x="57" y="42"/>
                  </a:lnTo>
                  <a:lnTo>
                    <a:pt x="48" y="49"/>
                  </a:lnTo>
                  <a:lnTo>
                    <a:pt x="42" y="58"/>
                  </a:lnTo>
                  <a:lnTo>
                    <a:pt x="37" y="67"/>
                  </a:lnTo>
                  <a:lnTo>
                    <a:pt x="34" y="78"/>
                  </a:lnTo>
                  <a:lnTo>
                    <a:pt x="33" y="88"/>
                  </a:lnTo>
                  <a:close/>
                  <a:moveTo>
                    <a:pt x="0" y="88"/>
                  </a:moveTo>
                  <a:lnTo>
                    <a:pt x="2" y="70"/>
                  </a:lnTo>
                  <a:lnTo>
                    <a:pt x="7" y="55"/>
                  </a:lnTo>
                  <a:lnTo>
                    <a:pt x="15" y="39"/>
                  </a:lnTo>
                  <a:lnTo>
                    <a:pt x="26" y="26"/>
                  </a:lnTo>
                  <a:lnTo>
                    <a:pt x="39" y="16"/>
                  </a:lnTo>
                  <a:lnTo>
                    <a:pt x="54" y="7"/>
                  </a:lnTo>
                  <a:lnTo>
                    <a:pt x="70" y="2"/>
                  </a:lnTo>
                  <a:lnTo>
                    <a:pt x="88" y="0"/>
                  </a:lnTo>
                  <a:lnTo>
                    <a:pt x="106" y="2"/>
                  </a:lnTo>
                  <a:lnTo>
                    <a:pt x="123" y="7"/>
                  </a:lnTo>
                  <a:lnTo>
                    <a:pt x="138" y="16"/>
                  </a:lnTo>
                  <a:lnTo>
                    <a:pt x="150" y="26"/>
                  </a:lnTo>
                  <a:lnTo>
                    <a:pt x="162" y="39"/>
                  </a:lnTo>
                  <a:lnTo>
                    <a:pt x="170" y="55"/>
                  </a:lnTo>
                  <a:lnTo>
                    <a:pt x="175" y="70"/>
                  </a:lnTo>
                  <a:lnTo>
                    <a:pt x="177" y="88"/>
                  </a:lnTo>
                  <a:lnTo>
                    <a:pt x="175" y="106"/>
                  </a:lnTo>
                  <a:lnTo>
                    <a:pt x="170" y="123"/>
                  </a:lnTo>
                  <a:lnTo>
                    <a:pt x="162" y="138"/>
                  </a:lnTo>
                  <a:lnTo>
                    <a:pt x="150" y="152"/>
                  </a:lnTo>
                  <a:lnTo>
                    <a:pt x="138" y="162"/>
                  </a:lnTo>
                  <a:lnTo>
                    <a:pt x="123" y="170"/>
                  </a:lnTo>
                  <a:lnTo>
                    <a:pt x="106" y="176"/>
                  </a:lnTo>
                  <a:lnTo>
                    <a:pt x="88" y="177"/>
                  </a:lnTo>
                  <a:lnTo>
                    <a:pt x="70" y="176"/>
                  </a:lnTo>
                  <a:lnTo>
                    <a:pt x="54" y="170"/>
                  </a:lnTo>
                  <a:lnTo>
                    <a:pt x="39" y="162"/>
                  </a:lnTo>
                  <a:lnTo>
                    <a:pt x="26" y="152"/>
                  </a:lnTo>
                  <a:lnTo>
                    <a:pt x="15" y="138"/>
                  </a:lnTo>
                  <a:lnTo>
                    <a:pt x="7" y="123"/>
                  </a:lnTo>
                  <a:lnTo>
                    <a:pt x="2" y="106"/>
                  </a:lnTo>
                  <a:lnTo>
                    <a:pt x="0" y="88"/>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15" name="Freeform 26"/>
            <p:cNvSpPr>
              <a:spLocks noEditPoints="1"/>
            </p:cNvSpPr>
            <p:nvPr/>
          </p:nvSpPr>
          <p:spPr bwMode="auto">
            <a:xfrm>
              <a:off x="465" y="563"/>
              <a:ext cx="19" cy="29"/>
            </a:xfrm>
            <a:custGeom>
              <a:avLst/>
              <a:gdLst/>
              <a:ahLst/>
              <a:cxnLst>
                <a:cxn ang="0">
                  <a:pos x="76" y="221"/>
                </a:cxn>
                <a:cxn ang="0">
                  <a:pos x="111" y="223"/>
                </a:cxn>
                <a:cxn ang="0">
                  <a:pos x="157" y="215"/>
                </a:cxn>
                <a:cxn ang="0">
                  <a:pos x="194" y="199"/>
                </a:cxn>
                <a:cxn ang="0">
                  <a:pos x="195" y="167"/>
                </a:cxn>
                <a:cxn ang="0">
                  <a:pos x="174" y="133"/>
                </a:cxn>
                <a:cxn ang="0">
                  <a:pos x="153" y="115"/>
                </a:cxn>
                <a:cxn ang="0">
                  <a:pos x="132" y="107"/>
                </a:cxn>
                <a:cxn ang="0">
                  <a:pos x="110" y="107"/>
                </a:cxn>
                <a:cxn ang="0">
                  <a:pos x="93" y="114"/>
                </a:cxn>
                <a:cxn ang="0">
                  <a:pos x="80" y="130"/>
                </a:cxn>
                <a:cxn ang="0">
                  <a:pos x="69" y="161"/>
                </a:cxn>
                <a:cxn ang="0">
                  <a:pos x="64" y="201"/>
                </a:cxn>
                <a:cxn ang="0">
                  <a:pos x="33" y="459"/>
                </a:cxn>
                <a:cxn ang="0">
                  <a:pos x="24" y="453"/>
                </a:cxn>
                <a:cxn ang="0">
                  <a:pos x="25" y="448"/>
                </a:cxn>
                <a:cxn ang="0">
                  <a:pos x="33" y="445"/>
                </a:cxn>
                <a:cxn ang="0">
                  <a:pos x="52" y="446"/>
                </a:cxn>
                <a:cxn ang="0">
                  <a:pos x="80" y="447"/>
                </a:cxn>
                <a:cxn ang="0">
                  <a:pos x="151" y="430"/>
                </a:cxn>
                <a:cxn ang="0">
                  <a:pos x="197" y="407"/>
                </a:cxn>
                <a:cxn ang="0">
                  <a:pos x="219" y="386"/>
                </a:cxn>
                <a:cxn ang="0">
                  <a:pos x="233" y="362"/>
                </a:cxn>
                <a:cxn ang="0">
                  <a:pos x="239" y="338"/>
                </a:cxn>
                <a:cxn ang="0">
                  <a:pos x="238" y="300"/>
                </a:cxn>
                <a:cxn ang="0">
                  <a:pos x="227" y="253"/>
                </a:cxn>
                <a:cxn ang="0">
                  <a:pos x="184" y="269"/>
                </a:cxn>
                <a:cxn ang="0">
                  <a:pos x="119" y="285"/>
                </a:cxn>
                <a:cxn ang="0">
                  <a:pos x="46" y="293"/>
                </a:cxn>
                <a:cxn ang="0">
                  <a:pos x="9" y="290"/>
                </a:cxn>
                <a:cxn ang="0">
                  <a:pos x="2" y="246"/>
                </a:cxn>
                <a:cxn ang="0">
                  <a:pos x="2" y="197"/>
                </a:cxn>
                <a:cxn ang="0">
                  <a:pos x="8" y="149"/>
                </a:cxn>
                <a:cxn ang="0">
                  <a:pos x="19" y="103"/>
                </a:cxn>
                <a:cxn ang="0">
                  <a:pos x="38" y="62"/>
                </a:cxn>
                <a:cxn ang="0">
                  <a:pos x="63" y="29"/>
                </a:cxn>
                <a:cxn ang="0">
                  <a:pos x="93" y="8"/>
                </a:cxn>
                <a:cxn ang="0">
                  <a:pos x="128" y="0"/>
                </a:cxn>
                <a:cxn ang="0">
                  <a:pos x="165" y="7"/>
                </a:cxn>
                <a:cxn ang="0">
                  <a:pos x="200" y="28"/>
                </a:cxn>
                <a:cxn ang="0">
                  <a:pos x="233" y="59"/>
                </a:cxn>
                <a:cxn ang="0">
                  <a:pos x="262" y="99"/>
                </a:cxn>
                <a:cxn ang="0">
                  <a:pos x="287" y="145"/>
                </a:cxn>
                <a:cxn ang="0">
                  <a:pos x="306" y="194"/>
                </a:cxn>
                <a:cxn ang="0">
                  <a:pos x="318" y="246"/>
                </a:cxn>
                <a:cxn ang="0">
                  <a:pos x="322" y="296"/>
                </a:cxn>
                <a:cxn ang="0">
                  <a:pos x="316" y="343"/>
                </a:cxn>
                <a:cxn ang="0">
                  <a:pos x="299" y="382"/>
                </a:cxn>
                <a:cxn ang="0">
                  <a:pos x="274" y="415"/>
                </a:cxn>
                <a:cxn ang="0">
                  <a:pos x="245" y="442"/>
                </a:cxn>
                <a:cxn ang="0">
                  <a:pos x="213" y="462"/>
                </a:cxn>
                <a:cxn ang="0">
                  <a:pos x="157" y="484"/>
                </a:cxn>
                <a:cxn ang="0">
                  <a:pos x="124" y="486"/>
                </a:cxn>
                <a:cxn ang="0">
                  <a:pos x="78" y="475"/>
                </a:cxn>
              </a:cxnLst>
              <a:rect l="0" t="0" r="r" b="b"/>
              <a:pathLst>
                <a:path w="322" h="487">
                  <a:moveTo>
                    <a:pt x="63" y="219"/>
                  </a:moveTo>
                  <a:lnTo>
                    <a:pt x="76" y="221"/>
                  </a:lnTo>
                  <a:lnTo>
                    <a:pt x="92" y="223"/>
                  </a:lnTo>
                  <a:lnTo>
                    <a:pt x="111" y="223"/>
                  </a:lnTo>
                  <a:lnTo>
                    <a:pt x="134" y="221"/>
                  </a:lnTo>
                  <a:lnTo>
                    <a:pt x="157" y="215"/>
                  </a:lnTo>
                  <a:lnTo>
                    <a:pt x="181" y="206"/>
                  </a:lnTo>
                  <a:lnTo>
                    <a:pt x="194" y="199"/>
                  </a:lnTo>
                  <a:lnTo>
                    <a:pt x="206" y="190"/>
                  </a:lnTo>
                  <a:lnTo>
                    <a:pt x="195" y="167"/>
                  </a:lnTo>
                  <a:lnTo>
                    <a:pt x="185" y="148"/>
                  </a:lnTo>
                  <a:lnTo>
                    <a:pt x="174" y="133"/>
                  </a:lnTo>
                  <a:lnTo>
                    <a:pt x="164" y="123"/>
                  </a:lnTo>
                  <a:lnTo>
                    <a:pt x="153" y="115"/>
                  </a:lnTo>
                  <a:lnTo>
                    <a:pt x="143" y="110"/>
                  </a:lnTo>
                  <a:lnTo>
                    <a:pt x="132" y="107"/>
                  </a:lnTo>
                  <a:lnTo>
                    <a:pt x="121" y="106"/>
                  </a:lnTo>
                  <a:lnTo>
                    <a:pt x="110" y="107"/>
                  </a:lnTo>
                  <a:lnTo>
                    <a:pt x="101" y="109"/>
                  </a:lnTo>
                  <a:lnTo>
                    <a:pt x="93" y="114"/>
                  </a:lnTo>
                  <a:lnTo>
                    <a:pt x="87" y="122"/>
                  </a:lnTo>
                  <a:lnTo>
                    <a:pt x="80" y="130"/>
                  </a:lnTo>
                  <a:lnTo>
                    <a:pt x="76" y="140"/>
                  </a:lnTo>
                  <a:lnTo>
                    <a:pt x="69" y="161"/>
                  </a:lnTo>
                  <a:lnTo>
                    <a:pt x="66" y="182"/>
                  </a:lnTo>
                  <a:lnTo>
                    <a:pt x="64" y="201"/>
                  </a:lnTo>
                  <a:lnTo>
                    <a:pt x="63" y="219"/>
                  </a:lnTo>
                  <a:close/>
                  <a:moveTo>
                    <a:pt x="33" y="459"/>
                  </a:moveTo>
                  <a:lnTo>
                    <a:pt x="27" y="456"/>
                  </a:lnTo>
                  <a:lnTo>
                    <a:pt x="24" y="453"/>
                  </a:lnTo>
                  <a:lnTo>
                    <a:pt x="23" y="450"/>
                  </a:lnTo>
                  <a:lnTo>
                    <a:pt x="25" y="448"/>
                  </a:lnTo>
                  <a:lnTo>
                    <a:pt x="28" y="446"/>
                  </a:lnTo>
                  <a:lnTo>
                    <a:pt x="33" y="445"/>
                  </a:lnTo>
                  <a:lnTo>
                    <a:pt x="42" y="445"/>
                  </a:lnTo>
                  <a:lnTo>
                    <a:pt x="52" y="446"/>
                  </a:lnTo>
                  <a:lnTo>
                    <a:pt x="65" y="447"/>
                  </a:lnTo>
                  <a:lnTo>
                    <a:pt x="80" y="447"/>
                  </a:lnTo>
                  <a:lnTo>
                    <a:pt x="115" y="442"/>
                  </a:lnTo>
                  <a:lnTo>
                    <a:pt x="151" y="430"/>
                  </a:lnTo>
                  <a:lnTo>
                    <a:pt x="184" y="415"/>
                  </a:lnTo>
                  <a:lnTo>
                    <a:pt x="197" y="407"/>
                  </a:lnTo>
                  <a:lnTo>
                    <a:pt x="209" y="398"/>
                  </a:lnTo>
                  <a:lnTo>
                    <a:pt x="219" y="386"/>
                  </a:lnTo>
                  <a:lnTo>
                    <a:pt x="227" y="374"/>
                  </a:lnTo>
                  <a:lnTo>
                    <a:pt x="233" y="362"/>
                  </a:lnTo>
                  <a:lnTo>
                    <a:pt x="237" y="349"/>
                  </a:lnTo>
                  <a:lnTo>
                    <a:pt x="239" y="338"/>
                  </a:lnTo>
                  <a:lnTo>
                    <a:pt x="240" y="325"/>
                  </a:lnTo>
                  <a:lnTo>
                    <a:pt x="238" y="300"/>
                  </a:lnTo>
                  <a:lnTo>
                    <a:pt x="234" y="276"/>
                  </a:lnTo>
                  <a:lnTo>
                    <a:pt x="227" y="253"/>
                  </a:lnTo>
                  <a:lnTo>
                    <a:pt x="207" y="261"/>
                  </a:lnTo>
                  <a:lnTo>
                    <a:pt x="184" y="269"/>
                  </a:lnTo>
                  <a:lnTo>
                    <a:pt x="153" y="277"/>
                  </a:lnTo>
                  <a:lnTo>
                    <a:pt x="119" y="285"/>
                  </a:lnTo>
                  <a:lnTo>
                    <a:pt x="83" y="291"/>
                  </a:lnTo>
                  <a:lnTo>
                    <a:pt x="46" y="293"/>
                  </a:lnTo>
                  <a:lnTo>
                    <a:pt x="27" y="292"/>
                  </a:lnTo>
                  <a:lnTo>
                    <a:pt x="9" y="290"/>
                  </a:lnTo>
                  <a:lnTo>
                    <a:pt x="4" y="268"/>
                  </a:lnTo>
                  <a:lnTo>
                    <a:pt x="2" y="246"/>
                  </a:lnTo>
                  <a:lnTo>
                    <a:pt x="0" y="222"/>
                  </a:lnTo>
                  <a:lnTo>
                    <a:pt x="2" y="197"/>
                  </a:lnTo>
                  <a:lnTo>
                    <a:pt x="4" y="173"/>
                  </a:lnTo>
                  <a:lnTo>
                    <a:pt x="8" y="149"/>
                  </a:lnTo>
                  <a:lnTo>
                    <a:pt x="13" y="125"/>
                  </a:lnTo>
                  <a:lnTo>
                    <a:pt x="19" y="103"/>
                  </a:lnTo>
                  <a:lnTo>
                    <a:pt x="29" y="82"/>
                  </a:lnTo>
                  <a:lnTo>
                    <a:pt x="38" y="62"/>
                  </a:lnTo>
                  <a:lnTo>
                    <a:pt x="50" y="45"/>
                  </a:lnTo>
                  <a:lnTo>
                    <a:pt x="63" y="29"/>
                  </a:lnTo>
                  <a:lnTo>
                    <a:pt x="77" y="16"/>
                  </a:lnTo>
                  <a:lnTo>
                    <a:pt x="93" y="8"/>
                  </a:lnTo>
                  <a:lnTo>
                    <a:pt x="110" y="2"/>
                  </a:lnTo>
                  <a:lnTo>
                    <a:pt x="128" y="0"/>
                  </a:lnTo>
                  <a:lnTo>
                    <a:pt x="146" y="2"/>
                  </a:lnTo>
                  <a:lnTo>
                    <a:pt x="165" y="7"/>
                  </a:lnTo>
                  <a:lnTo>
                    <a:pt x="183" y="15"/>
                  </a:lnTo>
                  <a:lnTo>
                    <a:pt x="200" y="28"/>
                  </a:lnTo>
                  <a:lnTo>
                    <a:pt x="217" y="42"/>
                  </a:lnTo>
                  <a:lnTo>
                    <a:pt x="233" y="59"/>
                  </a:lnTo>
                  <a:lnTo>
                    <a:pt x="248" y="77"/>
                  </a:lnTo>
                  <a:lnTo>
                    <a:pt x="262" y="99"/>
                  </a:lnTo>
                  <a:lnTo>
                    <a:pt x="275" y="121"/>
                  </a:lnTo>
                  <a:lnTo>
                    <a:pt x="287" y="145"/>
                  </a:lnTo>
                  <a:lnTo>
                    <a:pt x="297" y="169"/>
                  </a:lnTo>
                  <a:lnTo>
                    <a:pt x="306" y="194"/>
                  </a:lnTo>
                  <a:lnTo>
                    <a:pt x="313" y="221"/>
                  </a:lnTo>
                  <a:lnTo>
                    <a:pt x="318" y="246"/>
                  </a:lnTo>
                  <a:lnTo>
                    <a:pt x="321" y="271"/>
                  </a:lnTo>
                  <a:lnTo>
                    <a:pt x="322" y="296"/>
                  </a:lnTo>
                  <a:lnTo>
                    <a:pt x="320" y="321"/>
                  </a:lnTo>
                  <a:lnTo>
                    <a:pt x="316" y="343"/>
                  </a:lnTo>
                  <a:lnTo>
                    <a:pt x="309" y="364"/>
                  </a:lnTo>
                  <a:lnTo>
                    <a:pt x="299" y="382"/>
                  </a:lnTo>
                  <a:lnTo>
                    <a:pt x="288" y="400"/>
                  </a:lnTo>
                  <a:lnTo>
                    <a:pt x="274" y="415"/>
                  </a:lnTo>
                  <a:lnTo>
                    <a:pt x="259" y="429"/>
                  </a:lnTo>
                  <a:lnTo>
                    <a:pt x="245" y="442"/>
                  </a:lnTo>
                  <a:lnTo>
                    <a:pt x="229" y="452"/>
                  </a:lnTo>
                  <a:lnTo>
                    <a:pt x="213" y="462"/>
                  </a:lnTo>
                  <a:lnTo>
                    <a:pt x="183" y="475"/>
                  </a:lnTo>
                  <a:lnTo>
                    <a:pt x="157" y="484"/>
                  </a:lnTo>
                  <a:lnTo>
                    <a:pt x="138" y="487"/>
                  </a:lnTo>
                  <a:lnTo>
                    <a:pt x="124" y="486"/>
                  </a:lnTo>
                  <a:lnTo>
                    <a:pt x="109" y="484"/>
                  </a:lnTo>
                  <a:lnTo>
                    <a:pt x="78" y="475"/>
                  </a:lnTo>
                  <a:lnTo>
                    <a:pt x="33" y="459"/>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16" name="Freeform 27"/>
            <p:cNvSpPr>
              <a:spLocks/>
            </p:cNvSpPr>
            <p:nvPr/>
          </p:nvSpPr>
          <p:spPr bwMode="auto">
            <a:xfrm>
              <a:off x="623" y="488"/>
              <a:ext cx="7" cy="7"/>
            </a:xfrm>
            <a:custGeom>
              <a:avLst/>
              <a:gdLst/>
              <a:ahLst/>
              <a:cxnLst>
                <a:cxn ang="0">
                  <a:pos x="0" y="65"/>
                </a:cxn>
                <a:cxn ang="0">
                  <a:pos x="1" y="52"/>
                </a:cxn>
                <a:cxn ang="0">
                  <a:pos x="5" y="40"/>
                </a:cxn>
                <a:cxn ang="0">
                  <a:pos x="11" y="28"/>
                </a:cxn>
                <a:cxn ang="0">
                  <a:pos x="19" y="19"/>
                </a:cxn>
                <a:cxn ang="0">
                  <a:pos x="29" y="12"/>
                </a:cxn>
                <a:cxn ang="0">
                  <a:pos x="39" y="5"/>
                </a:cxn>
                <a:cxn ang="0">
                  <a:pos x="52" y="2"/>
                </a:cxn>
                <a:cxn ang="0">
                  <a:pos x="65" y="0"/>
                </a:cxn>
                <a:cxn ang="0">
                  <a:pos x="77" y="2"/>
                </a:cxn>
                <a:cxn ang="0">
                  <a:pos x="90" y="5"/>
                </a:cxn>
                <a:cxn ang="0">
                  <a:pos x="100" y="12"/>
                </a:cxn>
                <a:cxn ang="0">
                  <a:pos x="111" y="19"/>
                </a:cxn>
                <a:cxn ang="0">
                  <a:pos x="118" y="28"/>
                </a:cxn>
                <a:cxn ang="0">
                  <a:pos x="125" y="40"/>
                </a:cxn>
                <a:cxn ang="0">
                  <a:pos x="128" y="52"/>
                </a:cxn>
                <a:cxn ang="0">
                  <a:pos x="130" y="65"/>
                </a:cxn>
                <a:cxn ang="0">
                  <a:pos x="128" y="78"/>
                </a:cxn>
                <a:cxn ang="0">
                  <a:pos x="125" y="90"/>
                </a:cxn>
                <a:cxn ang="0">
                  <a:pos x="118" y="101"/>
                </a:cxn>
                <a:cxn ang="0">
                  <a:pos x="111" y="110"/>
                </a:cxn>
                <a:cxn ang="0">
                  <a:pos x="100" y="119"/>
                </a:cxn>
                <a:cxn ang="0">
                  <a:pos x="90" y="124"/>
                </a:cxn>
                <a:cxn ang="0">
                  <a:pos x="77" y="128"/>
                </a:cxn>
                <a:cxn ang="0">
                  <a:pos x="65" y="129"/>
                </a:cxn>
                <a:cxn ang="0">
                  <a:pos x="52" y="128"/>
                </a:cxn>
                <a:cxn ang="0">
                  <a:pos x="39" y="124"/>
                </a:cxn>
                <a:cxn ang="0">
                  <a:pos x="29" y="119"/>
                </a:cxn>
                <a:cxn ang="0">
                  <a:pos x="19" y="110"/>
                </a:cxn>
                <a:cxn ang="0">
                  <a:pos x="11" y="101"/>
                </a:cxn>
                <a:cxn ang="0">
                  <a:pos x="5" y="90"/>
                </a:cxn>
                <a:cxn ang="0">
                  <a:pos x="1" y="78"/>
                </a:cxn>
                <a:cxn ang="0">
                  <a:pos x="0" y="65"/>
                </a:cxn>
              </a:cxnLst>
              <a:rect l="0" t="0" r="r" b="b"/>
              <a:pathLst>
                <a:path w="130" h="129">
                  <a:moveTo>
                    <a:pt x="0" y="65"/>
                  </a:moveTo>
                  <a:lnTo>
                    <a:pt x="1" y="52"/>
                  </a:lnTo>
                  <a:lnTo>
                    <a:pt x="5" y="40"/>
                  </a:lnTo>
                  <a:lnTo>
                    <a:pt x="11" y="28"/>
                  </a:lnTo>
                  <a:lnTo>
                    <a:pt x="19" y="19"/>
                  </a:lnTo>
                  <a:lnTo>
                    <a:pt x="29" y="12"/>
                  </a:lnTo>
                  <a:lnTo>
                    <a:pt x="39" y="5"/>
                  </a:lnTo>
                  <a:lnTo>
                    <a:pt x="52" y="2"/>
                  </a:lnTo>
                  <a:lnTo>
                    <a:pt x="65" y="0"/>
                  </a:lnTo>
                  <a:lnTo>
                    <a:pt x="77" y="2"/>
                  </a:lnTo>
                  <a:lnTo>
                    <a:pt x="90" y="5"/>
                  </a:lnTo>
                  <a:lnTo>
                    <a:pt x="100" y="12"/>
                  </a:lnTo>
                  <a:lnTo>
                    <a:pt x="111" y="19"/>
                  </a:lnTo>
                  <a:lnTo>
                    <a:pt x="118" y="28"/>
                  </a:lnTo>
                  <a:lnTo>
                    <a:pt x="125" y="40"/>
                  </a:lnTo>
                  <a:lnTo>
                    <a:pt x="128" y="52"/>
                  </a:lnTo>
                  <a:lnTo>
                    <a:pt x="130" y="65"/>
                  </a:lnTo>
                  <a:lnTo>
                    <a:pt x="128" y="78"/>
                  </a:lnTo>
                  <a:lnTo>
                    <a:pt x="125" y="90"/>
                  </a:lnTo>
                  <a:lnTo>
                    <a:pt x="118" y="101"/>
                  </a:lnTo>
                  <a:lnTo>
                    <a:pt x="111" y="110"/>
                  </a:lnTo>
                  <a:lnTo>
                    <a:pt x="100" y="119"/>
                  </a:lnTo>
                  <a:lnTo>
                    <a:pt x="90" y="124"/>
                  </a:lnTo>
                  <a:lnTo>
                    <a:pt x="77" y="128"/>
                  </a:lnTo>
                  <a:lnTo>
                    <a:pt x="65" y="129"/>
                  </a:lnTo>
                  <a:lnTo>
                    <a:pt x="52" y="128"/>
                  </a:lnTo>
                  <a:lnTo>
                    <a:pt x="39" y="124"/>
                  </a:lnTo>
                  <a:lnTo>
                    <a:pt x="29" y="119"/>
                  </a:lnTo>
                  <a:lnTo>
                    <a:pt x="19" y="110"/>
                  </a:lnTo>
                  <a:lnTo>
                    <a:pt x="11" y="101"/>
                  </a:lnTo>
                  <a:lnTo>
                    <a:pt x="5" y="90"/>
                  </a:lnTo>
                  <a:lnTo>
                    <a:pt x="1" y="78"/>
                  </a:lnTo>
                  <a:lnTo>
                    <a:pt x="0" y="65"/>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17" name="Freeform 28"/>
            <p:cNvSpPr>
              <a:spLocks/>
            </p:cNvSpPr>
            <p:nvPr/>
          </p:nvSpPr>
          <p:spPr bwMode="auto">
            <a:xfrm>
              <a:off x="630" y="479"/>
              <a:ext cx="7" cy="7"/>
            </a:xfrm>
            <a:custGeom>
              <a:avLst/>
              <a:gdLst/>
              <a:ahLst/>
              <a:cxnLst>
                <a:cxn ang="0">
                  <a:pos x="0" y="66"/>
                </a:cxn>
                <a:cxn ang="0">
                  <a:pos x="1" y="52"/>
                </a:cxn>
                <a:cxn ang="0">
                  <a:pos x="6" y="40"/>
                </a:cxn>
                <a:cxn ang="0">
                  <a:pos x="11" y="29"/>
                </a:cxn>
                <a:cxn ang="0">
                  <a:pos x="19" y="19"/>
                </a:cxn>
                <a:cxn ang="0">
                  <a:pos x="29" y="12"/>
                </a:cxn>
                <a:cxn ang="0">
                  <a:pos x="39" y="6"/>
                </a:cxn>
                <a:cxn ang="0">
                  <a:pos x="52" y="2"/>
                </a:cxn>
                <a:cxn ang="0">
                  <a:pos x="64" y="0"/>
                </a:cxn>
                <a:cxn ang="0">
                  <a:pos x="78" y="2"/>
                </a:cxn>
                <a:cxn ang="0">
                  <a:pos x="90" y="6"/>
                </a:cxn>
                <a:cxn ang="0">
                  <a:pos x="101" y="12"/>
                </a:cxn>
                <a:cxn ang="0">
                  <a:pos x="111" y="19"/>
                </a:cxn>
                <a:cxn ang="0">
                  <a:pos x="118" y="29"/>
                </a:cxn>
                <a:cxn ang="0">
                  <a:pos x="124" y="40"/>
                </a:cxn>
                <a:cxn ang="0">
                  <a:pos x="128" y="52"/>
                </a:cxn>
                <a:cxn ang="0">
                  <a:pos x="130" y="66"/>
                </a:cxn>
                <a:cxn ang="0">
                  <a:pos x="128" y="78"/>
                </a:cxn>
                <a:cxn ang="0">
                  <a:pos x="124" y="91"/>
                </a:cxn>
                <a:cxn ang="0">
                  <a:pos x="118" y="101"/>
                </a:cxn>
                <a:cxn ang="0">
                  <a:pos x="111" y="111"/>
                </a:cxn>
                <a:cxn ang="0">
                  <a:pos x="101" y="119"/>
                </a:cxn>
                <a:cxn ang="0">
                  <a:pos x="90" y="126"/>
                </a:cxn>
                <a:cxn ang="0">
                  <a:pos x="78" y="129"/>
                </a:cxn>
                <a:cxn ang="0">
                  <a:pos x="64" y="130"/>
                </a:cxn>
                <a:cxn ang="0">
                  <a:pos x="52" y="129"/>
                </a:cxn>
                <a:cxn ang="0">
                  <a:pos x="39" y="126"/>
                </a:cxn>
                <a:cxn ang="0">
                  <a:pos x="29" y="119"/>
                </a:cxn>
                <a:cxn ang="0">
                  <a:pos x="19" y="111"/>
                </a:cxn>
                <a:cxn ang="0">
                  <a:pos x="11" y="101"/>
                </a:cxn>
                <a:cxn ang="0">
                  <a:pos x="6" y="91"/>
                </a:cxn>
                <a:cxn ang="0">
                  <a:pos x="1" y="78"/>
                </a:cxn>
                <a:cxn ang="0">
                  <a:pos x="0" y="66"/>
                </a:cxn>
              </a:cxnLst>
              <a:rect l="0" t="0" r="r" b="b"/>
              <a:pathLst>
                <a:path w="130" h="130">
                  <a:moveTo>
                    <a:pt x="0" y="66"/>
                  </a:moveTo>
                  <a:lnTo>
                    <a:pt x="1" y="52"/>
                  </a:lnTo>
                  <a:lnTo>
                    <a:pt x="6" y="40"/>
                  </a:lnTo>
                  <a:lnTo>
                    <a:pt x="11" y="29"/>
                  </a:lnTo>
                  <a:lnTo>
                    <a:pt x="19" y="19"/>
                  </a:lnTo>
                  <a:lnTo>
                    <a:pt x="29" y="12"/>
                  </a:lnTo>
                  <a:lnTo>
                    <a:pt x="39" y="6"/>
                  </a:lnTo>
                  <a:lnTo>
                    <a:pt x="52" y="2"/>
                  </a:lnTo>
                  <a:lnTo>
                    <a:pt x="64" y="0"/>
                  </a:lnTo>
                  <a:lnTo>
                    <a:pt x="78" y="2"/>
                  </a:lnTo>
                  <a:lnTo>
                    <a:pt x="90" y="6"/>
                  </a:lnTo>
                  <a:lnTo>
                    <a:pt x="101" y="12"/>
                  </a:lnTo>
                  <a:lnTo>
                    <a:pt x="111" y="19"/>
                  </a:lnTo>
                  <a:lnTo>
                    <a:pt x="118" y="29"/>
                  </a:lnTo>
                  <a:lnTo>
                    <a:pt x="124" y="40"/>
                  </a:lnTo>
                  <a:lnTo>
                    <a:pt x="128" y="52"/>
                  </a:lnTo>
                  <a:lnTo>
                    <a:pt x="130" y="66"/>
                  </a:lnTo>
                  <a:lnTo>
                    <a:pt x="128" y="78"/>
                  </a:lnTo>
                  <a:lnTo>
                    <a:pt x="124" y="91"/>
                  </a:lnTo>
                  <a:lnTo>
                    <a:pt x="118" y="101"/>
                  </a:lnTo>
                  <a:lnTo>
                    <a:pt x="111" y="111"/>
                  </a:lnTo>
                  <a:lnTo>
                    <a:pt x="101" y="119"/>
                  </a:lnTo>
                  <a:lnTo>
                    <a:pt x="90" y="126"/>
                  </a:lnTo>
                  <a:lnTo>
                    <a:pt x="78" y="129"/>
                  </a:lnTo>
                  <a:lnTo>
                    <a:pt x="64" y="130"/>
                  </a:lnTo>
                  <a:lnTo>
                    <a:pt x="52" y="129"/>
                  </a:lnTo>
                  <a:lnTo>
                    <a:pt x="39" y="126"/>
                  </a:lnTo>
                  <a:lnTo>
                    <a:pt x="29" y="119"/>
                  </a:lnTo>
                  <a:lnTo>
                    <a:pt x="19" y="111"/>
                  </a:lnTo>
                  <a:lnTo>
                    <a:pt x="11" y="101"/>
                  </a:lnTo>
                  <a:lnTo>
                    <a:pt x="6" y="91"/>
                  </a:lnTo>
                  <a:lnTo>
                    <a:pt x="1" y="78"/>
                  </a:lnTo>
                  <a:lnTo>
                    <a:pt x="0" y="66"/>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18" name="Freeform 29"/>
            <p:cNvSpPr>
              <a:spLocks/>
            </p:cNvSpPr>
            <p:nvPr/>
          </p:nvSpPr>
          <p:spPr bwMode="auto">
            <a:xfrm>
              <a:off x="636" y="459"/>
              <a:ext cx="1" cy="0"/>
            </a:xfrm>
            <a:custGeom>
              <a:avLst/>
              <a:gdLst/>
              <a:ahLst/>
              <a:cxnLst>
                <a:cxn ang="0">
                  <a:pos x="0" y="0"/>
                </a:cxn>
                <a:cxn ang="0">
                  <a:pos x="1" y="0"/>
                </a:cxn>
                <a:cxn ang="0">
                  <a:pos x="2" y="0"/>
                </a:cxn>
                <a:cxn ang="0">
                  <a:pos x="1" y="0"/>
                </a:cxn>
                <a:cxn ang="0">
                  <a:pos x="0" y="0"/>
                </a:cxn>
              </a:cxnLst>
              <a:rect l="0" t="0" r="r" b="b"/>
              <a:pathLst>
                <a:path w="2">
                  <a:moveTo>
                    <a:pt x="0" y="0"/>
                  </a:moveTo>
                  <a:lnTo>
                    <a:pt x="1" y="0"/>
                  </a:lnTo>
                  <a:lnTo>
                    <a:pt x="2" y="0"/>
                  </a:lnTo>
                  <a:lnTo>
                    <a:pt x="1" y="0"/>
                  </a:lnTo>
                  <a:lnTo>
                    <a:pt x="0"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19" name="Freeform 30"/>
            <p:cNvSpPr>
              <a:spLocks/>
            </p:cNvSpPr>
            <p:nvPr/>
          </p:nvSpPr>
          <p:spPr bwMode="auto">
            <a:xfrm>
              <a:off x="611" y="428"/>
              <a:ext cx="28" cy="31"/>
            </a:xfrm>
            <a:custGeom>
              <a:avLst/>
              <a:gdLst/>
              <a:ahLst/>
              <a:cxnLst>
                <a:cxn ang="0">
                  <a:pos x="0" y="131"/>
                </a:cxn>
                <a:cxn ang="0">
                  <a:pos x="25" y="77"/>
                </a:cxn>
                <a:cxn ang="0">
                  <a:pos x="45" y="33"/>
                </a:cxn>
                <a:cxn ang="0">
                  <a:pos x="59" y="0"/>
                </a:cxn>
                <a:cxn ang="0">
                  <a:pos x="159" y="99"/>
                </a:cxn>
                <a:cxn ang="0">
                  <a:pos x="304" y="246"/>
                </a:cxn>
                <a:cxn ang="0">
                  <a:pos x="490" y="436"/>
                </a:cxn>
                <a:cxn ang="0">
                  <a:pos x="438" y="525"/>
                </a:cxn>
                <a:cxn ang="0">
                  <a:pos x="78" y="144"/>
                </a:cxn>
                <a:cxn ang="0">
                  <a:pos x="40" y="176"/>
                </a:cxn>
                <a:cxn ang="0">
                  <a:pos x="0" y="131"/>
                </a:cxn>
              </a:cxnLst>
              <a:rect l="0" t="0" r="r" b="b"/>
              <a:pathLst>
                <a:path w="490" h="525">
                  <a:moveTo>
                    <a:pt x="0" y="131"/>
                  </a:moveTo>
                  <a:lnTo>
                    <a:pt x="25" y="77"/>
                  </a:lnTo>
                  <a:lnTo>
                    <a:pt x="45" y="33"/>
                  </a:lnTo>
                  <a:lnTo>
                    <a:pt x="59" y="0"/>
                  </a:lnTo>
                  <a:lnTo>
                    <a:pt x="159" y="99"/>
                  </a:lnTo>
                  <a:lnTo>
                    <a:pt x="304" y="246"/>
                  </a:lnTo>
                  <a:lnTo>
                    <a:pt x="490" y="436"/>
                  </a:lnTo>
                  <a:lnTo>
                    <a:pt x="438" y="525"/>
                  </a:lnTo>
                  <a:lnTo>
                    <a:pt x="78" y="144"/>
                  </a:lnTo>
                  <a:lnTo>
                    <a:pt x="40" y="176"/>
                  </a:lnTo>
                  <a:lnTo>
                    <a:pt x="0" y="131"/>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20" name="Freeform 31"/>
            <p:cNvSpPr>
              <a:spLocks noEditPoints="1"/>
            </p:cNvSpPr>
            <p:nvPr/>
          </p:nvSpPr>
          <p:spPr bwMode="auto">
            <a:xfrm>
              <a:off x="346" y="211"/>
              <a:ext cx="174" cy="242"/>
            </a:xfrm>
            <a:custGeom>
              <a:avLst/>
              <a:gdLst/>
              <a:ahLst/>
              <a:cxnLst>
                <a:cxn ang="0">
                  <a:pos x="1516" y="2511"/>
                </a:cxn>
                <a:cxn ang="0">
                  <a:pos x="1516" y="4114"/>
                </a:cxn>
                <a:cxn ang="0">
                  <a:pos x="1458" y="4114"/>
                </a:cxn>
                <a:cxn ang="0">
                  <a:pos x="1458" y="2511"/>
                </a:cxn>
                <a:cxn ang="0">
                  <a:pos x="1487" y="2513"/>
                </a:cxn>
                <a:cxn ang="0">
                  <a:pos x="1516" y="2511"/>
                </a:cxn>
                <a:cxn ang="0">
                  <a:pos x="1786" y="2370"/>
                </a:cxn>
                <a:cxn ang="0">
                  <a:pos x="2908" y="3492"/>
                </a:cxn>
                <a:cxn ang="0">
                  <a:pos x="2867" y="3534"/>
                </a:cxn>
                <a:cxn ang="0">
                  <a:pos x="1745" y="2413"/>
                </a:cxn>
                <a:cxn ang="0">
                  <a:pos x="1766" y="2393"/>
                </a:cxn>
                <a:cxn ang="0">
                  <a:pos x="1786" y="2370"/>
                </a:cxn>
                <a:cxn ang="0">
                  <a:pos x="1736" y="1824"/>
                </a:cxn>
                <a:cxn ang="0">
                  <a:pos x="2932" y="628"/>
                </a:cxn>
                <a:cxn ang="0">
                  <a:pos x="2973" y="669"/>
                </a:cxn>
                <a:cxn ang="0">
                  <a:pos x="1778" y="1865"/>
                </a:cxn>
                <a:cxn ang="0">
                  <a:pos x="1758" y="1844"/>
                </a:cxn>
                <a:cxn ang="0">
                  <a:pos x="1736" y="1824"/>
                </a:cxn>
                <a:cxn ang="0">
                  <a:pos x="1458" y="1735"/>
                </a:cxn>
                <a:cxn ang="0">
                  <a:pos x="1458" y="0"/>
                </a:cxn>
                <a:cxn ang="0">
                  <a:pos x="1516" y="0"/>
                </a:cxn>
                <a:cxn ang="0">
                  <a:pos x="1516" y="1735"/>
                </a:cxn>
                <a:cxn ang="0">
                  <a:pos x="1487" y="1732"/>
                </a:cxn>
                <a:cxn ang="0">
                  <a:pos x="1458" y="1735"/>
                </a:cxn>
                <a:cxn ang="0">
                  <a:pos x="1196" y="1864"/>
                </a:cxn>
                <a:cxn ang="0">
                  <a:pos x="0" y="667"/>
                </a:cxn>
                <a:cxn ang="0">
                  <a:pos x="42" y="626"/>
                </a:cxn>
                <a:cxn ang="0">
                  <a:pos x="1238" y="1823"/>
                </a:cxn>
                <a:cxn ang="0">
                  <a:pos x="1217" y="1843"/>
                </a:cxn>
                <a:cxn ang="0">
                  <a:pos x="1196" y="1864"/>
                </a:cxn>
                <a:cxn ang="0">
                  <a:pos x="68" y="3492"/>
                </a:cxn>
                <a:cxn ang="0">
                  <a:pos x="1189" y="2371"/>
                </a:cxn>
                <a:cxn ang="0">
                  <a:pos x="1208" y="2394"/>
                </a:cxn>
                <a:cxn ang="0">
                  <a:pos x="1229" y="2414"/>
                </a:cxn>
                <a:cxn ang="0">
                  <a:pos x="109" y="3533"/>
                </a:cxn>
                <a:cxn ang="0">
                  <a:pos x="68" y="3492"/>
                </a:cxn>
              </a:cxnLst>
              <a:rect l="0" t="0" r="r" b="b"/>
              <a:pathLst>
                <a:path w="2973" h="4114">
                  <a:moveTo>
                    <a:pt x="1516" y="2511"/>
                  </a:moveTo>
                  <a:lnTo>
                    <a:pt x="1516" y="4114"/>
                  </a:lnTo>
                  <a:lnTo>
                    <a:pt x="1458" y="4114"/>
                  </a:lnTo>
                  <a:lnTo>
                    <a:pt x="1458" y="2511"/>
                  </a:lnTo>
                  <a:lnTo>
                    <a:pt x="1487" y="2513"/>
                  </a:lnTo>
                  <a:lnTo>
                    <a:pt x="1516" y="2511"/>
                  </a:lnTo>
                  <a:close/>
                  <a:moveTo>
                    <a:pt x="1786" y="2370"/>
                  </a:moveTo>
                  <a:lnTo>
                    <a:pt x="2908" y="3492"/>
                  </a:lnTo>
                  <a:lnTo>
                    <a:pt x="2867" y="3534"/>
                  </a:lnTo>
                  <a:lnTo>
                    <a:pt x="1745" y="2413"/>
                  </a:lnTo>
                  <a:lnTo>
                    <a:pt x="1766" y="2393"/>
                  </a:lnTo>
                  <a:lnTo>
                    <a:pt x="1786" y="2370"/>
                  </a:lnTo>
                  <a:close/>
                  <a:moveTo>
                    <a:pt x="1736" y="1824"/>
                  </a:moveTo>
                  <a:lnTo>
                    <a:pt x="2932" y="628"/>
                  </a:lnTo>
                  <a:lnTo>
                    <a:pt x="2973" y="669"/>
                  </a:lnTo>
                  <a:lnTo>
                    <a:pt x="1778" y="1865"/>
                  </a:lnTo>
                  <a:lnTo>
                    <a:pt x="1758" y="1844"/>
                  </a:lnTo>
                  <a:lnTo>
                    <a:pt x="1736" y="1824"/>
                  </a:lnTo>
                  <a:close/>
                  <a:moveTo>
                    <a:pt x="1458" y="1735"/>
                  </a:moveTo>
                  <a:lnTo>
                    <a:pt x="1458" y="0"/>
                  </a:lnTo>
                  <a:lnTo>
                    <a:pt x="1516" y="0"/>
                  </a:lnTo>
                  <a:lnTo>
                    <a:pt x="1516" y="1735"/>
                  </a:lnTo>
                  <a:lnTo>
                    <a:pt x="1487" y="1732"/>
                  </a:lnTo>
                  <a:lnTo>
                    <a:pt x="1458" y="1735"/>
                  </a:lnTo>
                  <a:close/>
                  <a:moveTo>
                    <a:pt x="1196" y="1864"/>
                  </a:moveTo>
                  <a:lnTo>
                    <a:pt x="0" y="667"/>
                  </a:lnTo>
                  <a:lnTo>
                    <a:pt x="42" y="626"/>
                  </a:lnTo>
                  <a:lnTo>
                    <a:pt x="1238" y="1823"/>
                  </a:lnTo>
                  <a:lnTo>
                    <a:pt x="1217" y="1843"/>
                  </a:lnTo>
                  <a:lnTo>
                    <a:pt x="1196" y="1864"/>
                  </a:lnTo>
                  <a:close/>
                  <a:moveTo>
                    <a:pt x="68" y="3492"/>
                  </a:moveTo>
                  <a:lnTo>
                    <a:pt x="1189" y="2371"/>
                  </a:lnTo>
                  <a:lnTo>
                    <a:pt x="1208" y="2394"/>
                  </a:lnTo>
                  <a:lnTo>
                    <a:pt x="1229" y="2414"/>
                  </a:lnTo>
                  <a:lnTo>
                    <a:pt x="109" y="3533"/>
                  </a:lnTo>
                  <a:lnTo>
                    <a:pt x="68" y="3492"/>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21" name="Freeform 32"/>
            <p:cNvSpPr>
              <a:spLocks/>
            </p:cNvSpPr>
            <p:nvPr/>
          </p:nvSpPr>
          <p:spPr bwMode="auto">
            <a:xfrm>
              <a:off x="433" y="312"/>
              <a:ext cx="25" cy="24"/>
            </a:xfrm>
            <a:custGeom>
              <a:avLst/>
              <a:gdLst/>
              <a:ahLst/>
              <a:cxnLst>
                <a:cxn ang="0">
                  <a:pos x="417" y="419"/>
                </a:cxn>
                <a:cxn ang="0">
                  <a:pos x="417" y="419"/>
                </a:cxn>
                <a:cxn ang="0">
                  <a:pos x="415" y="376"/>
                </a:cxn>
                <a:cxn ang="0">
                  <a:pos x="409" y="336"/>
                </a:cxn>
                <a:cxn ang="0">
                  <a:pos x="399" y="295"/>
                </a:cxn>
                <a:cxn ang="0">
                  <a:pos x="385" y="257"/>
                </a:cxn>
                <a:cxn ang="0">
                  <a:pos x="368" y="220"/>
                </a:cxn>
                <a:cxn ang="0">
                  <a:pos x="346" y="185"/>
                </a:cxn>
                <a:cxn ang="0">
                  <a:pos x="323" y="153"/>
                </a:cxn>
                <a:cxn ang="0">
                  <a:pos x="295" y="123"/>
                </a:cxn>
                <a:cxn ang="0">
                  <a:pos x="266" y="97"/>
                </a:cxn>
                <a:cxn ang="0">
                  <a:pos x="234" y="73"/>
                </a:cxn>
                <a:cxn ang="0">
                  <a:pos x="199" y="52"/>
                </a:cxn>
                <a:cxn ang="0">
                  <a:pos x="163" y="33"/>
                </a:cxn>
                <a:cxn ang="0">
                  <a:pos x="124" y="19"/>
                </a:cxn>
                <a:cxn ang="0">
                  <a:pos x="85" y="9"/>
                </a:cxn>
                <a:cxn ang="0">
                  <a:pos x="43" y="2"/>
                </a:cxn>
                <a:cxn ang="0">
                  <a:pos x="0" y="0"/>
                </a:cxn>
                <a:cxn ang="0">
                  <a:pos x="0" y="59"/>
                </a:cxn>
                <a:cxn ang="0">
                  <a:pos x="36" y="61"/>
                </a:cxn>
                <a:cxn ang="0">
                  <a:pos x="72" y="66"/>
                </a:cxn>
                <a:cxn ang="0">
                  <a:pos x="107" y="76"/>
                </a:cxn>
                <a:cxn ang="0">
                  <a:pos x="139" y="87"/>
                </a:cxn>
                <a:cxn ang="0">
                  <a:pos x="170" y="102"/>
                </a:cxn>
                <a:cxn ang="0">
                  <a:pos x="200" y="121"/>
                </a:cxn>
                <a:cxn ang="0">
                  <a:pos x="228" y="141"/>
                </a:cxn>
                <a:cxn ang="0">
                  <a:pos x="253" y="165"/>
                </a:cxn>
                <a:cxn ang="0">
                  <a:pos x="276" y="191"/>
                </a:cxn>
                <a:cxn ang="0">
                  <a:pos x="297" y="219"/>
                </a:cxn>
                <a:cxn ang="0">
                  <a:pos x="315" y="247"/>
                </a:cxn>
                <a:cxn ang="0">
                  <a:pos x="330" y="280"/>
                </a:cxn>
                <a:cxn ang="0">
                  <a:pos x="343" y="312"/>
                </a:cxn>
                <a:cxn ang="0">
                  <a:pos x="352" y="346"/>
                </a:cxn>
                <a:cxn ang="0">
                  <a:pos x="356" y="382"/>
                </a:cxn>
                <a:cxn ang="0">
                  <a:pos x="358" y="419"/>
                </a:cxn>
                <a:cxn ang="0">
                  <a:pos x="358" y="419"/>
                </a:cxn>
                <a:cxn ang="0">
                  <a:pos x="417" y="419"/>
                </a:cxn>
              </a:cxnLst>
              <a:rect l="0" t="0" r="r" b="b"/>
              <a:pathLst>
                <a:path w="417" h="419">
                  <a:moveTo>
                    <a:pt x="417" y="419"/>
                  </a:moveTo>
                  <a:lnTo>
                    <a:pt x="417" y="419"/>
                  </a:lnTo>
                  <a:lnTo>
                    <a:pt x="415" y="376"/>
                  </a:lnTo>
                  <a:lnTo>
                    <a:pt x="409" y="336"/>
                  </a:lnTo>
                  <a:lnTo>
                    <a:pt x="399" y="295"/>
                  </a:lnTo>
                  <a:lnTo>
                    <a:pt x="385" y="257"/>
                  </a:lnTo>
                  <a:lnTo>
                    <a:pt x="368" y="220"/>
                  </a:lnTo>
                  <a:lnTo>
                    <a:pt x="346" y="185"/>
                  </a:lnTo>
                  <a:lnTo>
                    <a:pt x="323" y="153"/>
                  </a:lnTo>
                  <a:lnTo>
                    <a:pt x="295" y="123"/>
                  </a:lnTo>
                  <a:lnTo>
                    <a:pt x="266" y="97"/>
                  </a:lnTo>
                  <a:lnTo>
                    <a:pt x="234" y="73"/>
                  </a:lnTo>
                  <a:lnTo>
                    <a:pt x="199" y="52"/>
                  </a:lnTo>
                  <a:lnTo>
                    <a:pt x="163" y="33"/>
                  </a:lnTo>
                  <a:lnTo>
                    <a:pt x="124" y="19"/>
                  </a:lnTo>
                  <a:lnTo>
                    <a:pt x="85" y="9"/>
                  </a:lnTo>
                  <a:lnTo>
                    <a:pt x="43" y="2"/>
                  </a:lnTo>
                  <a:lnTo>
                    <a:pt x="0" y="0"/>
                  </a:lnTo>
                  <a:lnTo>
                    <a:pt x="0" y="59"/>
                  </a:lnTo>
                  <a:lnTo>
                    <a:pt x="36" y="61"/>
                  </a:lnTo>
                  <a:lnTo>
                    <a:pt x="72" y="66"/>
                  </a:lnTo>
                  <a:lnTo>
                    <a:pt x="107" y="76"/>
                  </a:lnTo>
                  <a:lnTo>
                    <a:pt x="139" y="87"/>
                  </a:lnTo>
                  <a:lnTo>
                    <a:pt x="170" y="102"/>
                  </a:lnTo>
                  <a:lnTo>
                    <a:pt x="200" y="121"/>
                  </a:lnTo>
                  <a:lnTo>
                    <a:pt x="228" y="141"/>
                  </a:lnTo>
                  <a:lnTo>
                    <a:pt x="253" y="165"/>
                  </a:lnTo>
                  <a:lnTo>
                    <a:pt x="276" y="191"/>
                  </a:lnTo>
                  <a:lnTo>
                    <a:pt x="297" y="219"/>
                  </a:lnTo>
                  <a:lnTo>
                    <a:pt x="315" y="247"/>
                  </a:lnTo>
                  <a:lnTo>
                    <a:pt x="330" y="280"/>
                  </a:lnTo>
                  <a:lnTo>
                    <a:pt x="343" y="312"/>
                  </a:lnTo>
                  <a:lnTo>
                    <a:pt x="352" y="346"/>
                  </a:lnTo>
                  <a:lnTo>
                    <a:pt x="356" y="382"/>
                  </a:lnTo>
                  <a:lnTo>
                    <a:pt x="358" y="419"/>
                  </a:lnTo>
                  <a:lnTo>
                    <a:pt x="358" y="419"/>
                  </a:lnTo>
                  <a:lnTo>
                    <a:pt x="417" y="419"/>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22" name="Freeform 33"/>
            <p:cNvSpPr>
              <a:spLocks/>
            </p:cNvSpPr>
            <p:nvPr/>
          </p:nvSpPr>
          <p:spPr bwMode="auto">
            <a:xfrm>
              <a:off x="433" y="336"/>
              <a:ext cx="25" cy="25"/>
            </a:xfrm>
            <a:custGeom>
              <a:avLst/>
              <a:gdLst/>
              <a:ahLst/>
              <a:cxnLst>
                <a:cxn ang="0">
                  <a:pos x="0" y="420"/>
                </a:cxn>
                <a:cxn ang="0">
                  <a:pos x="0" y="420"/>
                </a:cxn>
                <a:cxn ang="0">
                  <a:pos x="43" y="418"/>
                </a:cxn>
                <a:cxn ang="0">
                  <a:pos x="85" y="411"/>
                </a:cxn>
                <a:cxn ang="0">
                  <a:pos x="124" y="401"/>
                </a:cxn>
                <a:cxn ang="0">
                  <a:pos x="163" y="387"/>
                </a:cxn>
                <a:cxn ang="0">
                  <a:pos x="199" y="368"/>
                </a:cxn>
                <a:cxn ang="0">
                  <a:pos x="234" y="347"/>
                </a:cxn>
                <a:cxn ang="0">
                  <a:pos x="266" y="323"/>
                </a:cxn>
                <a:cxn ang="0">
                  <a:pos x="295" y="297"/>
                </a:cxn>
                <a:cxn ang="0">
                  <a:pos x="323" y="267"/>
                </a:cxn>
                <a:cxn ang="0">
                  <a:pos x="346" y="234"/>
                </a:cxn>
                <a:cxn ang="0">
                  <a:pos x="368" y="199"/>
                </a:cxn>
                <a:cxn ang="0">
                  <a:pos x="385" y="163"/>
                </a:cxn>
                <a:cxn ang="0">
                  <a:pos x="399" y="124"/>
                </a:cxn>
                <a:cxn ang="0">
                  <a:pos x="409" y="84"/>
                </a:cxn>
                <a:cxn ang="0">
                  <a:pos x="415" y="43"/>
                </a:cxn>
                <a:cxn ang="0">
                  <a:pos x="417" y="0"/>
                </a:cxn>
                <a:cxn ang="0">
                  <a:pos x="358" y="0"/>
                </a:cxn>
                <a:cxn ang="0">
                  <a:pos x="356" y="37"/>
                </a:cxn>
                <a:cxn ang="0">
                  <a:pos x="352" y="74"/>
                </a:cxn>
                <a:cxn ang="0">
                  <a:pos x="343" y="107"/>
                </a:cxn>
                <a:cxn ang="0">
                  <a:pos x="330" y="140"/>
                </a:cxn>
                <a:cxn ang="0">
                  <a:pos x="315" y="172"/>
                </a:cxn>
                <a:cxn ang="0">
                  <a:pos x="297" y="202"/>
                </a:cxn>
                <a:cxn ang="0">
                  <a:pos x="276" y="229"/>
                </a:cxn>
                <a:cxn ang="0">
                  <a:pos x="253" y="255"/>
                </a:cxn>
                <a:cxn ang="0">
                  <a:pos x="228" y="279"/>
                </a:cxn>
                <a:cxn ang="0">
                  <a:pos x="200" y="299"/>
                </a:cxn>
                <a:cxn ang="0">
                  <a:pos x="170" y="318"/>
                </a:cxn>
                <a:cxn ang="0">
                  <a:pos x="139" y="333"/>
                </a:cxn>
                <a:cxn ang="0">
                  <a:pos x="107" y="344"/>
                </a:cxn>
                <a:cxn ang="0">
                  <a:pos x="72" y="354"/>
                </a:cxn>
                <a:cxn ang="0">
                  <a:pos x="36" y="359"/>
                </a:cxn>
                <a:cxn ang="0">
                  <a:pos x="0" y="361"/>
                </a:cxn>
                <a:cxn ang="0">
                  <a:pos x="0" y="361"/>
                </a:cxn>
                <a:cxn ang="0">
                  <a:pos x="0" y="420"/>
                </a:cxn>
              </a:cxnLst>
              <a:rect l="0" t="0" r="r" b="b"/>
              <a:pathLst>
                <a:path w="417" h="420">
                  <a:moveTo>
                    <a:pt x="0" y="420"/>
                  </a:moveTo>
                  <a:lnTo>
                    <a:pt x="0" y="420"/>
                  </a:lnTo>
                  <a:lnTo>
                    <a:pt x="43" y="418"/>
                  </a:lnTo>
                  <a:lnTo>
                    <a:pt x="85" y="411"/>
                  </a:lnTo>
                  <a:lnTo>
                    <a:pt x="124" y="401"/>
                  </a:lnTo>
                  <a:lnTo>
                    <a:pt x="163" y="387"/>
                  </a:lnTo>
                  <a:lnTo>
                    <a:pt x="199" y="368"/>
                  </a:lnTo>
                  <a:lnTo>
                    <a:pt x="234" y="347"/>
                  </a:lnTo>
                  <a:lnTo>
                    <a:pt x="266" y="323"/>
                  </a:lnTo>
                  <a:lnTo>
                    <a:pt x="295" y="297"/>
                  </a:lnTo>
                  <a:lnTo>
                    <a:pt x="323" y="267"/>
                  </a:lnTo>
                  <a:lnTo>
                    <a:pt x="346" y="234"/>
                  </a:lnTo>
                  <a:lnTo>
                    <a:pt x="368" y="199"/>
                  </a:lnTo>
                  <a:lnTo>
                    <a:pt x="385" y="163"/>
                  </a:lnTo>
                  <a:lnTo>
                    <a:pt x="399" y="124"/>
                  </a:lnTo>
                  <a:lnTo>
                    <a:pt x="409" y="84"/>
                  </a:lnTo>
                  <a:lnTo>
                    <a:pt x="415" y="43"/>
                  </a:lnTo>
                  <a:lnTo>
                    <a:pt x="417" y="0"/>
                  </a:lnTo>
                  <a:lnTo>
                    <a:pt x="358" y="0"/>
                  </a:lnTo>
                  <a:lnTo>
                    <a:pt x="356" y="37"/>
                  </a:lnTo>
                  <a:lnTo>
                    <a:pt x="352" y="74"/>
                  </a:lnTo>
                  <a:lnTo>
                    <a:pt x="343" y="107"/>
                  </a:lnTo>
                  <a:lnTo>
                    <a:pt x="330" y="140"/>
                  </a:lnTo>
                  <a:lnTo>
                    <a:pt x="315" y="172"/>
                  </a:lnTo>
                  <a:lnTo>
                    <a:pt x="297" y="202"/>
                  </a:lnTo>
                  <a:lnTo>
                    <a:pt x="276" y="229"/>
                  </a:lnTo>
                  <a:lnTo>
                    <a:pt x="253" y="255"/>
                  </a:lnTo>
                  <a:lnTo>
                    <a:pt x="228" y="279"/>
                  </a:lnTo>
                  <a:lnTo>
                    <a:pt x="200" y="299"/>
                  </a:lnTo>
                  <a:lnTo>
                    <a:pt x="170" y="318"/>
                  </a:lnTo>
                  <a:lnTo>
                    <a:pt x="139" y="333"/>
                  </a:lnTo>
                  <a:lnTo>
                    <a:pt x="107" y="344"/>
                  </a:lnTo>
                  <a:lnTo>
                    <a:pt x="72" y="354"/>
                  </a:lnTo>
                  <a:lnTo>
                    <a:pt x="36" y="359"/>
                  </a:lnTo>
                  <a:lnTo>
                    <a:pt x="0" y="361"/>
                  </a:lnTo>
                  <a:lnTo>
                    <a:pt x="0" y="361"/>
                  </a:lnTo>
                  <a:lnTo>
                    <a:pt x="0" y="42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23" name="Freeform 34"/>
            <p:cNvSpPr>
              <a:spLocks/>
            </p:cNvSpPr>
            <p:nvPr/>
          </p:nvSpPr>
          <p:spPr bwMode="auto">
            <a:xfrm>
              <a:off x="408" y="336"/>
              <a:ext cx="25" cy="25"/>
            </a:xfrm>
            <a:custGeom>
              <a:avLst/>
              <a:gdLst/>
              <a:ahLst/>
              <a:cxnLst>
                <a:cxn ang="0">
                  <a:pos x="0" y="0"/>
                </a:cxn>
                <a:cxn ang="0">
                  <a:pos x="0" y="0"/>
                </a:cxn>
                <a:cxn ang="0">
                  <a:pos x="2" y="43"/>
                </a:cxn>
                <a:cxn ang="0">
                  <a:pos x="8" y="85"/>
                </a:cxn>
                <a:cxn ang="0">
                  <a:pos x="19" y="124"/>
                </a:cxn>
                <a:cxn ang="0">
                  <a:pos x="32" y="163"/>
                </a:cxn>
                <a:cxn ang="0">
                  <a:pos x="49" y="199"/>
                </a:cxn>
                <a:cxn ang="0">
                  <a:pos x="71" y="234"/>
                </a:cxn>
                <a:cxn ang="0">
                  <a:pos x="95" y="267"/>
                </a:cxn>
                <a:cxn ang="0">
                  <a:pos x="122" y="297"/>
                </a:cxn>
                <a:cxn ang="0">
                  <a:pos x="151" y="324"/>
                </a:cxn>
                <a:cxn ang="0">
                  <a:pos x="184" y="347"/>
                </a:cxn>
                <a:cxn ang="0">
                  <a:pos x="218" y="368"/>
                </a:cxn>
                <a:cxn ang="0">
                  <a:pos x="254" y="387"/>
                </a:cxn>
                <a:cxn ang="0">
                  <a:pos x="293" y="401"/>
                </a:cxn>
                <a:cxn ang="0">
                  <a:pos x="333" y="411"/>
                </a:cxn>
                <a:cxn ang="0">
                  <a:pos x="374" y="418"/>
                </a:cxn>
                <a:cxn ang="0">
                  <a:pos x="418" y="420"/>
                </a:cxn>
                <a:cxn ang="0">
                  <a:pos x="418" y="361"/>
                </a:cxn>
                <a:cxn ang="0">
                  <a:pos x="381" y="359"/>
                </a:cxn>
                <a:cxn ang="0">
                  <a:pos x="346" y="354"/>
                </a:cxn>
                <a:cxn ang="0">
                  <a:pos x="310" y="344"/>
                </a:cxn>
                <a:cxn ang="0">
                  <a:pos x="278" y="333"/>
                </a:cxn>
                <a:cxn ang="0">
                  <a:pos x="247" y="318"/>
                </a:cxn>
                <a:cxn ang="0">
                  <a:pos x="218" y="299"/>
                </a:cxn>
                <a:cxn ang="0">
                  <a:pos x="189" y="278"/>
                </a:cxn>
                <a:cxn ang="0">
                  <a:pos x="164" y="255"/>
                </a:cxn>
                <a:cxn ang="0">
                  <a:pos x="141" y="229"/>
                </a:cxn>
                <a:cxn ang="0">
                  <a:pos x="120" y="202"/>
                </a:cxn>
                <a:cxn ang="0">
                  <a:pos x="102" y="172"/>
                </a:cxn>
                <a:cxn ang="0">
                  <a:pos x="87" y="140"/>
                </a:cxn>
                <a:cxn ang="0">
                  <a:pos x="76" y="107"/>
                </a:cxn>
                <a:cxn ang="0">
                  <a:pos x="65" y="73"/>
                </a:cxn>
                <a:cxn ang="0">
                  <a:pos x="61" y="37"/>
                </a:cxn>
                <a:cxn ang="0">
                  <a:pos x="59" y="0"/>
                </a:cxn>
                <a:cxn ang="0">
                  <a:pos x="59" y="0"/>
                </a:cxn>
                <a:cxn ang="0">
                  <a:pos x="0" y="0"/>
                </a:cxn>
              </a:cxnLst>
              <a:rect l="0" t="0" r="r" b="b"/>
              <a:pathLst>
                <a:path w="418" h="420">
                  <a:moveTo>
                    <a:pt x="0" y="0"/>
                  </a:moveTo>
                  <a:lnTo>
                    <a:pt x="0" y="0"/>
                  </a:lnTo>
                  <a:lnTo>
                    <a:pt x="2" y="43"/>
                  </a:lnTo>
                  <a:lnTo>
                    <a:pt x="8" y="85"/>
                  </a:lnTo>
                  <a:lnTo>
                    <a:pt x="19" y="124"/>
                  </a:lnTo>
                  <a:lnTo>
                    <a:pt x="32" y="163"/>
                  </a:lnTo>
                  <a:lnTo>
                    <a:pt x="49" y="199"/>
                  </a:lnTo>
                  <a:lnTo>
                    <a:pt x="71" y="234"/>
                  </a:lnTo>
                  <a:lnTo>
                    <a:pt x="95" y="267"/>
                  </a:lnTo>
                  <a:lnTo>
                    <a:pt x="122" y="297"/>
                  </a:lnTo>
                  <a:lnTo>
                    <a:pt x="151" y="324"/>
                  </a:lnTo>
                  <a:lnTo>
                    <a:pt x="184" y="347"/>
                  </a:lnTo>
                  <a:lnTo>
                    <a:pt x="218" y="368"/>
                  </a:lnTo>
                  <a:lnTo>
                    <a:pt x="254" y="387"/>
                  </a:lnTo>
                  <a:lnTo>
                    <a:pt x="293" y="401"/>
                  </a:lnTo>
                  <a:lnTo>
                    <a:pt x="333" y="411"/>
                  </a:lnTo>
                  <a:lnTo>
                    <a:pt x="374" y="418"/>
                  </a:lnTo>
                  <a:lnTo>
                    <a:pt x="418" y="420"/>
                  </a:lnTo>
                  <a:lnTo>
                    <a:pt x="418" y="361"/>
                  </a:lnTo>
                  <a:lnTo>
                    <a:pt x="381" y="359"/>
                  </a:lnTo>
                  <a:lnTo>
                    <a:pt x="346" y="354"/>
                  </a:lnTo>
                  <a:lnTo>
                    <a:pt x="310" y="344"/>
                  </a:lnTo>
                  <a:lnTo>
                    <a:pt x="278" y="333"/>
                  </a:lnTo>
                  <a:lnTo>
                    <a:pt x="247" y="318"/>
                  </a:lnTo>
                  <a:lnTo>
                    <a:pt x="218" y="299"/>
                  </a:lnTo>
                  <a:lnTo>
                    <a:pt x="189" y="278"/>
                  </a:lnTo>
                  <a:lnTo>
                    <a:pt x="164" y="255"/>
                  </a:lnTo>
                  <a:lnTo>
                    <a:pt x="141" y="229"/>
                  </a:lnTo>
                  <a:lnTo>
                    <a:pt x="120" y="202"/>
                  </a:lnTo>
                  <a:lnTo>
                    <a:pt x="102" y="172"/>
                  </a:lnTo>
                  <a:lnTo>
                    <a:pt x="87" y="140"/>
                  </a:lnTo>
                  <a:lnTo>
                    <a:pt x="76" y="107"/>
                  </a:lnTo>
                  <a:lnTo>
                    <a:pt x="65" y="73"/>
                  </a:lnTo>
                  <a:lnTo>
                    <a:pt x="61" y="37"/>
                  </a:lnTo>
                  <a:lnTo>
                    <a:pt x="59" y="0"/>
                  </a:lnTo>
                  <a:lnTo>
                    <a:pt x="59" y="0"/>
                  </a:lnTo>
                  <a:lnTo>
                    <a:pt x="0"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24" name="Freeform 35"/>
            <p:cNvSpPr>
              <a:spLocks/>
            </p:cNvSpPr>
            <p:nvPr/>
          </p:nvSpPr>
          <p:spPr bwMode="auto">
            <a:xfrm>
              <a:off x="408" y="312"/>
              <a:ext cx="25" cy="24"/>
            </a:xfrm>
            <a:custGeom>
              <a:avLst/>
              <a:gdLst/>
              <a:ahLst/>
              <a:cxnLst>
                <a:cxn ang="0">
                  <a:pos x="418" y="0"/>
                </a:cxn>
                <a:cxn ang="0">
                  <a:pos x="418" y="0"/>
                </a:cxn>
                <a:cxn ang="0">
                  <a:pos x="374" y="2"/>
                </a:cxn>
                <a:cxn ang="0">
                  <a:pos x="333" y="9"/>
                </a:cxn>
                <a:cxn ang="0">
                  <a:pos x="293" y="19"/>
                </a:cxn>
                <a:cxn ang="0">
                  <a:pos x="254" y="33"/>
                </a:cxn>
                <a:cxn ang="0">
                  <a:pos x="218" y="52"/>
                </a:cxn>
                <a:cxn ang="0">
                  <a:pos x="184" y="73"/>
                </a:cxn>
                <a:cxn ang="0">
                  <a:pos x="151" y="96"/>
                </a:cxn>
                <a:cxn ang="0">
                  <a:pos x="122" y="123"/>
                </a:cxn>
                <a:cxn ang="0">
                  <a:pos x="95" y="153"/>
                </a:cxn>
                <a:cxn ang="0">
                  <a:pos x="71" y="185"/>
                </a:cxn>
                <a:cxn ang="0">
                  <a:pos x="49" y="220"/>
                </a:cxn>
                <a:cxn ang="0">
                  <a:pos x="32" y="257"/>
                </a:cxn>
                <a:cxn ang="0">
                  <a:pos x="19" y="295"/>
                </a:cxn>
                <a:cxn ang="0">
                  <a:pos x="8" y="335"/>
                </a:cxn>
                <a:cxn ang="0">
                  <a:pos x="2" y="376"/>
                </a:cxn>
                <a:cxn ang="0">
                  <a:pos x="0" y="419"/>
                </a:cxn>
                <a:cxn ang="0">
                  <a:pos x="59" y="419"/>
                </a:cxn>
                <a:cxn ang="0">
                  <a:pos x="61" y="382"/>
                </a:cxn>
                <a:cxn ang="0">
                  <a:pos x="65" y="347"/>
                </a:cxn>
                <a:cxn ang="0">
                  <a:pos x="76" y="312"/>
                </a:cxn>
                <a:cxn ang="0">
                  <a:pos x="87" y="280"/>
                </a:cxn>
                <a:cxn ang="0">
                  <a:pos x="102" y="247"/>
                </a:cxn>
                <a:cxn ang="0">
                  <a:pos x="120" y="219"/>
                </a:cxn>
                <a:cxn ang="0">
                  <a:pos x="141" y="191"/>
                </a:cxn>
                <a:cxn ang="0">
                  <a:pos x="164" y="165"/>
                </a:cxn>
                <a:cxn ang="0">
                  <a:pos x="189" y="142"/>
                </a:cxn>
                <a:cxn ang="0">
                  <a:pos x="218" y="121"/>
                </a:cxn>
                <a:cxn ang="0">
                  <a:pos x="247" y="102"/>
                </a:cxn>
                <a:cxn ang="0">
                  <a:pos x="278" y="87"/>
                </a:cxn>
                <a:cxn ang="0">
                  <a:pos x="310" y="76"/>
                </a:cxn>
                <a:cxn ang="0">
                  <a:pos x="346" y="66"/>
                </a:cxn>
                <a:cxn ang="0">
                  <a:pos x="381" y="61"/>
                </a:cxn>
                <a:cxn ang="0">
                  <a:pos x="418" y="59"/>
                </a:cxn>
                <a:cxn ang="0">
                  <a:pos x="418" y="59"/>
                </a:cxn>
                <a:cxn ang="0">
                  <a:pos x="418" y="0"/>
                </a:cxn>
              </a:cxnLst>
              <a:rect l="0" t="0" r="r" b="b"/>
              <a:pathLst>
                <a:path w="418" h="419">
                  <a:moveTo>
                    <a:pt x="418" y="0"/>
                  </a:moveTo>
                  <a:lnTo>
                    <a:pt x="418" y="0"/>
                  </a:lnTo>
                  <a:lnTo>
                    <a:pt x="374" y="2"/>
                  </a:lnTo>
                  <a:lnTo>
                    <a:pt x="333" y="9"/>
                  </a:lnTo>
                  <a:lnTo>
                    <a:pt x="293" y="19"/>
                  </a:lnTo>
                  <a:lnTo>
                    <a:pt x="254" y="33"/>
                  </a:lnTo>
                  <a:lnTo>
                    <a:pt x="218" y="52"/>
                  </a:lnTo>
                  <a:lnTo>
                    <a:pt x="184" y="73"/>
                  </a:lnTo>
                  <a:lnTo>
                    <a:pt x="151" y="96"/>
                  </a:lnTo>
                  <a:lnTo>
                    <a:pt x="122" y="123"/>
                  </a:lnTo>
                  <a:lnTo>
                    <a:pt x="95" y="153"/>
                  </a:lnTo>
                  <a:lnTo>
                    <a:pt x="71" y="185"/>
                  </a:lnTo>
                  <a:lnTo>
                    <a:pt x="49" y="220"/>
                  </a:lnTo>
                  <a:lnTo>
                    <a:pt x="32" y="257"/>
                  </a:lnTo>
                  <a:lnTo>
                    <a:pt x="19" y="295"/>
                  </a:lnTo>
                  <a:lnTo>
                    <a:pt x="8" y="335"/>
                  </a:lnTo>
                  <a:lnTo>
                    <a:pt x="2" y="376"/>
                  </a:lnTo>
                  <a:lnTo>
                    <a:pt x="0" y="419"/>
                  </a:lnTo>
                  <a:lnTo>
                    <a:pt x="59" y="419"/>
                  </a:lnTo>
                  <a:lnTo>
                    <a:pt x="61" y="382"/>
                  </a:lnTo>
                  <a:lnTo>
                    <a:pt x="65" y="347"/>
                  </a:lnTo>
                  <a:lnTo>
                    <a:pt x="76" y="312"/>
                  </a:lnTo>
                  <a:lnTo>
                    <a:pt x="87" y="280"/>
                  </a:lnTo>
                  <a:lnTo>
                    <a:pt x="102" y="247"/>
                  </a:lnTo>
                  <a:lnTo>
                    <a:pt x="120" y="219"/>
                  </a:lnTo>
                  <a:lnTo>
                    <a:pt x="141" y="191"/>
                  </a:lnTo>
                  <a:lnTo>
                    <a:pt x="164" y="165"/>
                  </a:lnTo>
                  <a:lnTo>
                    <a:pt x="189" y="142"/>
                  </a:lnTo>
                  <a:lnTo>
                    <a:pt x="218" y="121"/>
                  </a:lnTo>
                  <a:lnTo>
                    <a:pt x="247" y="102"/>
                  </a:lnTo>
                  <a:lnTo>
                    <a:pt x="278" y="87"/>
                  </a:lnTo>
                  <a:lnTo>
                    <a:pt x="310" y="76"/>
                  </a:lnTo>
                  <a:lnTo>
                    <a:pt x="346" y="66"/>
                  </a:lnTo>
                  <a:lnTo>
                    <a:pt x="381" y="61"/>
                  </a:lnTo>
                  <a:lnTo>
                    <a:pt x="418" y="59"/>
                  </a:lnTo>
                  <a:lnTo>
                    <a:pt x="418" y="59"/>
                  </a:lnTo>
                  <a:lnTo>
                    <a:pt x="418"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25" name="Freeform 36"/>
            <p:cNvSpPr>
              <a:spLocks noEditPoints="1"/>
            </p:cNvSpPr>
            <p:nvPr/>
          </p:nvSpPr>
          <p:spPr bwMode="auto">
            <a:xfrm>
              <a:off x="383" y="286"/>
              <a:ext cx="101" cy="101"/>
            </a:xfrm>
            <a:custGeom>
              <a:avLst/>
              <a:gdLst/>
              <a:ahLst/>
              <a:cxnLst>
                <a:cxn ang="0">
                  <a:pos x="1698" y="1030"/>
                </a:cxn>
                <a:cxn ang="0">
                  <a:pos x="1631" y="1229"/>
                </a:cxn>
                <a:cxn ang="0">
                  <a:pos x="1520" y="1402"/>
                </a:cxn>
                <a:cxn ang="0">
                  <a:pos x="1371" y="1544"/>
                </a:cxn>
                <a:cxn ang="0">
                  <a:pos x="1192" y="1648"/>
                </a:cxn>
                <a:cxn ang="0">
                  <a:pos x="989" y="1705"/>
                </a:cxn>
                <a:cxn ang="0">
                  <a:pos x="770" y="1711"/>
                </a:cxn>
                <a:cxn ang="0">
                  <a:pos x="563" y="1663"/>
                </a:cxn>
                <a:cxn ang="0">
                  <a:pos x="378" y="1569"/>
                </a:cxn>
                <a:cxn ang="0">
                  <a:pos x="223" y="1434"/>
                </a:cxn>
                <a:cxn ang="0">
                  <a:pos x="103" y="1265"/>
                </a:cxn>
                <a:cxn ang="0">
                  <a:pos x="27" y="1072"/>
                </a:cxn>
                <a:cxn ang="0">
                  <a:pos x="0" y="857"/>
                </a:cxn>
                <a:cxn ang="0">
                  <a:pos x="27" y="642"/>
                </a:cxn>
                <a:cxn ang="0">
                  <a:pos x="103" y="448"/>
                </a:cxn>
                <a:cxn ang="0">
                  <a:pos x="223" y="281"/>
                </a:cxn>
                <a:cxn ang="0">
                  <a:pos x="378" y="146"/>
                </a:cxn>
                <a:cxn ang="0">
                  <a:pos x="563" y="53"/>
                </a:cxn>
                <a:cxn ang="0">
                  <a:pos x="770" y="4"/>
                </a:cxn>
                <a:cxn ang="0">
                  <a:pos x="989" y="11"/>
                </a:cxn>
                <a:cxn ang="0">
                  <a:pos x="1192" y="67"/>
                </a:cxn>
                <a:cxn ang="0">
                  <a:pos x="1371" y="171"/>
                </a:cxn>
                <a:cxn ang="0">
                  <a:pos x="1520" y="312"/>
                </a:cxn>
                <a:cxn ang="0">
                  <a:pos x="1631" y="485"/>
                </a:cxn>
                <a:cxn ang="0">
                  <a:pos x="1698" y="684"/>
                </a:cxn>
                <a:cxn ang="0">
                  <a:pos x="1657" y="857"/>
                </a:cxn>
                <a:cxn ang="0">
                  <a:pos x="1632" y="657"/>
                </a:cxn>
                <a:cxn ang="0">
                  <a:pos x="1560" y="477"/>
                </a:cxn>
                <a:cxn ang="0">
                  <a:pos x="1450" y="320"/>
                </a:cxn>
                <a:cxn ang="0">
                  <a:pos x="1305" y="195"/>
                </a:cxn>
                <a:cxn ang="0">
                  <a:pos x="1133" y="107"/>
                </a:cxn>
                <a:cxn ang="0">
                  <a:pos x="940" y="63"/>
                </a:cxn>
                <a:cxn ang="0">
                  <a:pos x="735" y="68"/>
                </a:cxn>
                <a:cxn ang="0">
                  <a:pos x="546" y="121"/>
                </a:cxn>
                <a:cxn ang="0">
                  <a:pos x="380" y="217"/>
                </a:cxn>
                <a:cxn ang="0">
                  <a:pos x="241" y="350"/>
                </a:cxn>
                <a:cxn ang="0">
                  <a:pos x="137" y="511"/>
                </a:cxn>
                <a:cxn ang="0">
                  <a:pos x="75" y="696"/>
                </a:cxn>
                <a:cxn ang="0">
                  <a:pos x="60" y="898"/>
                </a:cxn>
                <a:cxn ang="0">
                  <a:pos x="95" y="1095"/>
                </a:cxn>
                <a:cxn ang="0">
                  <a:pos x="174" y="1272"/>
                </a:cxn>
                <a:cxn ang="0">
                  <a:pos x="293" y="1422"/>
                </a:cxn>
                <a:cxn ang="0">
                  <a:pos x="443" y="1541"/>
                </a:cxn>
                <a:cxn ang="0">
                  <a:pos x="620" y="1620"/>
                </a:cxn>
                <a:cxn ang="0">
                  <a:pos x="816" y="1655"/>
                </a:cxn>
                <a:cxn ang="0">
                  <a:pos x="1020" y="1640"/>
                </a:cxn>
                <a:cxn ang="0">
                  <a:pos x="1205" y="1578"/>
                </a:cxn>
                <a:cxn ang="0">
                  <a:pos x="1367" y="1474"/>
                </a:cxn>
                <a:cxn ang="0">
                  <a:pos x="1498" y="1335"/>
                </a:cxn>
                <a:cxn ang="0">
                  <a:pos x="1594" y="1169"/>
                </a:cxn>
                <a:cxn ang="0">
                  <a:pos x="1648" y="978"/>
                </a:cxn>
              </a:cxnLst>
              <a:rect l="0" t="0" r="r" b="b"/>
              <a:pathLst>
                <a:path w="1716" h="1715">
                  <a:moveTo>
                    <a:pt x="1716" y="857"/>
                  </a:moveTo>
                  <a:lnTo>
                    <a:pt x="1715" y="901"/>
                  </a:lnTo>
                  <a:lnTo>
                    <a:pt x="1711" y="944"/>
                  </a:lnTo>
                  <a:lnTo>
                    <a:pt x="1706" y="987"/>
                  </a:lnTo>
                  <a:lnTo>
                    <a:pt x="1698" y="1030"/>
                  </a:lnTo>
                  <a:lnTo>
                    <a:pt x="1689" y="1072"/>
                  </a:lnTo>
                  <a:lnTo>
                    <a:pt x="1677" y="1112"/>
                  </a:lnTo>
                  <a:lnTo>
                    <a:pt x="1663" y="1152"/>
                  </a:lnTo>
                  <a:lnTo>
                    <a:pt x="1649" y="1191"/>
                  </a:lnTo>
                  <a:lnTo>
                    <a:pt x="1631" y="1229"/>
                  </a:lnTo>
                  <a:lnTo>
                    <a:pt x="1612" y="1265"/>
                  </a:lnTo>
                  <a:lnTo>
                    <a:pt x="1592" y="1302"/>
                  </a:lnTo>
                  <a:lnTo>
                    <a:pt x="1569" y="1337"/>
                  </a:lnTo>
                  <a:lnTo>
                    <a:pt x="1546" y="1371"/>
                  </a:lnTo>
                  <a:lnTo>
                    <a:pt x="1520" y="1402"/>
                  </a:lnTo>
                  <a:lnTo>
                    <a:pt x="1493" y="1434"/>
                  </a:lnTo>
                  <a:lnTo>
                    <a:pt x="1465" y="1463"/>
                  </a:lnTo>
                  <a:lnTo>
                    <a:pt x="1435" y="1492"/>
                  </a:lnTo>
                  <a:lnTo>
                    <a:pt x="1404" y="1519"/>
                  </a:lnTo>
                  <a:lnTo>
                    <a:pt x="1371" y="1544"/>
                  </a:lnTo>
                  <a:lnTo>
                    <a:pt x="1337" y="1569"/>
                  </a:lnTo>
                  <a:lnTo>
                    <a:pt x="1303" y="1591"/>
                  </a:lnTo>
                  <a:lnTo>
                    <a:pt x="1267" y="1612"/>
                  </a:lnTo>
                  <a:lnTo>
                    <a:pt x="1230" y="1631"/>
                  </a:lnTo>
                  <a:lnTo>
                    <a:pt x="1192" y="1648"/>
                  </a:lnTo>
                  <a:lnTo>
                    <a:pt x="1153" y="1663"/>
                  </a:lnTo>
                  <a:lnTo>
                    <a:pt x="1113" y="1676"/>
                  </a:lnTo>
                  <a:lnTo>
                    <a:pt x="1072" y="1688"/>
                  </a:lnTo>
                  <a:lnTo>
                    <a:pt x="1031" y="1697"/>
                  </a:lnTo>
                  <a:lnTo>
                    <a:pt x="989" y="1705"/>
                  </a:lnTo>
                  <a:lnTo>
                    <a:pt x="946" y="1711"/>
                  </a:lnTo>
                  <a:lnTo>
                    <a:pt x="902" y="1714"/>
                  </a:lnTo>
                  <a:lnTo>
                    <a:pt x="858" y="1715"/>
                  </a:lnTo>
                  <a:lnTo>
                    <a:pt x="813" y="1714"/>
                  </a:lnTo>
                  <a:lnTo>
                    <a:pt x="770" y="1711"/>
                  </a:lnTo>
                  <a:lnTo>
                    <a:pt x="727" y="1705"/>
                  </a:lnTo>
                  <a:lnTo>
                    <a:pt x="685" y="1697"/>
                  </a:lnTo>
                  <a:lnTo>
                    <a:pt x="643" y="1688"/>
                  </a:lnTo>
                  <a:lnTo>
                    <a:pt x="603" y="1676"/>
                  </a:lnTo>
                  <a:lnTo>
                    <a:pt x="563" y="1663"/>
                  </a:lnTo>
                  <a:lnTo>
                    <a:pt x="524" y="1648"/>
                  </a:lnTo>
                  <a:lnTo>
                    <a:pt x="486" y="1631"/>
                  </a:lnTo>
                  <a:lnTo>
                    <a:pt x="448" y="1612"/>
                  </a:lnTo>
                  <a:lnTo>
                    <a:pt x="412" y="1591"/>
                  </a:lnTo>
                  <a:lnTo>
                    <a:pt x="378" y="1569"/>
                  </a:lnTo>
                  <a:lnTo>
                    <a:pt x="344" y="1544"/>
                  </a:lnTo>
                  <a:lnTo>
                    <a:pt x="311" y="1519"/>
                  </a:lnTo>
                  <a:lnTo>
                    <a:pt x="281" y="1492"/>
                  </a:lnTo>
                  <a:lnTo>
                    <a:pt x="251" y="1463"/>
                  </a:lnTo>
                  <a:lnTo>
                    <a:pt x="223" y="1434"/>
                  </a:lnTo>
                  <a:lnTo>
                    <a:pt x="196" y="1402"/>
                  </a:lnTo>
                  <a:lnTo>
                    <a:pt x="170" y="1371"/>
                  </a:lnTo>
                  <a:lnTo>
                    <a:pt x="146" y="1337"/>
                  </a:lnTo>
                  <a:lnTo>
                    <a:pt x="124" y="1302"/>
                  </a:lnTo>
                  <a:lnTo>
                    <a:pt x="103" y="1265"/>
                  </a:lnTo>
                  <a:lnTo>
                    <a:pt x="84" y="1229"/>
                  </a:lnTo>
                  <a:lnTo>
                    <a:pt x="67" y="1191"/>
                  </a:lnTo>
                  <a:lnTo>
                    <a:pt x="52" y="1152"/>
                  </a:lnTo>
                  <a:lnTo>
                    <a:pt x="39" y="1112"/>
                  </a:lnTo>
                  <a:lnTo>
                    <a:pt x="27" y="1072"/>
                  </a:lnTo>
                  <a:lnTo>
                    <a:pt x="18" y="1030"/>
                  </a:lnTo>
                  <a:lnTo>
                    <a:pt x="9" y="987"/>
                  </a:lnTo>
                  <a:lnTo>
                    <a:pt x="4" y="944"/>
                  </a:lnTo>
                  <a:lnTo>
                    <a:pt x="1" y="901"/>
                  </a:lnTo>
                  <a:lnTo>
                    <a:pt x="0" y="857"/>
                  </a:lnTo>
                  <a:lnTo>
                    <a:pt x="1" y="813"/>
                  </a:lnTo>
                  <a:lnTo>
                    <a:pt x="4" y="770"/>
                  </a:lnTo>
                  <a:lnTo>
                    <a:pt x="9" y="726"/>
                  </a:lnTo>
                  <a:lnTo>
                    <a:pt x="18" y="684"/>
                  </a:lnTo>
                  <a:lnTo>
                    <a:pt x="27" y="642"/>
                  </a:lnTo>
                  <a:lnTo>
                    <a:pt x="39" y="602"/>
                  </a:lnTo>
                  <a:lnTo>
                    <a:pt x="52" y="562"/>
                  </a:lnTo>
                  <a:lnTo>
                    <a:pt x="67" y="523"/>
                  </a:lnTo>
                  <a:lnTo>
                    <a:pt x="84" y="485"/>
                  </a:lnTo>
                  <a:lnTo>
                    <a:pt x="103" y="448"/>
                  </a:lnTo>
                  <a:lnTo>
                    <a:pt x="124" y="413"/>
                  </a:lnTo>
                  <a:lnTo>
                    <a:pt x="146" y="378"/>
                  </a:lnTo>
                  <a:lnTo>
                    <a:pt x="170" y="344"/>
                  </a:lnTo>
                  <a:lnTo>
                    <a:pt x="196" y="312"/>
                  </a:lnTo>
                  <a:lnTo>
                    <a:pt x="223" y="281"/>
                  </a:lnTo>
                  <a:lnTo>
                    <a:pt x="251" y="252"/>
                  </a:lnTo>
                  <a:lnTo>
                    <a:pt x="281" y="223"/>
                  </a:lnTo>
                  <a:lnTo>
                    <a:pt x="313" y="196"/>
                  </a:lnTo>
                  <a:lnTo>
                    <a:pt x="344" y="171"/>
                  </a:lnTo>
                  <a:lnTo>
                    <a:pt x="378" y="146"/>
                  </a:lnTo>
                  <a:lnTo>
                    <a:pt x="412" y="124"/>
                  </a:lnTo>
                  <a:lnTo>
                    <a:pt x="448" y="103"/>
                  </a:lnTo>
                  <a:lnTo>
                    <a:pt x="486" y="85"/>
                  </a:lnTo>
                  <a:lnTo>
                    <a:pt x="524" y="67"/>
                  </a:lnTo>
                  <a:lnTo>
                    <a:pt x="563" y="53"/>
                  </a:lnTo>
                  <a:lnTo>
                    <a:pt x="603" y="39"/>
                  </a:lnTo>
                  <a:lnTo>
                    <a:pt x="643" y="27"/>
                  </a:lnTo>
                  <a:lnTo>
                    <a:pt x="685" y="18"/>
                  </a:lnTo>
                  <a:lnTo>
                    <a:pt x="727" y="11"/>
                  </a:lnTo>
                  <a:lnTo>
                    <a:pt x="770" y="4"/>
                  </a:lnTo>
                  <a:lnTo>
                    <a:pt x="813" y="1"/>
                  </a:lnTo>
                  <a:lnTo>
                    <a:pt x="858" y="0"/>
                  </a:lnTo>
                  <a:lnTo>
                    <a:pt x="902" y="1"/>
                  </a:lnTo>
                  <a:lnTo>
                    <a:pt x="946" y="4"/>
                  </a:lnTo>
                  <a:lnTo>
                    <a:pt x="989" y="11"/>
                  </a:lnTo>
                  <a:lnTo>
                    <a:pt x="1031" y="18"/>
                  </a:lnTo>
                  <a:lnTo>
                    <a:pt x="1072" y="27"/>
                  </a:lnTo>
                  <a:lnTo>
                    <a:pt x="1113" y="39"/>
                  </a:lnTo>
                  <a:lnTo>
                    <a:pt x="1153" y="53"/>
                  </a:lnTo>
                  <a:lnTo>
                    <a:pt x="1192" y="67"/>
                  </a:lnTo>
                  <a:lnTo>
                    <a:pt x="1230" y="85"/>
                  </a:lnTo>
                  <a:lnTo>
                    <a:pt x="1267" y="103"/>
                  </a:lnTo>
                  <a:lnTo>
                    <a:pt x="1303" y="124"/>
                  </a:lnTo>
                  <a:lnTo>
                    <a:pt x="1337" y="146"/>
                  </a:lnTo>
                  <a:lnTo>
                    <a:pt x="1371" y="171"/>
                  </a:lnTo>
                  <a:lnTo>
                    <a:pt x="1404" y="196"/>
                  </a:lnTo>
                  <a:lnTo>
                    <a:pt x="1435" y="223"/>
                  </a:lnTo>
                  <a:lnTo>
                    <a:pt x="1465" y="252"/>
                  </a:lnTo>
                  <a:lnTo>
                    <a:pt x="1493" y="281"/>
                  </a:lnTo>
                  <a:lnTo>
                    <a:pt x="1520" y="312"/>
                  </a:lnTo>
                  <a:lnTo>
                    <a:pt x="1546" y="344"/>
                  </a:lnTo>
                  <a:lnTo>
                    <a:pt x="1569" y="378"/>
                  </a:lnTo>
                  <a:lnTo>
                    <a:pt x="1592" y="413"/>
                  </a:lnTo>
                  <a:lnTo>
                    <a:pt x="1612" y="448"/>
                  </a:lnTo>
                  <a:lnTo>
                    <a:pt x="1631" y="485"/>
                  </a:lnTo>
                  <a:lnTo>
                    <a:pt x="1649" y="523"/>
                  </a:lnTo>
                  <a:lnTo>
                    <a:pt x="1663" y="562"/>
                  </a:lnTo>
                  <a:lnTo>
                    <a:pt x="1677" y="602"/>
                  </a:lnTo>
                  <a:lnTo>
                    <a:pt x="1689" y="642"/>
                  </a:lnTo>
                  <a:lnTo>
                    <a:pt x="1698" y="684"/>
                  </a:lnTo>
                  <a:lnTo>
                    <a:pt x="1706" y="726"/>
                  </a:lnTo>
                  <a:lnTo>
                    <a:pt x="1711" y="770"/>
                  </a:lnTo>
                  <a:lnTo>
                    <a:pt x="1715" y="813"/>
                  </a:lnTo>
                  <a:lnTo>
                    <a:pt x="1716" y="857"/>
                  </a:lnTo>
                  <a:close/>
                  <a:moveTo>
                    <a:pt x="1657" y="857"/>
                  </a:moveTo>
                  <a:lnTo>
                    <a:pt x="1656" y="816"/>
                  </a:lnTo>
                  <a:lnTo>
                    <a:pt x="1653" y="775"/>
                  </a:lnTo>
                  <a:lnTo>
                    <a:pt x="1648" y="735"/>
                  </a:lnTo>
                  <a:lnTo>
                    <a:pt x="1641" y="696"/>
                  </a:lnTo>
                  <a:lnTo>
                    <a:pt x="1632" y="657"/>
                  </a:lnTo>
                  <a:lnTo>
                    <a:pt x="1621" y="619"/>
                  </a:lnTo>
                  <a:lnTo>
                    <a:pt x="1609" y="582"/>
                  </a:lnTo>
                  <a:lnTo>
                    <a:pt x="1594" y="546"/>
                  </a:lnTo>
                  <a:lnTo>
                    <a:pt x="1578" y="511"/>
                  </a:lnTo>
                  <a:lnTo>
                    <a:pt x="1560" y="477"/>
                  </a:lnTo>
                  <a:lnTo>
                    <a:pt x="1541" y="443"/>
                  </a:lnTo>
                  <a:lnTo>
                    <a:pt x="1520" y="411"/>
                  </a:lnTo>
                  <a:lnTo>
                    <a:pt x="1498" y="379"/>
                  </a:lnTo>
                  <a:lnTo>
                    <a:pt x="1475" y="350"/>
                  </a:lnTo>
                  <a:lnTo>
                    <a:pt x="1450" y="320"/>
                  </a:lnTo>
                  <a:lnTo>
                    <a:pt x="1424" y="293"/>
                  </a:lnTo>
                  <a:lnTo>
                    <a:pt x="1395" y="266"/>
                  </a:lnTo>
                  <a:lnTo>
                    <a:pt x="1367" y="241"/>
                  </a:lnTo>
                  <a:lnTo>
                    <a:pt x="1336" y="217"/>
                  </a:lnTo>
                  <a:lnTo>
                    <a:pt x="1305" y="195"/>
                  </a:lnTo>
                  <a:lnTo>
                    <a:pt x="1272" y="175"/>
                  </a:lnTo>
                  <a:lnTo>
                    <a:pt x="1239" y="155"/>
                  </a:lnTo>
                  <a:lnTo>
                    <a:pt x="1205" y="138"/>
                  </a:lnTo>
                  <a:lnTo>
                    <a:pt x="1169" y="121"/>
                  </a:lnTo>
                  <a:lnTo>
                    <a:pt x="1133" y="107"/>
                  </a:lnTo>
                  <a:lnTo>
                    <a:pt x="1095" y="95"/>
                  </a:lnTo>
                  <a:lnTo>
                    <a:pt x="1057" y="84"/>
                  </a:lnTo>
                  <a:lnTo>
                    <a:pt x="1020" y="75"/>
                  </a:lnTo>
                  <a:lnTo>
                    <a:pt x="980" y="68"/>
                  </a:lnTo>
                  <a:lnTo>
                    <a:pt x="940" y="63"/>
                  </a:lnTo>
                  <a:lnTo>
                    <a:pt x="899" y="60"/>
                  </a:lnTo>
                  <a:lnTo>
                    <a:pt x="858" y="59"/>
                  </a:lnTo>
                  <a:lnTo>
                    <a:pt x="816" y="60"/>
                  </a:lnTo>
                  <a:lnTo>
                    <a:pt x="777" y="63"/>
                  </a:lnTo>
                  <a:lnTo>
                    <a:pt x="735" y="68"/>
                  </a:lnTo>
                  <a:lnTo>
                    <a:pt x="697" y="75"/>
                  </a:lnTo>
                  <a:lnTo>
                    <a:pt x="658" y="84"/>
                  </a:lnTo>
                  <a:lnTo>
                    <a:pt x="620" y="95"/>
                  </a:lnTo>
                  <a:lnTo>
                    <a:pt x="583" y="107"/>
                  </a:lnTo>
                  <a:lnTo>
                    <a:pt x="546" y="121"/>
                  </a:lnTo>
                  <a:lnTo>
                    <a:pt x="511" y="138"/>
                  </a:lnTo>
                  <a:lnTo>
                    <a:pt x="477" y="155"/>
                  </a:lnTo>
                  <a:lnTo>
                    <a:pt x="443" y="175"/>
                  </a:lnTo>
                  <a:lnTo>
                    <a:pt x="410" y="195"/>
                  </a:lnTo>
                  <a:lnTo>
                    <a:pt x="380" y="217"/>
                  </a:lnTo>
                  <a:lnTo>
                    <a:pt x="349" y="241"/>
                  </a:lnTo>
                  <a:lnTo>
                    <a:pt x="320" y="266"/>
                  </a:lnTo>
                  <a:lnTo>
                    <a:pt x="293" y="293"/>
                  </a:lnTo>
                  <a:lnTo>
                    <a:pt x="266" y="320"/>
                  </a:lnTo>
                  <a:lnTo>
                    <a:pt x="241" y="350"/>
                  </a:lnTo>
                  <a:lnTo>
                    <a:pt x="217" y="379"/>
                  </a:lnTo>
                  <a:lnTo>
                    <a:pt x="195" y="411"/>
                  </a:lnTo>
                  <a:lnTo>
                    <a:pt x="174" y="443"/>
                  </a:lnTo>
                  <a:lnTo>
                    <a:pt x="155" y="477"/>
                  </a:lnTo>
                  <a:lnTo>
                    <a:pt x="137" y="511"/>
                  </a:lnTo>
                  <a:lnTo>
                    <a:pt x="121" y="546"/>
                  </a:lnTo>
                  <a:lnTo>
                    <a:pt x="107" y="582"/>
                  </a:lnTo>
                  <a:lnTo>
                    <a:pt x="95" y="619"/>
                  </a:lnTo>
                  <a:lnTo>
                    <a:pt x="83" y="657"/>
                  </a:lnTo>
                  <a:lnTo>
                    <a:pt x="75" y="696"/>
                  </a:lnTo>
                  <a:lnTo>
                    <a:pt x="67" y="735"/>
                  </a:lnTo>
                  <a:lnTo>
                    <a:pt x="62" y="775"/>
                  </a:lnTo>
                  <a:lnTo>
                    <a:pt x="60" y="816"/>
                  </a:lnTo>
                  <a:lnTo>
                    <a:pt x="59" y="857"/>
                  </a:lnTo>
                  <a:lnTo>
                    <a:pt x="60" y="898"/>
                  </a:lnTo>
                  <a:lnTo>
                    <a:pt x="62" y="938"/>
                  </a:lnTo>
                  <a:lnTo>
                    <a:pt x="67" y="978"/>
                  </a:lnTo>
                  <a:lnTo>
                    <a:pt x="75" y="1018"/>
                  </a:lnTo>
                  <a:lnTo>
                    <a:pt x="83" y="1057"/>
                  </a:lnTo>
                  <a:lnTo>
                    <a:pt x="95" y="1095"/>
                  </a:lnTo>
                  <a:lnTo>
                    <a:pt x="107" y="1132"/>
                  </a:lnTo>
                  <a:lnTo>
                    <a:pt x="121" y="1169"/>
                  </a:lnTo>
                  <a:lnTo>
                    <a:pt x="137" y="1203"/>
                  </a:lnTo>
                  <a:lnTo>
                    <a:pt x="155" y="1238"/>
                  </a:lnTo>
                  <a:lnTo>
                    <a:pt x="174" y="1272"/>
                  </a:lnTo>
                  <a:lnTo>
                    <a:pt x="195" y="1304"/>
                  </a:lnTo>
                  <a:lnTo>
                    <a:pt x="217" y="1335"/>
                  </a:lnTo>
                  <a:lnTo>
                    <a:pt x="241" y="1365"/>
                  </a:lnTo>
                  <a:lnTo>
                    <a:pt x="266" y="1395"/>
                  </a:lnTo>
                  <a:lnTo>
                    <a:pt x="293" y="1422"/>
                  </a:lnTo>
                  <a:lnTo>
                    <a:pt x="320" y="1449"/>
                  </a:lnTo>
                  <a:lnTo>
                    <a:pt x="349" y="1474"/>
                  </a:lnTo>
                  <a:lnTo>
                    <a:pt x="380" y="1498"/>
                  </a:lnTo>
                  <a:lnTo>
                    <a:pt x="410" y="1520"/>
                  </a:lnTo>
                  <a:lnTo>
                    <a:pt x="443" y="1541"/>
                  </a:lnTo>
                  <a:lnTo>
                    <a:pt x="477" y="1560"/>
                  </a:lnTo>
                  <a:lnTo>
                    <a:pt x="511" y="1578"/>
                  </a:lnTo>
                  <a:lnTo>
                    <a:pt x="546" y="1594"/>
                  </a:lnTo>
                  <a:lnTo>
                    <a:pt x="583" y="1608"/>
                  </a:lnTo>
                  <a:lnTo>
                    <a:pt x="620" y="1620"/>
                  </a:lnTo>
                  <a:lnTo>
                    <a:pt x="658" y="1632"/>
                  </a:lnTo>
                  <a:lnTo>
                    <a:pt x="697" y="1640"/>
                  </a:lnTo>
                  <a:lnTo>
                    <a:pt x="735" y="1648"/>
                  </a:lnTo>
                  <a:lnTo>
                    <a:pt x="777" y="1652"/>
                  </a:lnTo>
                  <a:lnTo>
                    <a:pt x="816" y="1655"/>
                  </a:lnTo>
                  <a:lnTo>
                    <a:pt x="858" y="1656"/>
                  </a:lnTo>
                  <a:lnTo>
                    <a:pt x="899" y="1655"/>
                  </a:lnTo>
                  <a:lnTo>
                    <a:pt x="940" y="1652"/>
                  </a:lnTo>
                  <a:lnTo>
                    <a:pt x="980" y="1648"/>
                  </a:lnTo>
                  <a:lnTo>
                    <a:pt x="1020" y="1640"/>
                  </a:lnTo>
                  <a:lnTo>
                    <a:pt x="1057" y="1632"/>
                  </a:lnTo>
                  <a:lnTo>
                    <a:pt x="1095" y="1620"/>
                  </a:lnTo>
                  <a:lnTo>
                    <a:pt x="1133" y="1608"/>
                  </a:lnTo>
                  <a:lnTo>
                    <a:pt x="1169" y="1594"/>
                  </a:lnTo>
                  <a:lnTo>
                    <a:pt x="1205" y="1578"/>
                  </a:lnTo>
                  <a:lnTo>
                    <a:pt x="1239" y="1560"/>
                  </a:lnTo>
                  <a:lnTo>
                    <a:pt x="1272" y="1541"/>
                  </a:lnTo>
                  <a:lnTo>
                    <a:pt x="1305" y="1520"/>
                  </a:lnTo>
                  <a:lnTo>
                    <a:pt x="1336" y="1498"/>
                  </a:lnTo>
                  <a:lnTo>
                    <a:pt x="1367" y="1474"/>
                  </a:lnTo>
                  <a:lnTo>
                    <a:pt x="1395" y="1449"/>
                  </a:lnTo>
                  <a:lnTo>
                    <a:pt x="1424" y="1422"/>
                  </a:lnTo>
                  <a:lnTo>
                    <a:pt x="1450" y="1395"/>
                  </a:lnTo>
                  <a:lnTo>
                    <a:pt x="1475" y="1365"/>
                  </a:lnTo>
                  <a:lnTo>
                    <a:pt x="1498" y="1335"/>
                  </a:lnTo>
                  <a:lnTo>
                    <a:pt x="1520" y="1304"/>
                  </a:lnTo>
                  <a:lnTo>
                    <a:pt x="1541" y="1272"/>
                  </a:lnTo>
                  <a:lnTo>
                    <a:pt x="1560" y="1238"/>
                  </a:lnTo>
                  <a:lnTo>
                    <a:pt x="1578" y="1203"/>
                  </a:lnTo>
                  <a:lnTo>
                    <a:pt x="1594" y="1169"/>
                  </a:lnTo>
                  <a:lnTo>
                    <a:pt x="1609" y="1132"/>
                  </a:lnTo>
                  <a:lnTo>
                    <a:pt x="1621" y="1095"/>
                  </a:lnTo>
                  <a:lnTo>
                    <a:pt x="1632" y="1057"/>
                  </a:lnTo>
                  <a:lnTo>
                    <a:pt x="1641" y="1018"/>
                  </a:lnTo>
                  <a:lnTo>
                    <a:pt x="1648" y="978"/>
                  </a:lnTo>
                  <a:lnTo>
                    <a:pt x="1653" y="938"/>
                  </a:lnTo>
                  <a:lnTo>
                    <a:pt x="1656" y="898"/>
                  </a:lnTo>
                  <a:lnTo>
                    <a:pt x="1657" y="857"/>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26" name="Freeform 37"/>
            <p:cNvSpPr>
              <a:spLocks noEditPoints="1"/>
            </p:cNvSpPr>
            <p:nvPr/>
          </p:nvSpPr>
          <p:spPr bwMode="auto">
            <a:xfrm>
              <a:off x="359" y="262"/>
              <a:ext cx="148" cy="149"/>
            </a:xfrm>
            <a:custGeom>
              <a:avLst/>
              <a:gdLst/>
              <a:ahLst/>
              <a:cxnLst>
                <a:cxn ang="0">
                  <a:pos x="2500" y="1518"/>
                </a:cxn>
                <a:cxn ang="0">
                  <a:pos x="2401" y="1810"/>
                </a:cxn>
                <a:cxn ang="0">
                  <a:pos x="2237" y="2067"/>
                </a:cxn>
                <a:cxn ang="0">
                  <a:pos x="2018" y="2277"/>
                </a:cxn>
                <a:cxn ang="0">
                  <a:pos x="1755" y="2428"/>
                </a:cxn>
                <a:cxn ang="0">
                  <a:pos x="1455" y="2514"/>
                </a:cxn>
                <a:cxn ang="0">
                  <a:pos x="1134" y="2521"/>
                </a:cxn>
                <a:cxn ang="0">
                  <a:pos x="829" y="2452"/>
                </a:cxn>
                <a:cxn ang="0">
                  <a:pos x="557" y="2312"/>
                </a:cxn>
                <a:cxn ang="0">
                  <a:pos x="328" y="2113"/>
                </a:cxn>
                <a:cxn ang="0">
                  <a:pos x="153" y="1865"/>
                </a:cxn>
                <a:cxn ang="0">
                  <a:pos x="40" y="1579"/>
                </a:cxn>
                <a:cxn ang="0">
                  <a:pos x="0" y="1263"/>
                </a:cxn>
                <a:cxn ang="0">
                  <a:pos x="40" y="947"/>
                </a:cxn>
                <a:cxn ang="0">
                  <a:pos x="153" y="661"/>
                </a:cxn>
                <a:cxn ang="0">
                  <a:pos x="328" y="413"/>
                </a:cxn>
                <a:cxn ang="0">
                  <a:pos x="557" y="214"/>
                </a:cxn>
                <a:cxn ang="0">
                  <a:pos x="829" y="75"/>
                </a:cxn>
                <a:cxn ang="0">
                  <a:pos x="1134" y="6"/>
                </a:cxn>
                <a:cxn ang="0">
                  <a:pos x="1455" y="13"/>
                </a:cxn>
                <a:cxn ang="0">
                  <a:pos x="1755" y="99"/>
                </a:cxn>
                <a:cxn ang="0">
                  <a:pos x="2018" y="250"/>
                </a:cxn>
                <a:cxn ang="0">
                  <a:pos x="2237" y="459"/>
                </a:cxn>
                <a:cxn ang="0">
                  <a:pos x="2401" y="714"/>
                </a:cxn>
                <a:cxn ang="0">
                  <a:pos x="2500" y="1008"/>
                </a:cxn>
                <a:cxn ang="0">
                  <a:pos x="2467" y="1263"/>
                </a:cxn>
                <a:cxn ang="0">
                  <a:pos x="2429" y="962"/>
                </a:cxn>
                <a:cxn ang="0">
                  <a:pos x="2322" y="688"/>
                </a:cxn>
                <a:cxn ang="0">
                  <a:pos x="2155" y="452"/>
                </a:cxn>
                <a:cxn ang="0">
                  <a:pos x="1936" y="264"/>
                </a:cxn>
                <a:cxn ang="0">
                  <a:pos x="1677" y="131"/>
                </a:cxn>
                <a:cxn ang="0">
                  <a:pos x="1386" y="64"/>
                </a:cxn>
                <a:cxn ang="0">
                  <a:pos x="1079" y="71"/>
                </a:cxn>
                <a:cxn ang="0">
                  <a:pos x="794" y="152"/>
                </a:cxn>
                <a:cxn ang="0">
                  <a:pos x="542" y="296"/>
                </a:cxn>
                <a:cxn ang="0">
                  <a:pos x="333" y="497"/>
                </a:cxn>
                <a:cxn ang="0">
                  <a:pos x="178" y="740"/>
                </a:cxn>
                <a:cxn ang="0">
                  <a:pos x="83" y="1020"/>
                </a:cxn>
                <a:cxn ang="0">
                  <a:pos x="60" y="1325"/>
                </a:cxn>
                <a:cxn ang="0">
                  <a:pos x="113" y="1621"/>
                </a:cxn>
                <a:cxn ang="0">
                  <a:pos x="232" y="1888"/>
                </a:cxn>
                <a:cxn ang="0">
                  <a:pos x="411" y="2116"/>
                </a:cxn>
                <a:cxn ang="0">
                  <a:pos x="639" y="2295"/>
                </a:cxn>
                <a:cxn ang="0">
                  <a:pos x="905" y="2416"/>
                </a:cxn>
                <a:cxn ang="0">
                  <a:pos x="1200" y="2468"/>
                </a:cxn>
                <a:cxn ang="0">
                  <a:pos x="1506" y="2445"/>
                </a:cxn>
                <a:cxn ang="0">
                  <a:pos x="1785" y="2350"/>
                </a:cxn>
                <a:cxn ang="0">
                  <a:pos x="2028" y="2194"/>
                </a:cxn>
                <a:cxn ang="0">
                  <a:pos x="2228" y="1984"/>
                </a:cxn>
                <a:cxn ang="0">
                  <a:pos x="2373" y="1732"/>
                </a:cxn>
                <a:cxn ang="0">
                  <a:pos x="2454" y="1446"/>
                </a:cxn>
              </a:cxnLst>
              <a:rect l="0" t="0" r="r" b="b"/>
              <a:pathLst>
                <a:path w="2525" h="2528">
                  <a:moveTo>
                    <a:pt x="2525" y="1263"/>
                  </a:moveTo>
                  <a:lnTo>
                    <a:pt x="2524" y="1327"/>
                  </a:lnTo>
                  <a:lnTo>
                    <a:pt x="2519" y="1391"/>
                  </a:lnTo>
                  <a:lnTo>
                    <a:pt x="2511" y="1455"/>
                  </a:lnTo>
                  <a:lnTo>
                    <a:pt x="2500" y="1518"/>
                  </a:lnTo>
                  <a:lnTo>
                    <a:pt x="2486" y="1579"/>
                  </a:lnTo>
                  <a:lnTo>
                    <a:pt x="2469" y="1639"/>
                  </a:lnTo>
                  <a:lnTo>
                    <a:pt x="2449" y="1698"/>
                  </a:lnTo>
                  <a:lnTo>
                    <a:pt x="2426" y="1755"/>
                  </a:lnTo>
                  <a:lnTo>
                    <a:pt x="2401" y="1810"/>
                  </a:lnTo>
                  <a:lnTo>
                    <a:pt x="2374" y="1865"/>
                  </a:lnTo>
                  <a:lnTo>
                    <a:pt x="2343" y="1919"/>
                  </a:lnTo>
                  <a:lnTo>
                    <a:pt x="2310" y="1969"/>
                  </a:lnTo>
                  <a:lnTo>
                    <a:pt x="2275" y="2019"/>
                  </a:lnTo>
                  <a:lnTo>
                    <a:pt x="2237" y="2067"/>
                  </a:lnTo>
                  <a:lnTo>
                    <a:pt x="2198" y="2113"/>
                  </a:lnTo>
                  <a:lnTo>
                    <a:pt x="2156" y="2157"/>
                  </a:lnTo>
                  <a:lnTo>
                    <a:pt x="2112" y="2199"/>
                  </a:lnTo>
                  <a:lnTo>
                    <a:pt x="2066" y="2239"/>
                  </a:lnTo>
                  <a:lnTo>
                    <a:pt x="2018" y="2277"/>
                  </a:lnTo>
                  <a:lnTo>
                    <a:pt x="1969" y="2312"/>
                  </a:lnTo>
                  <a:lnTo>
                    <a:pt x="1918" y="2344"/>
                  </a:lnTo>
                  <a:lnTo>
                    <a:pt x="1864" y="2375"/>
                  </a:lnTo>
                  <a:lnTo>
                    <a:pt x="1811" y="2403"/>
                  </a:lnTo>
                  <a:lnTo>
                    <a:pt x="1755" y="2428"/>
                  </a:lnTo>
                  <a:lnTo>
                    <a:pt x="1697" y="2452"/>
                  </a:lnTo>
                  <a:lnTo>
                    <a:pt x="1638" y="2472"/>
                  </a:lnTo>
                  <a:lnTo>
                    <a:pt x="1578" y="2488"/>
                  </a:lnTo>
                  <a:lnTo>
                    <a:pt x="1517" y="2502"/>
                  </a:lnTo>
                  <a:lnTo>
                    <a:pt x="1455" y="2514"/>
                  </a:lnTo>
                  <a:lnTo>
                    <a:pt x="1392" y="2521"/>
                  </a:lnTo>
                  <a:lnTo>
                    <a:pt x="1328" y="2526"/>
                  </a:lnTo>
                  <a:lnTo>
                    <a:pt x="1263" y="2528"/>
                  </a:lnTo>
                  <a:lnTo>
                    <a:pt x="1198" y="2526"/>
                  </a:lnTo>
                  <a:lnTo>
                    <a:pt x="1134" y="2521"/>
                  </a:lnTo>
                  <a:lnTo>
                    <a:pt x="1070" y="2514"/>
                  </a:lnTo>
                  <a:lnTo>
                    <a:pt x="1008" y="2502"/>
                  </a:lnTo>
                  <a:lnTo>
                    <a:pt x="947" y="2488"/>
                  </a:lnTo>
                  <a:lnTo>
                    <a:pt x="887" y="2472"/>
                  </a:lnTo>
                  <a:lnTo>
                    <a:pt x="829" y="2452"/>
                  </a:lnTo>
                  <a:lnTo>
                    <a:pt x="771" y="2428"/>
                  </a:lnTo>
                  <a:lnTo>
                    <a:pt x="715" y="2403"/>
                  </a:lnTo>
                  <a:lnTo>
                    <a:pt x="661" y="2375"/>
                  </a:lnTo>
                  <a:lnTo>
                    <a:pt x="608" y="2344"/>
                  </a:lnTo>
                  <a:lnTo>
                    <a:pt x="557" y="2312"/>
                  </a:lnTo>
                  <a:lnTo>
                    <a:pt x="507" y="2277"/>
                  </a:lnTo>
                  <a:lnTo>
                    <a:pt x="460" y="2239"/>
                  </a:lnTo>
                  <a:lnTo>
                    <a:pt x="413" y="2199"/>
                  </a:lnTo>
                  <a:lnTo>
                    <a:pt x="370" y="2157"/>
                  </a:lnTo>
                  <a:lnTo>
                    <a:pt x="328" y="2113"/>
                  </a:lnTo>
                  <a:lnTo>
                    <a:pt x="288" y="2067"/>
                  </a:lnTo>
                  <a:lnTo>
                    <a:pt x="251" y="2019"/>
                  </a:lnTo>
                  <a:lnTo>
                    <a:pt x="216" y="1969"/>
                  </a:lnTo>
                  <a:lnTo>
                    <a:pt x="183" y="1919"/>
                  </a:lnTo>
                  <a:lnTo>
                    <a:pt x="153" y="1865"/>
                  </a:lnTo>
                  <a:lnTo>
                    <a:pt x="124" y="1810"/>
                  </a:lnTo>
                  <a:lnTo>
                    <a:pt x="99" y="1755"/>
                  </a:lnTo>
                  <a:lnTo>
                    <a:pt x="77" y="1698"/>
                  </a:lnTo>
                  <a:lnTo>
                    <a:pt x="57" y="1639"/>
                  </a:lnTo>
                  <a:lnTo>
                    <a:pt x="40" y="1579"/>
                  </a:lnTo>
                  <a:lnTo>
                    <a:pt x="26" y="1518"/>
                  </a:lnTo>
                  <a:lnTo>
                    <a:pt x="15" y="1456"/>
                  </a:lnTo>
                  <a:lnTo>
                    <a:pt x="6" y="1391"/>
                  </a:lnTo>
                  <a:lnTo>
                    <a:pt x="2" y="1327"/>
                  </a:lnTo>
                  <a:lnTo>
                    <a:pt x="0" y="1263"/>
                  </a:lnTo>
                  <a:lnTo>
                    <a:pt x="2" y="1198"/>
                  </a:lnTo>
                  <a:lnTo>
                    <a:pt x="6" y="1133"/>
                  </a:lnTo>
                  <a:lnTo>
                    <a:pt x="15" y="1070"/>
                  </a:lnTo>
                  <a:lnTo>
                    <a:pt x="26" y="1008"/>
                  </a:lnTo>
                  <a:lnTo>
                    <a:pt x="40" y="947"/>
                  </a:lnTo>
                  <a:lnTo>
                    <a:pt x="57" y="887"/>
                  </a:lnTo>
                  <a:lnTo>
                    <a:pt x="77" y="828"/>
                  </a:lnTo>
                  <a:lnTo>
                    <a:pt x="99" y="770"/>
                  </a:lnTo>
                  <a:lnTo>
                    <a:pt x="124" y="714"/>
                  </a:lnTo>
                  <a:lnTo>
                    <a:pt x="153" y="661"/>
                  </a:lnTo>
                  <a:lnTo>
                    <a:pt x="183" y="607"/>
                  </a:lnTo>
                  <a:lnTo>
                    <a:pt x="216" y="557"/>
                  </a:lnTo>
                  <a:lnTo>
                    <a:pt x="251" y="507"/>
                  </a:lnTo>
                  <a:lnTo>
                    <a:pt x="288" y="459"/>
                  </a:lnTo>
                  <a:lnTo>
                    <a:pt x="328" y="413"/>
                  </a:lnTo>
                  <a:lnTo>
                    <a:pt x="370" y="369"/>
                  </a:lnTo>
                  <a:lnTo>
                    <a:pt x="413" y="327"/>
                  </a:lnTo>
                  <a:lnTo>
                    <a:pt x="460" y="288"/>
                  </a:lnTo>
                  <a:lnTo>
                    <a:pt x="507" y="250"/>
                  </a:lnTo>
                  <a:lnTo>
                    <a:pt x="557" y="214"/>
                  </a:lnTo>
                  <a:lnTo>
                    <a:pt x="608" y="182"/>
                  </a:lnTo>
                  <a:lnTo>
                    <a:pt x="661" y="151"/>
                  </a:lnTo>
                  <a:lnTo>
                    <a:pt x="715" y="124"/>
                  </a:lnTo>
                  <a:lnTo>
                    <a:pt x="771" y="99"/>
                  </a:lnTo>
                  <a:lnTo>
                    <a:pt x="829" y="75"/>
                  </a:lnTo>
                  <a:lnTo>
                    <a:pt x="887" y="55"/>
                  </a:lnTo>
                  <a:lnTo>
                    <a:pt x="947" y="39"/>
                  </a:lnTo>
                  <a:lnTo>
                    <a:pt x="1008" y="25"/>
                  </a:lnTo>
                  <a:lnTo>
                    <a:pt x="1071" y="13"/>
                  </a:lnTo>
                  <a:lnTo>
                    <a:pt x="1134" y="6"/>
                  </a:lnTo>
                  <a:lnTo>
                    <a:pt x="1198" y="1"/>
                  </a:lnTo>
                  <a:lnTo>
                    <a:pt x="1263" y="0"/>
                  </a:lnTo>
                  <a:lnTo>
                    <a:pt x="1328" y="1"/>
                  </a:lnTo>
                  <a:lnTo>
                    <a:pt x="1392" y="6"/>
                  </a:lnTo>
                  <a:lnTo>
                    <a:pt x="1455" y="13"/>
                  </a:lnTo>
                  <a:lnTo>
                    <a:pt x="1517" y="25"/>
                  </a:lnTo>
                  <a:lnTo>
                    <a:pt x="1578" y="39"/>
                  </a:lnTo>
                  <a:lnTo>
                    <a:pt x="1638" y="55"/>
                  </a:lnTo>
                  <a:lnTo>
                    <a:pt x="1697" y="75"/>
                  </a:lnTo>
                  <a:lnTo>
                    <a:pt x="1755" y="99"/>
                  </a:lnTo>
                  <a:lnTo>
                    <a:pt x="1811" y="124"/>
                  </a:lnTo>
                  <a:lnTo>
                    <a:pt x="1864" y="151"/>
                  </a:lnTo>
                  <a:lnTo>
                    <a:pt x="1918" y="182"/>
                  </a:lnTo>
                  <a:lnTo>
                    <a:pt x="1969" y="214"/>
                  </a:lnTo>
                  <a:lnTo>
                    <a:pt x="2018" y="250"/>
                  </a:lnTo>
                  <a:lnTo>
                    <a:pt x="2066" y="288"/>
                  </a:lnTo>
                  <a:lnTo>
                    <a:pt x="2112" y="327"/>
                  </a:lnTo>
                  <a:lnTo>
                    <a:pt x="2156" y="369"/>
                  </a:lnTo>
                  <a:lnTo>
                    <a:pt x="2198" y="413"/>
                  </a:lnTo>
                  <a:lnTo>
                    <a:pt x="2237" y="459"/>
                  </a:lnTo>
                  <a:lnTo>
                    <a:pt x="2275" y="507"/>
                  </a:lnTo>
                  <a:lnTo>
                    <a:pt x="2310" y="557"/>
                  </a:lnTo>
                  <a:lnTo>
                    <a:pt x="2343" y="607"/>
                  </a:lnTo>
                  <a:lnTo>
                    <a:pt x="2374" y="661"/>
                  </a:lnTo>
                  <a:lnTo>
                    <a:pt x="2401" y="714"/>
                  </a:lnTo>
                  <a:lnTo>
                    <a:pt x="2426" y="770"/>
                  </a:lnTo>
                  <a:lnTo>
                    <a:pt x="2449" y="828"/>
                  </a:lnTo>
                  <a:lnTo>
                    <a:pt x="2469" y="887"/>
                  </a:lnTo>
                  <a:lnTo>
                    <a:pt x="2486" y="947"/>
                  </a:lnTo>
                  <a:lnTo>
                    <a:pt x="2500" y="1008"/>
                  </a:lnTo>
                  <a:lnTo>
                    <a:pt x="2511" y="1070"/>
                  </a:lnTo>
                  <a:lnTo>
                    <a:pt x="2519" y="1133"/>
                  </a:lnTo>
                  <a:lnTo>
                    <a:pt x="2524" y="1198"/>
                  </a:lnTo>
                  <a:lnTo>
                    <a:pt x="2525" y="1263"/>
                  </a:lnTo>
                  <a:close/>
                  <a:moveTo>
                    <a:pt x="2467" y="1263"/>
                  </a:moveTo>
                  <a:lnTo>
                    <a:pt x="2465" y="1201"/>
                  </a:lnTo>
                  <a:lnTo>
                    <a:pt x="2461" y="1140"/>
                  </a:lnTo>
                  <a:lnTo>
                    <a:pt x="2454" y="1079"/>
                  </a:lnTo>
                  <a:lnTo>
                    <a:pt x="2443" y="1020"/>
                  </a:lnTo>
                  <a:lnTo>
                    <a:pt x="2429" y="962"/>
                  </a:lnTo>
                  <a:lnTo>
                    <a:pt x="2413" y="904"/>
                  </a:lnTo>
                  <a:lnTo>
                    <a:pt x="2394" y="848"/>
                  </a:lnTo>
                  <a:lnTo>
                    <a:pt x="2373" y="793"/>
                  </a:lnTo>
                  <a:lnTo>
                    <a:pt x="2348" y="740"/>
                  </a:lnTo>
                  <a:lnTo>
                    <a:pt x="2322" y="688"/>
                  </a:lnTo>
                  <a:lnTo>
                    <a:pt x="2293" y="638"/>
                  </a:lnTo>
                  <a:lnTo>
                    <a:pt x="2261" y="589"/>
                  </a:lnTo>
                  <a:lnTo>
                    <a:pt x="2228" y="542"/>
                  </a:lnTo>
                  <a:lnTo>
                    <a:pt x="2193" y="497"/>
                  </a:lnTo>
                  <a:lnTo>
                    <a:pt x="2155" y="452"/>
                  </a:lnTo>
                  <a:lnTo>
                    <a:pt x="2115" y="410"/>
                  </a:lnTo>
                  <a:lnTo>
                    <a:pt x="2073" y="370"/>
                  </a:lnTo>
                  <a:lnTo>
                    <a:pt x="2028" y="332"/>
                  </a:lnTo>
                  <a:lnTo>
                    <a:pt x="1983" y="296"/>
                  </a:lnTo>
                  <a:lnTo>
                    <a:pt x="1936" y="264"/>
                  </a:lnTo>
                  <a:lnTo>
                    <a:pt x="1888" y="232"/>
                  </a:lnTo>
                  <a:lnTo>
                    <a:pt x="1837" y="203"/>
                  </a:lnTo>
                  <a:lnTo>
                    <a:pt x="1785" y="176"/>
                  </a:lnTo>
                  <a:lnTo>
                    <a:pt x="1732" y="152"/>
                  </a:lnTo>
                  <a:lnTo>
                    <a:pt x="1677" y="131"/>
                  </a:lnTo>
                  <a:lnTo>
                    <a:pt x="1621" y="112"/>
                  </a:lnTo>
                  <a:lnTo>
                    <a:pt x="1563" y="95"/>
                  </a:lnTo>
                  <a:lnTo>
                    <a:pt x="1506" y="82"/>
                  </a:lnTo>
                  <a:lnTo>
                    <a:pt x="1447" y="71"/>
                  </a:lnTo>
                  <a:lnTo>
                    <a:pt x="1386" y="64"/>
                  </a:lnTo>
                  <a:lnTo>
                    <a:pt x="1325" y="60"/>
                  </a:lnTo>
                  <a:lnTo>
                    <a:pt x="1263" y="58"/>
                  </a:lnTo>
                  <a:lnTo>
                    <a:pt x="1200" y="60"/>
                  </a:lnTo>
                  <a:lnTo>
                    <a:pt x="1139" y="64"/>
                  </a:lnTo>
                  <a:lnTo>
                    <a:pt x="1079" y="71"/>
                  </a:lnTo>
                  <a:lnTo>
                    <a:pt x="1021" y="82"/>
                  </a:lnTo>
                  <a:lnTo>
                    <a:pt x="962" y="95"/>
                  </a:lnTo>
                  <a:lnTo>
                    <a:pt x="905" y="112"/>
                  </a:lnTo>
                  <a:lnTo>
                    <a:pt x="849" y="131"/>
                  </a:lnTo>
                  <a:lnTo>
                    <a:pt x="794" y="152"/>
                  </a:lnTo>
                  <a:lnTo>
                    <a:pt x="741" y="176"/>
                  </a:lnTo>
                  <a:lnTo>
                    <a:pt x="689" y="203"/>
                  </a:lnTo>
                  <a:lnTo>
                    <a:pt x="639" y="232"/>
                  </a:lnTo>
                  <a:lnTo>
                    <a:pt x="589" y="264"/>
                  </a:lnTo>
                  <a:lnTo>
                    <a:pt x="542" y="296"/>
                  </a:lnTo>
                  <a:lnTo>
                    <a:pt x="497" y="332"/>
                  </a:lnTo>
                  <a:lnTo>
                    <a:pt x="453" y="370"/>
                  </a:lnTo>
                  <a:lnTo>
                    <a:pt x="411" y="410"/>
                  </a:lnTo>
                  <a:lnTo>
                    <a:pt x="371" y="452"/>
                  </a:lnTo>
                  <a:lnTo>
                    <a:pt x="333" y="497"/>
                  </a:lnTo>
                  <a:lnTo>
                    <a:pt x="298" y="542"/>
                  </a:lnTo>
                  <a:lnTo>
                    <a:pt x="264" y="589"/>
                  </a:lnTo>
                  <a:lnTo>
                    <a:pt x="232" y="638"/>
                  </a:lnTo>
                  <a:lnTo>
                    <a:pt x="204" y="688"/>
                  </a:lnTo>
                  <a:lnTo>
                    <a:pt x="178" y="740"/>
                  </a:lnTo>
                  <a:lnTo>
                    <a:pt x="154" y="793"/>
                  </a:lnTo>
                  <a:lnTo>
                    <a:pt x="131" y="848"/>
                  </a:lnTo>
                  <a:lnTo>
                    <a:pt x="113" y="904"/>
                  </a:lnTo>
                  <a:lnTo>
                    <a:pt x="97" y="962"/>
                  </a:lnTo>
                  <a:lnTo>
                    <a:pt x="83" y="1020"/>
                  </a:lnTo>
                  <a:lnTo>
                    <a:pt x="73" y="1079"/>
                  </a:lnTo>
                  <a:lnTo>
                    <a:pt x="65" y="1140"/>
                  </a:lnTo>
                  <a:lnTo>
                    <a:pt x="60" y="1201"/>
                  </a:lnTo>
                  <a:lnTo>
                    <a:pt x="59" y="1263"/>
                  </a:lnTo>
                  <a:lnTo>
                    <a:pt x="60" y="1325"/>
                  </a:lnTo>
                  <a:lnTo>
                    <a:pt x="65" y="1386"/>
                  </a:lnTo>
                  <a:lnTo>
                    <a:pt x="73" y="1446"/>
                  </a:lnTo>
                  <a:lnTo>
                    <a:pt x="83" y="1505"/>
                  </a:lnTo>
                  <a:lnTo>
                    <a:pt x="97" y="1564"/>
                  </a:lnTo>
                  <a:lnTo>
                    <a:pt x="113" y="1621"/>
                  </a:lnTo>
                  <a:lnTo>
                    <a:pt x="131" y="1678"/>
                  </a:lnTo>
                  <a:lnTo>
                    <a:pt x="154" y="1732"/>
                  </a:lnTo>
                  <a:lnTo>
                    <a:pt x="178" y="1785"/>
                  </a:lnTo>
                  <a:lnTo>
                    <a:pt x="204" y="1838"/>
                  </a:lnTo>
                  <a:lnTo>
                    <a:pt x="232" y="1888"/>
                  </a:lnTo>
                  <a:lnTo>
                    <a:pt x="264" y="1937"/>
                  </a:lnTo>
                  <a:lnTo>
                    <a:pt x="298" y="1984"/>
                  </a:lnTo>
                  <a:lnTo>
                    <a:pt x="333" y="2030"/>
                  </a:lnTo>
                  <a:lnTo>
                    <a:pt x="371" y="2074"/>
                  </a:lnTo>
                  <a:lnTo>
                    <a:pt x="411" y="2116"/>
                  </a:lnTo>
                  <a:lnTo>
                    <a:pt x="453" y="2156"/>
                  </a:lnTo>
                  <a:lnTo>
                    <a:pt x="497" y="2194"/>
                  </a:lnTo>
                  <a:lnTo>
                    <a:pt x="542" y="2229"/>
                  </a:lnTo>
                  <a:lnTo>
                    <a:pt x="589" y="2263"/>
                  </a:lnTo>
                  <a:lnTo>
                    <a:pt x="639" y="2295"/>
                  </a:lnTo>
                  <a:lnTo>
                    <a:pt x="689" y="2324"/>
                  </a:lnTo>
                  <a:lnTo>
                    <a:pt x="741" y="2350"/>
                  </a:lnTo>
                  <a:lnTo>
                    <a:pt x="794" y="2375"/>
                  </a:lnTo>
                  <a:lnTo>
                    <a:pt x="849" y="2396"/>
                  </a:lnTo>
                  <a:lnTo>
                    <a:pt x="905" y="2416"/>
                  </a:lnTo>
                  <a:lnTo>
                    <a:pt x="962" y="2432"/>
                  </a:lnTo>
                  <a:lnTo>
                    <a:pt x="1021" y="2445"/>
                  </a:lnTo>
                  <a:lnTo>
                    <a:pt x="1079" y="2456"/>
                  </a:lnTo>
                  <a:lnTo>
                    <a:pt x="1139" y="2463"/>
                  </a:lnTo>
                  <a:lnTo>
                    <a:pt x="1200" y="2468"/>
                  </a:lnTo>
                  <a:lnTo>
                    <a:pt x="1263" y="2469"/>
                  </a:lnTo>
                  <a:lnTo>
                    <a:pt x="1325" y="2468"/>
                  </a:lnTo>
                  <a:lnTo>
                    <a:pt x="1386" y="2463"/>
                  </a:lnTo>
                  <a:lnTo>
                    <a:pt x="1447" y="2456"/>
                  </a:lnTo>
                  <a:lnTo>
                    <a:pt x="1506" y="2445"/>
                  </a:lnTo>
                  <a:lnTo>
                    <a:pt x="1563" y="2432"/>
                  </a:lnTo>
                  <a:lnTo>
                    <a:pt x="1621" y="2416"/>
                  </a:lnTo>
                  <a:lnTo>
                    <a:pt x="1677" y="2396"/>
                  </a:lnTo>
                  <a:lnTo>
                    <a:pt x="1732" y="2375"/>
                  </a:lnTo>
                  <a:lnTo>
                    <a:pt x="1785" y="2350"/>
                  </a:lnTo>
                  <a:lnTo>
                    <a:pt x="1837" y="2324"/>
                  </a:lnTo>
                  <a:lnTo>
                    <a:pt x="1888" y="2295"/>
                  </a:lnTo>
                  <a:lnTo>
                    <a:pt x="1936" y="2263"/>
                  </a:lnTo>
                  <a:lnTo>
                    <a:pt x="1983" y="2229"/>
                  </a:lnTo>
                  <a:lnTo>
                    <a:pt x="2028" y="2194"/>
                  </a:lnTo>
                  <a:lnTo>
                    <a:pt x="2073" y="2156"/>
                  </a:lnTo>
                  <a:lnTo>
                    <a:pt x="2115" y="2116"/>
                  </a:lnTo>
                  <a:lnTo>
                    <a:pt x="2155" y="2074"/>
                  </a:lnTo>
                  <a:lnTo>
                    <a:pt x="2193" y="2030"/>
                  </a:lnTo>
                  <a:lnTo>
                    <a:pt x="2228" y="1984"/>
                  </a:lnTo>
                  <a:lnTo>
                    <a:pt x="2261" y="1937"/>
                  </a:lnTo>
                  <a:lnTo>
                    <a:pt x="2293" y="1888"/>
                  </a:lnTo>
                  <a:lnTo>
                    <a:pt x="2322" y="1838"/>
                  </a:lnTo>
                  <a:lnTo>
                    <a:pt x="2348" y="1785"/>
                  </a:lnTo>
                  <a:lnTo>
                    <a:pt x="2373" y="1732"/>
                  </a:lnTo>
                  <a:lnTo>
                    <a:pt x="2394" y="1678"/>
                  </a:lnTo>
                  <a:lnTo>
                    <a:pt x="2413" y="1621"/>
                  </a:lnTo>
                  <a:lnTo>
                    <a:pt x="2429" y="1564"/>
                  </a:lnTo>
                  <a:lnTo>
                    <a:pt x="2443" y="1505"/>
                  </a:lnTo>
                  <a:lnTo>
                    <a:pt x="2454" y="1446"/>
                  </a:lnTo>
                  <a:lnTo>
                    <a:pt x="2461" y="1386"/>
                  </a:lnTo>
                  <a:lnTo>
                    <a:pt x="2465" y="1325"/>
                  </a:lnTo>
                  <a:lnTo>
                    <a:pt x="2467" y="1263"/>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27" name="Freeform 38"/>
            <p:cNvSpPr>
              <a:spLocks/>
            </p:cNvSpPr>
            <p:nvPr/>
          </p:nvSpPr>
          <p:spPr bwMode="auto">
            <a:xfrm>
              <a:off x="325" y="469"/>
              <a:ext cx="152" cy="38"/>
            </a:xfrm>
            <a:custGeom>
              <a:avLst/>
              <a:gdLst/>
              <a:ahLst/>
              <a:cxnLst>
                <a:cxn ang="0">
                  <a:pos x="2564" y="593"/>
                </a:cxn>
                <a:cxn ang="0">
                  <a:pos x="2484" y="513"/>
                </a:cxn>
                <a:cxn ang="0">
                  <a:pos x="2399" y="436"/>
                </a:cxn>
                <a:cxn ang="0">
                  <a:pos x="2294" y="349"/>
                </a:cxn>
                <a:cxn ang="0">
                  <a:pos x="2171" y="263"/>
                </a:cxn>
                <a:cxn ang="0">
                  <a:pos x="2035" y="183"/>
                </a:cxn>
                <a:cxn ang="0">
                  <a:pos x="1927" y="134"/>
                </a:cxn>
                <a:cxn ang="0">
                  <a:pos x="1852" y="107"/>
                </a:cxn>
                <a:cxn ang="0">
                  <a:pos x="1686" y="63"/>
                </a:cxn>
                <a:cxn ang="0">
                  <a:pos x="1520" y="26"/>
                </a:cxn>
                <a:cxn ang="0">
                  <a:pos x="1421" y="9"/>
                </a:cxn>
                <a:cxn ang="0">
                  <a:pos x="1326" y="1"/>
                </a:cxn>
                <a:cxn ang="0">
                  <a:pos x="1230" y="0"/>
                </a:cxn>
                <a:cxn ang="0">
                  <a:pos x="1129" y="8"/>
                </a:cxn>
                <a:cxn ang="0">
                  <a:pos x="1019" y="24"/>
                </a:cxn>
                <a:cxn ang="0">
                  <a:pos x="836" y="64"/>
                </a:cxn>
                <a:cxn ang="0">
                  <a:pos x="596" y="119"/>
                </a:cxn>
                <a:cxn ang="0">
                  <a:pos x="479" y="140"/>
                </a:cxn>
                <a:cxn ang="0">
                  <a:pos x="364" y="154"/>
                </a:cxn>
                <a:cxn ang="0">
                  <a:pos x="252" y="156"/>
                </a:cxn>
                <a:cxn ang="0">
                  <a:pos x="141" y="143"/>
                </a:cxn>
                <a:cxn ang="0">
                  <a:pos x="32" y="114"/>
                </a:cxn>
                <a:cxn ang="0">
                  <a:pos x="8" y="109"/>
                </a:cxn>
                <a:cxn ang="0">
                  <a:pos x="0" y="115"/>
                </a:cxn>
                <a:cxn ang="0">
                  <a:pos x="4" y="126"/>
                </a:cxn>
                <a:cxn ang="0">
                  <a:pos x="31" y="158"/>
                </a:cxn>
                <a:cxn ang="0">
                  <a:pos x="86" y="212"/>
                </a:cxn>
                <a:cxn ang="0">
                  <a:pos x="149" y="257"/>
                </a:cxn>
                <a:cxn ang="0">
                  <a:pos x="230" y="289"/>
                </a:cxn>
                <a:cxn ang="0">
                  <a:pos x="338" y="322"/>
                </a:cxn>
                <a:cxn ang="0">
                  <a:pos x="464" y="349"/>
                </a:cxn>
                <a:cxn ang="0">
                  <a:pos x="594" y="369"/>
                </a:cxn>
                <a:cxn ang="0">
                  <a:pos x="706" y="378"/>
                </a:cxn>
                <a:cxn ang="0">
                  <a:pos x="822" y="368"/>
                </a:cxn>
                <a:cxn ang="0">
                  <a:pos x="966" y="336"/>
                </a:cxn>
                <a:cxn ang="0">
                  <a:pos x="1147" y="279"/>
                </a:cxn>
                <a:cxn ang="0">
                  <a:pos x="1300" y="222"/>
                </a:cxn>
                <a:cxn ang="0">
                  <a:pos x="1404" y="187"/>
                </a:cxn>
                <a:cxn ang="0">
                  <a:pos x="1474" y="169"/>
                </a:cxn>
                <a:cxn ang="0">
                  <a:pos x="1549" y="157"/>
                </a:cxn>
                <a:cxn ang="0">
                  <a:pos x="1633" y="149"/>
                </a:cxn>
                <a:cxn ang="0">
                  <a:pos x="1728" y="149"/>
                </a:cxn>
                <a:cxn ang="0">
                  <a:pos x="1812" y="158"/>
                </a:cxn>
                <a:cxn ang="0">
                  <a:pos x="1887" y="178"/>
                </a:cxn>
                <a:cxn ang="0">
                  <a:pos x="1959" y="211"/>
                </a:cxn>
                <a:cxn ang="0">
                  <a:pos x="2037" y="265"/>
                </a:cxn>
                <a:cxn ang="0">
                  <a:pos x="2127" y="340"/>
                </a:cxn>
                <a:cxn ang="0">
                  <a:pos x="2302" y="500"/>
                </a:cxn>
                <a:cxn ang="0">
                  <a:pos x="2548" y="620"/>
                </a:cxn>
              </a:cxnLst>
              <a:rect l="0" t="0" r="r" b="b"/>
              <a:pathLst>
                <a:path w="2580" h="645">
                  <a:moveTo>
                    <a:pt x="2580" y="610"/>
                  </a:moveTo>
                  <a:lnTo>
                    <a:pt x="2564" y="593"/>
                  </a:lnTo>
                  <a:lnTo>
                    <a:pt x="2517" y="545"/>
                  </a:lnTo>
                  <a:lnTo>
                    <a:pt x="2484" y="513"/>
                  </a:lnTo>
                  <a:lnTo>
                    <a:pt x="2445" y="476"/>
                  </a:lnTo>
                  <a:lnTo>
                    <a:pt x="2399" y="436"/>
                  </a:lnTo>
                  <a:lnTo>
                    <a:pt x="2349" y="394"/>
                  </a:lnTo>
                  <a:lnTo>
                    <a:pt x="2294" y="349"/>
                  </a:lnTo>
                  <a:lnTo>
                    <a:pt x="2234" y="306"/>
                  </a:lnTo>
                  <a:lnTo>
                    <a:pt x="2171" y="263"/>
                  </a:lnTo>
                  <a:lnTo>
                    <a:pt x="2105" y="222"/>
                  </a:lnTo>
                  <a:lnTo>
                    <a:pt x="2035" y="183"/>
                  </a:lnTo>
                  <a:lnTo>
                    <a:pt x="1964" y="149"/>
                  </a:lnTo>
                  <a:lnTo>
                    <a:pt x="1927" y="134"/>
                  </a:lnTo>
                  <a:lnTo>
                    <a:pt x="1890" y="120"/>
                  </a:lnTo>
                  <a:lnTo>
                    <a:pt x="1852" y="107"/>
                  </a:lnTo>
                  <a:lnTo>
                    <a:pt x="1814" y="97"/>
                  </a:lnTo>
                  <a:lnTo>
                    <a:pt x="1686" y="63"/>
                  </a:lnTo>
                  <a:lnTo>
                    <a:pt x="1572" y="37"/>
                  </a:lnTo>
                  <a:lnTo>
                    <a:pt x="1520" y="26"/>
                  </a:lnTo>
                  <a:lnTo>
                    <a:pt x="1469" y="17"/>
                  </a:lnTo>
                  <a:lnTo>
                    <a:pt x="1421" y="9"/>
                  </a:lnTo>
                  <a:lnTo>
                    <a:pt x="1373" y="4"/>
                  </a:lnTo>
                  <a:lnTo>
                    <a:pt x="1326" y="1"/>
                  </a:lnTo>
                  <a:lnTo>
                    <a:pt x="1279" y="0"/>
                  </a:lnTo>
                  <a:lnTo>
                    <a:pt x="1230" y="0"/>
                  </a:lnTo>
                  <a:lnTo>
                    <a:pt x="1181" y="3"/>
                  </a:lnTo>
                  <a:lnTo>
                    <a:pt x="1129" y="8"/>
                  </a:lnTo>
                  <a:lnTo>
                    <a:pt x="1076" y="15"/>
                  </a:lnTo>
                  <a:lnTo>
                    <a:pt x="1019" y="24"/>
                  </a:lnTo>
                  <a:lnTo>
                    <a:pt x="959" y="36"/>
                  </a:lnTo>
                  <a:lnTo>
                    <a:pt x="836" y="64"/>
                  </a:lnTo>
                  <a:lnTo>
                    <a:pt x="715" y="92"/>
                  </a:lnTo>
                  <a:lnTo>
                    <a:pt x="596" y="119"/>
                  </a:lnTo>
                  <a:lnTo>
                    <a:pt x="537" y="130"/>
                  </a:lnTo>
                  <a:lnTo>
                    <a:pt x="479" y="140"/>
                  </a:lnTo>
                  <a:lnTo>
                    <a:pt x="422" y="147"/>
                  </a:lnTo>
                  <a:lnTo>
                    <a:pt x="364" y="154"/>
                  </a:lnTo>
                  <a:lnTo>
                    <a:pt x="308" y="156"/>
                  </a:lnTo>
                  <a:lnTo>
                    <a:pt x="252" y="156"/>
                  </a:lnTo>
                  <a:lnTo>
                    <a:pt x="196" y="151"/>
                  </a:lnTo>
                  <a:lnTo>
                    <a:pt x="141" y="143"/>
                  </a:lnTo>
                  <a:lnTo>
                    <a:pt x="87" y="130"/>
                  </a:lnTo>
                  <a:lnTo>
                    <a:pt x="32" y="114"/>
                  </a:lnTo>
                  <a:lnTo>
                    <a:pt x="15" y="109"/>
                  </a:lnTo>
                  <a:lnTo>
                    <a:pt x="8" y="109"/>
                  </a:lnTo>
                  <a:lnTo>
                    <a:pt x="4" y="111"/>
                  </a:lnTo>
                  <a:lnTo>
                    <a:pt x="0" y="115"/>
                  </a:lnTo>
                  <a:lnTo>
                    <a:pt x="0" y="120"/>
                  </a:lnTo>
                  <a:lnTo>
                    <a:pt x="4" y="126"/>
                  </a:lnTo>
                  <a:lnTo>
                    <a:pt x="11" y="136"/>
                  </a:lnTo>
                  <a:lnTo>
                    <a:pt x="31" y="158"/>
                  </a:lnTo>
                  <a:lnTo>
                    <a:pt x="55" y="184"/>
                  </a:lnTo>
                  <a:lnTo>
                    <a:pt x="86" y="212"/>
                  </a:lnTo>
                  <a:lnTo>
                    <a:pt x="123" y="242"/>
                  </a:lnTo>
                  <a:lnTo>
                    <a:pt x="149" y="257"/>
                  </a:lnTo>
                  <a:lnTo>
                    <a:pt x="184" y="274"/>
                  </a:lnTo>
                  <a:lnTo>
                    <a:pt x="230" y="289"/>
                  </a:lnTo>
                  <a:lnTo>
                    <a:pt x="281" y="306"/>
                  </a:lnTo>
                  <a:lnTo>
                    <a:pt x="338" y="322"/>
                  </a:lnTo>
                  <a:lnTo>
                    <a:pt x="400" y="337"/>
                  </a:lnTo>
                  <a:lnTo>
                    <a:pt x="464" y="349"/>
                  </a:lnTo>
                  <a:lnTo>
                    <a:pt x="531" y="361"/>
                  </a:lnTo>
                  <a:lnTo>
                    <a:pt x="594" y="369"/>
                  </a:lnTo>
                  <a:lnTo>
                    <a:pt x="651" y="376"/>
                  </a:lnTo>
                  <a:lnTo>
                    <a:pt x="706" y="378"/>
                  </a:lnTo>
                  <a:lnTo>
                    <a:pt x="762" y="376"/>
                  </a:lnTo>
                  <a:lnTo>
                    <a:pt x="822" y="368"/>
                  </a:lnTo>
                  <a:lnTo>
                    <a:pt x="889" y="356"/>
                  </a:lnTo>
                  <a:lnTo>
                    <a:pt x="966" y="336"/>
                  </a:lnTo>
                  <a:lnTo>
                    <a:pt x="1057" y="309"/>
                  </a:lnTo>
                  <a:lnTo>
                    <a:pt x="1147" y="279"/>
                  </a:lnTo>
                  <a:lnTo>
                    <a:pt x="1227" y="249"/>
                  </a:lnTo>
                  <a:lnTo>
                    <a:pt x="1300" y="222"/>
                  </a:lnTo>
                  <a:lnTo>
                    <a:pt x="1369" y="198"/>
                  </a:lnTo>
                  <a:lnTo>
                    <a:pt x="1404" y="187"/>
                  </a:lnTo>
                  <a:lnTo>
                    <a:pt x="1439" y="178"/>
                  </a:lnTo>
                  <a:lnTo>
                    <a:pt x="1474" y="169"/>
                  </a:lnTo>
                  <a:lnTo>
                    <a:pt x="1511" y="162"/>
                  </a:lnTo>
                  <a:lnTo>
                    <a:pt x="1549" y="157"/>
                  </a:lnTo>
                  <a:lnTo>
                    <a:pt x="1590" y="152"/>
                  </a:lnTo>
                  <a:lnTo>
                    <a:pt x="1633" y="149"/>
                  </a:lnTo>
                  <a:lnTo>
                    <a:pt x="1680" y="148"/>
                  </a:lnTo>
                  <a:lnTo>
                    <a:pt x="1728" y="149"/>
                  </a:lnTo>
                  <a:lnTo>
                    <a:pt x="1772" y="152"/>
                  </a:lnTo>
                  <a:lnTo>
                    <a:pt x="1812" y="158"/>
                  </a:lnTo>
                  <a:lnTo>
                    <a:pt x="1851" y="166"/>
                  </a:lnTo>
                  <a:lnTo>
                    <a:pt x="1887" y="178"/>
                  </a:lnTo>
                  <a:lnTo>
                    <a:pt x="1923" y="192"/>
                  </a:lnTo>
                  <a:lnTo>
                    <a:pt x="1959" y="211"/>
                  </a:lnTo>
                  <a:lnTo>
                    <a:pt x="1997" y="236"/>
                  </a:lnTo>
                  <a:lnTo>
                    <a:pt x="2037" y="265"/>
                  </a:lnTo>
                  <a:lnTo>
                    <a:pt x="2079" y="299"/>
                  </a:lnTo>
                  <a:lnTo>
                    <a:pt x="2127" y="340"/>
                  </a:lnTo>
                  <a:lnTo>
                    <a:pt x="2179" y="386"/>
                  </a:lnTo>
                  <a:lnTo>
                    <a:pt x="2302" y="500"/>
                  </a:lnTo>
                  <a:lnTo>
                    <a:pt x="2457" y="645"/>
                  </a:lnTo>
                  <a:lnTo>
                    <a:pt x="2548" y="620"/>
                  </a:lnTo>
                  <a:lnTo>
                    <a:pt x="2580" y="61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28" name="Freeform 39"/>
            <p:cNvSpPr>
              <a:spLocks/>
            </p:cNvSpPr>
            <p:nvPr/>
          </p:nvSpPr>
          <p:spPr bwMode="auto">
            <a:xfrm>
              <a:off x="291" y="422"/>
              <a:ext cx="81" cy="51"/>
            </a:xfrm>
            <a:custGeom>
              <a:avLst/>
              <a:gdLst/>
              <a:ahLst/>
              <a:cxnLst>
                <a:cxn ang="0">
                  <a:pos x="1245" y="798"/>
                </a:cxn>
                <a:cxn ang="0">
                  <a:pos x="1115" y="824"/>
                </a:cxn>
                <a:cxn ang="0">
                  <a:pos x="1005" y="854"/>
                </a:cxn>
                <a:cxn ang="0">
                  <a:pos x="932" y="865"/>
                </a:cxn>
                <a:cxn ang="0">
                  <a:pos x="857" y="867"/>
                </a:cxn>
                <a:cxn ang="0">
                  <a:pos x="726" y="857"/>
                </a:cxn>
                <a:cxn ang="0">
                  <a:pos x="571" y="833"/>
                </a:cxn>
                <a:cxn ang="0">
                  <a:pos x="490" y="810"/>
                </a:cxn>
                <a:cxn ang="0">
                  <a:pos x="436" y="787"/>
                </a:cxn>
                <a:cxn ang="0">
                  <a:pos x="382" y="756"/>
                </a:cxn>
                <a:cxn ang="0">
                  <a:pos x="331" y="716"/>
                </a:cxn>
                <a:cxn ang="0">
                  <a:pos x="256" y="640"/>
                </a:cxn>
                <a:cxn ang="0">
                  <a:pos x="159" y="530"/>
                </a:cxn>
                <a:cxn ang="0">
                  <a:pos x="45" y="390"/>
                </a:cxn>
                <a:cxn ang="0">
                  <a:pos x="4" y="332"/>
                </a:cxn>
                <a:cxn ang="0">
                  <a:pos x="0" y="317"/>
                </a:cxn>
                <a:cxn ang="0">
                  <a:pos x="6" y="314"/>
                </a:cxn>
                <a:cxn ang="0">
                  <a:pos x="21" y="321"/>
                </a:cxn>
                <a:cxn ang="0">
                  <a:pos x="46" y="344"/>
                </a:cxn>
                <a:cxn ang="0">
                  <a:pos x="98" y="384"/>
                </a:cxn>
                <a:cxn ang="0">
                  <a:pos x="183" y="432"/>
                </a:cxn>
                <a:cxn ang="0">
                  <a:pos x="240" y="456"/>
                </a:cxn>
                <a:cxn ang="0">
                  <a:pos x="306" y="477"/>
                </a:cxn>
                <a:cxn ang="0">
                  <a:pos x="384" y="495"/>
                </a:cxn>
                <a:cxn ang="0">
                  <a:pos x="534" y="526"/>
                </a:cxn>
                <a:cxn ang="0">
                  <a:pos x="660" y="563"/>
                </a:cxn>
                <a:cxn ang="0">
                  <a:pos x="780" y="611"/>
                </a:cxn>
                <a:cxn ang="0">
                  <a:pos x="910" y="676"/>
                </a:cxn>
                <a:cxn ang="0">
                  <a:pos x="982" y="710"/>
                </a:cxn>
                <a:cxn ang="0">
                  <a:pos x="1060" y="736"/>
                </a:cxn>
                <a:cxn ang="0">
                  <a:pos x="1144" y="751"/>
                </a:cxn>
                <a:cxn ang="0">
                  <a:pos x="1232" y="749"/>
                </a:cxn>
                <a:cxn ang="0">
                  <a:pos x="1160" y="711"/>
                </a:cxn>
                <a:cxn ang="0">
                  <a:pos x="1063" y="667"/>
                </a:cxn>
                <a:cxn ang="0">
                  <a:pos x="1011" y="637"/>
                </a:cxn>
                <a:cxn ang="0">
                  <a:pos x="952" y="596"/>
                </a:cxn>
                <a:cxn ang="0">
                  <a:pos x="897" y="547"/>
                </a:cxn>
                <a:cxn ang="0">
                  <a:pos x="844" y="490"/>
                </a:cxn>
                <a:cxn ang="0">
                  <a:pos x="796" y="420"/>
                </a:cxn>
                <a:cxn ang="0">
                  <a:pos x="755" y="341"/>
                </a:cxn>
                <a:cxn ang="0">
                  <a:pos x="726" y="263"/>
                </a:cxn>
                <a:cxn ang="0">
                  <a:pos x="707" y="195"/>
                </a:cxn>
                <a:cxn ang="0">
                  <a:pos x="699" y="144"/>
                </a:cxn>
                <a:cxn ang="0">
                  <a:pos x="697" y="78"/>
                </a:cxn>
                <a:cxn ang="0">
                  <a:pos x="695" y="42"/>
                </a:cxn>
                <a:cxn ang="0">
                  <a:pos x="686" y="15"/>
                </a:cxn>
                <a:cxn ang="0">
                  <a:pos x="687" y="3"/>
                </a:cxn>
                <a:cxn ang="0">
                  <a:pos x="696" y="1"/>
                </a:cxn>
                <a:cxn ang="0">
                  <a:pos x="709" y="14"/>
                </a:cxn>
                <a:cxn ang="0">
                  <a:pos x="773" y="85"/>
                </a:cxn>
                <a:cxn ang="0">
                  <a:pos x="849" y="158"/>
                </a:cxn>
                <a:cxn ang="0">
                  <a:pos x="936" y="231"/>
                </a:cxn>
                <a:cxn ang="0">
                  <a:pos x="991" y="285"/>
                </a:cxn>
                <a:cxn ang="0">
                  <a:pos x="1044" y="351"/>
                </a:cxn>
                <a:cxn ang="0">
                  <a:pos x="1093" y="433"/>
                </a:cxn>
                <a:cxn ang="0">
                  <a:pos x="1148" y="550"/>
                </a:cxn>
                <a:cxn ang="0">
                  <a:pos x="1183" y="611"/>
                </a:cxn>
                <a:cxn ang="0">
                  <a:pos x="1234" y="670"/>
                </a:cxn>
                <a:cxn ang="0">
                  <a:pos x="1335" y="750"/>
                </a:cxn>
                <a:cxn ang="0">
                  <a:pos x="1369" y="779"/>
                </a:cxn>
                <a:cxn ang="0">
                  <a:pos x="1374" y="790"/>
                </a:cxn>
                <a:cxn ang="0">
                  <a:pos x="1362" y="794"/>
                </a:cxn>
                <a:cxn ang="0">
                  <a:pos x="1287" y="795"/>
                </a:cxn>
              </a:cxnLst>
              <a:rect l="0" t="0" r="r" b="b"/>
              <a:pathLst>
                <a:path w="1374" h="867">
                  <a:moveTo>
                    <a:pt x="1287" y="795"/>
                  </a:moveTo>
                  <a:lnTo>
                    <a:pt x="1245" y="798"/>
                  </a:lnTo>
                  <a:lnTo>
                    <a:pt x="1186" y="809"/>
                  </a:lnTo>
                  <a:lnTo>
                    <a:pt x="1115" y="824"/>
                  </a:lnTo>
                  <a:lnTo>
                    <a:pt x="1042" y="844"/>
                  </a:lnTo>
                  <a:lnTo>
                    <a:pt x="1005" y="854"/>
                  </a:lnTo>
                  <a:lnTo>
                    <a:pt x="969" y="861"/>
                  </a:lnTo>
                  <a:lnTo>
                    <a:pt x="932" y="865"/>
                  </a:lnTo>
                  <a:lnTo>
                    <a:pt x="894" y="867"/>
                  </a:lnTo>
                  <a:lnTo>
                    <a:pt x="857" y="867"/>
                  </a:lnTo>
                  <a:lnTo>
                    <a:pt x="816" y="865"/>
                  </a:lnTo>
                  <a:lnTo>
                    <a:pt x="726" y="857"/>
                  </a:lnTo>
                  <a:lnTo>
                    <a:pt x="625" y="843"/>
                  </a:lnTo>
                  <a:lnTo>
                    <a:pt x="571" y="833"/>
                  </a:lnTo>
                  <a:lnTo>
                    <a:pt x="517" y="819"/>
                  </a:lnTo>
                  <a:lnTo>
                    <a:pt x="490" y="810"/>
                  </a:lnTo>
                  <a:lnTo>
                    <a:pt x="463" y="799"/>
                  </a:lnTo>
                  <a:lnTo>
                    <a:pt x="436" y="787"/>
                  </a:lnTo>
                  <a:lnTo>
                    <a:pt x="409" y="773"/>
                  </a:lnTo>
                  <a:lnTo>
                    <a:pt x="382" y="756"/>
                  </a:lnTo>
                  <a:lnTo>
                    <a:pt x="357" y="738"/>
                  </a:lnTo>
                  <a:lnTo>
                    <a:pt x="331" y="716"/>
                  </a:lnTo>
                  <a:lnTo>
                    <a:pt x="306" y="693"/>
                  </a:lnTo>
                  <a:lnTo>
                    <a:pt x="256" y="640"/>
                  </a:lnTo>
                  <a:lnTo>
                    <a:pt x="206" y="584"/>
                  </a:lnTo>
                  <a:lnTo>
                    <a:pt x="159" y="530"/>
                  </a:lnTo>
                  <a:lnTo>
                    <a:pt x="116" y="477"/>
                  </a:lnTo>
                  <a:lnTo>
                    <a:pt x="45" y="390"/>
                  </a:lnTo>
                  <a:lnTo>
                    <a:pt x="10" y="341"/>
                  </a:lnTo>
                  <a:lnTo>
                    <a:pt x="4" y="332"/>
                  </a:lnTo>
                  <a:lnTo>
                    <a:pt x="1" y="323"/>
                  </a:lnTo>
                  <a:lnTo>
                    <a:pt x="0" y="317"/>
                  </a:lnTo>
                  <a:lnTo>
                    <a:pt x="2" y="314"/>
                  </a:lnTo>
                  <a:lnTo>
                    <a:pt x="6" y="314"/>
                  </a:lnTo>
                  <a:lnTo>
                    <a:pt x="13" y="316"/>
                  </a:lnTo>
                  <a:lnTo>
                    <a:pt x="21" y="321"/>
                  </a:lnTo>
                  <a:lnTo>
                    <a:pt x="32" y="331"/>
                  </a:lnTo>
                  <a:lnTo>
                    <a:pt x="46" y="344"/>
                  </a:lnTo>
                  <a:lnTo>
                    <a:pt x="69" y="362"/>
                  </a:lnTo>
                  <a:lnTo>
                    <a:pt x="98" y="384"/>
                  </a:lnTo>
                  <a:lnTo>
                    <a:pt x="136" y="407"/>
                  </a:lnTo>
                  <a:lnTo>
                    <a:pt x="183" y="432"/>
                  </a:lnTo>
                  <a:lnTo>
                    <a:pt x="211" y="444"/>
                  </a:lnTo>
                  <a:lnTo>
                    <a:pt x="240" y="456"/>
                  </a:lnTo>
                  <a:lnTo>
                    <a:pt x="272" y="466"/>
                  </a:lnTo>
                  <a:lnTo>
                    <a:pt x="306" y="477"/>
                  </a:lnTo>
                  <a:lnTo>
                    <a:pt x="344" y="486"/>
                  </a:lnTo>
                  <a:lnTo>
                    <a:pt x="384" y="495"/>
                  </a:lnTo>
                  <a:lnTo>
                    <a:pt x="463" y="511"/>
                  </a:lnTo>
                  <a:lnTo>
                    <a:pt x="534" y="526"/>
                  </a:lnTo>
                  <a:lnTo>
                    <a:pt x="599" y="543"/>
                  </a:lnTo>
                  <a:lnTo>
                    <a:pt x="660" y="563"/>
                  </a:lnTo>
                  <a:lnTo>
                    <a:pt x="719" y="584"/>
                  </a:lnTo>
                  <a:lnTo>
                    <a:pt x="780" y="611"/>
                  </a:lnTo>
                  <a:lnTo>
                    <a:pt x="843" y="640"/>
                  </a:lnTo>
                  <a:lnTo>
                    <a:pt x="910" y="676"/>
                  </a:lnTo>
                  <a:lnTo>
                    <a:pt x="945" y="694"/>
                  </a:lnTo>
                  <a:lnTo>
                    <a:pt x="982" y="710"/>
                  </a:lnTo>
                  <a:lnTo>
                    <a:pt x="1020" y="724"/>
                  </a:lnTo>
                  <a:lnTo>
                    <a:pt x="1060" y="736"/>
                  </a:lnTo>
                  <a:lnTo>
                    <a:pt x="1102" y="745"/>
                  </a:lnTo>
                  <a:lnTo>
                    <a:pt x="1144" y="751"/>
                  </a:lnTo>
                  <a:lnTo>
                    <a:pt x="1188" y="752"/>
                  </a:lnTo>
                  <a:lnTo>
                    <a:pt x="1232" y="749"/>
                  </a:lnTo>
                  <a:lnTo>
                    <a:pt x="1192" y="726"/>
                  </a:lnTo>
                  <a:lnTo>
                    <a:pt x="1160" y="711"/>
                  </a:lnTo>
                  <a:lnTo>
                    <a:pt x="1108" y="687"/>
                  </a:lnTo>
                  <a:lnTo>
                    <a:pt x="1063" y="667"/>
                  </a:lnTo>
                  <a:lnTo>
                    <a:pt x="1039" y="654"/>
                  </a:lnTo>
                  <a:lnTo>
                    <a:pt x="1011" y="637"/>
                  </a:lnTo>
                  <a:lnTo>
                    <a:pt x="981" y="618"/>
                  </a:lnTo>
                  <a:lnTo>
                    <a:pt x="952" y="596"/>
                  </a:lnTo>
                  <a:lnTo>
                    <a:pt x="924" y="573"/>
                  </a:lnTo>
                  <a:lnTo>
                    <a:pt x="897" y="547"/>
                  </a:lnTo>
                  <a:lnTo>
                    <a:pt x="869" y="520"/>
                  </a:lnTo>
                  <a:lnTo>
                    <a:pt x="844" y="490"/>
                  </a:lnTo>
                  <a:lnTo>
                    <a:pt x="819" y="457"/>
                  </a:lnTo>
                  <a:lnTo>
                    <a:pt x="796" y="420"/>
                  </a:lnTo>
                  <a:lnTo>
                    <a:pt x="773" y="381"/>
                  </a:lnTo>
                  <a:lnTo>
                    <a:pt x="755" y="341"/>
                  </a:lnTo>
                  <a:lnTo>
                    <a:pt x="739" y="302"/>
                  </a:lnTo>
                  <a:lnTo>
                    <a:pt x="726" y="263"/>
                  </a:lnTo>
                  <a:lnTo>
                    <a:pt x="716" y="227"/>
                  </a:lnTo>
                  <a:lnTo>
                    <a:pt x="707" y="195"/>
                  </a:lnTo>
                  <a:lnTo>
                    <a:pt x="702" y="166"/>
                  </a:lnTo>
                  <a:lnTo>
                    <a:pt x="699" y="144"/>
                  </a:lnTo>
                  <a:lnTo>
                    <a:pt x="697" y="107"/>
                  </a:lnTo>
                  <a:lnTo>
                    <a:pt x="697" y="78"/>
                  </a:lnTo>
                  <a:lnTo>
                    <a:pt x="697" y="54"/>
                  </a:lnTo>
                  <a:lnTo>
                    <a:pt x="695" y="42"/>
                  </a:lnTo>
                  <a:lnTo>
                    <a:pt x="691" y="33"/>
                  </a:lnTo>
                  <a:lnTo>
                    <a:pt x="686" y="15"/>
                  </a:lnTo>
                  <a:lnTo>
                    <a:pt x="686" y="7"/>
                  </a:lnTo>
                  <a:lnTo>
                    <a:pt x="687" y="3"/>
                  </a:lnTo>
                  <a:lnTo>
                    <a:pt x="690" y="0"/>
                  </a:lnTo>
                  <a:lnTo>
                    <a:pt x="696" y="1"/>
                  </a:lnTo>
                  <a:lnTo>
                    <a:pt x="702" y="5"/>
                  </a:lnTo>
                  <a:lnTo>
                    <a:pt x="709" y="14"/>
                  </a:lnTo>
                  <a:lnTo>
                    <a:pt x="735" y="44"/>
                  </a:lnTo>
                  <a:lnTo>
                    <a:pt x="773" y="85"/>
                  </a:lnTo>
                  <a:lnTo>
                    <a:pt x="822" y="134"/>
                  </a:lnTo>
                  <a:lnTo>
                    <a:pt x="849" y="158"/>
                  </a:lnTo>
                  <a:lnTo>
                    <a:pt x="878" y="182"/>
                  </a:lnTo>
                  <a:lnTo>
                    <a:pt x="936" y="231"/>
                  </a:lnTo>
                  <a:lnTo>
                    <a:pt x="964" y="257"/>
                  </a:lnTo>
                  <a:lnTo>
                    <a:pt x="991" y="285"/>
                  </a:lnTo>
                  <a:lnTo>
                    <a:pt x="1019" y="316"/>
                  </a:lnTo>
                  <a:lnTo>
                    <a:pt x="1044" y="351"/>
                  </a:lnTo>
                  <a:lnTo>
                    <a:pt x="1069" y="388"/>
                  </a:lnTo>
                  <a:lnTo>
                    <a:pt x="1093" y="433"/>
                  </a:lnTo>
                  <a:lnTo>
                    <a:pt x="1132" y="515"/>
                  </a:lnTo>
                  <a:lnTo>
                    <a:pt x="1148" y="550"/>
                  </a:lnTo>
                  <a:lnTo>
                    <a:pt x="1165" y="581"/>
                  </a:lnTo>
                  <a:lnTo>
                    <a:pt x="1183" y="611"/>
                  </a:lnTo>
                  <a:lnTo>
                    <a:pt x="1206" y="640"/>
                  </a:lnTo>
                  <a:lnTo>
                    <a:pt x="1234" y="670"/>
                  </a:lnTo>
                  <a:lnTo>
                    <a:pt x="1270" y="700"/>
                  </a:lnTo>
                  <a:lnTo>
                    <a:pt x="1335" y="750"/>
                  </a:lnTo>
                  <a:lnTo>
                    <a:pt x="1355" y="766"/>
                  </a:lnTo>
                  <a:lnTo>
                    <a:pt x="1369" y="779"/>
                  </a:lnTo>
                  <a:lnTo>
                    <a:pt x="1374" y="786"/>
                  </a:lnTo>
                  <a:lnTo>
                    <a:pt x="1374" y="790"/>
                  </a:lnTo>
                  <a:lnTo>
                    <a:pt x="1372" y="792"/>
                  </a:lnTo>
                  <a:lnTo>
                    <a:pt x="1362" y="794"/>
                  </a:lnTo>
                  <a:lnTo>
                    <a:pt x="1345" y="795"/>
                  </a:lnTo>
                  <a:lnTo>
                    <a:pt x="1287" y="795"/>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29" name="Freeform 40"/>
            <p:cNvSpPr>
              <a:spLocks/>
            </p:cNvSpPr>
            <p:nvPr/>
          </p:nvSpPr>
          <p:spPr bwMode="auto">
            <a:xfrm>
              <a:off x="271" y="393"/>
              <a:ext cx="62" cy="59"/>
            </a:xfrm>
            <a:custGeom>
              <a:avLst/>
              <a:gdLst/>
              <a:ahLst/>
              <a:cxnLst>
                <a:cxn ang="0">
                  <a:pos x="825" y="921"/>
                </a:cxn>
                <a:cxn ang="0">
                  <a:pos x="582" y="837"/>
                </a:cxn>
                <a:cxn ang="0">
                  <a:pos x="482" y="792"/>
                </a:cxn>
                <a:cxn ang="0">
                  <a:pos x="398" y="744"/>
                </a:cxn>
                <a:cxn ang="0">
                  <a:pos x="342" y="703"/>
                </a:cxn>
                <a:cxn ang="0">
                  <a:pos x="288" y="653"/>
                </a:cxn>
                <a:cxn ang="0">
                  <a:pos x="238" y="594"/>
                </a:cxn>
                <a:cxn ang="0">
                  <a:pos x="195" y="526"/>
                </a:cxn>
                <a:cxn ang="0">
                  <a:pos x="113" y="342"/>
                </a:cxn>
                <a:cxn ang="0">
                  <a:pos x="38" y="174"/>
                </a:cxn>
                <a:cxn ang="0">
                  <a:pos x="10" y="100"/>
                </a:cxn>
                <a:cxn ang="0">
                  <a:pos x="0" y="41"/>
                </a:cxn>
                <a:cxn ang="0">
                  <a:pos x="2" y="13"/>
                </a:cxn>
                <a:cxn ang="0">
                  <a:pos x="8" y="3"/>
                </a:cxn>
                <a:cxn ang="0">
                  <a:pos x="15" y="1"/>
                </a:cxn>
                <a:cxn ang="0">
                  <a:pos x="49" y="48"/>
                </a:cxn>
                <a:cxn ang="0">
                  <a:pos x="152" y="190"/>
                </a:cxn>
                <a:cxn ang="0">
                  <a:pos x="236" y="289"/>
                </a:cxn>
                <a:cxn ang="0">
                  <a:pos x="278" y="328"/>
                </a:cxn>
                <a:cxn ang="0">
                  <a:pos x="361" y="393"/>
                </a:cxn>
                <a:cxn ang="0">
                  <a:pos x="530" y="511"/>
                </a:cxn>
                <a:cxn ang="0">
                  <a:pos x="596" y="564"/>
                </a:cxn>
                <a:cxn ang="0">
                  <a:pos x="706" y="671"/>
                </a:cxn>
                <a:cxn ang="0">
                  <a:pos x="833" y="801"/>
                </a:cxn>
                <a:cxn ang="0">
                  <a:pos x="874" y="837"/>
                </a:cxn>
                <a:cxn ang="0">
                  <a:pos x="914" y="863"/>
                </a:cxn>
                <a:cxn ang="0">
                  <a:pos x="866" y="780"/>
                </a:cxn>
                <a:cxn ang="0">
                  <a:pos x="734" y="580"/>
                </a:cxn>
                <a:cxn ang="0">
                  <a:pos x="700" y="522"/>
                </a:cxn>
                <a:cxn ang="0">
                  <a:pos x="677" y="457"/>
                </a:cxn>
                <a:cxn ang="0">
                  <a:pos x="670" y="402"/>
                </a:cxn>
                <a:cxn ang="0">
                  <a:pos x="672" y="192"/>
                </a:cxn>
                <a:cxn ang="0">
                  <a:pos x="678" y="52"/>
                </a:cxn>
                <a:cxn ang="0">
                  <a:pos x="681" y="45"/>
                </a:cxn>
                <a:cxn ang="0">
                  <a:pos x="688" y="47"/>
                </a:cxn>
                <a:cxn ang="0">
                  <a:pos x="724" y="91"/>
                </a:cxn>
                <a:cxn ang="0">
                  <a:pos x="791" y="180"/>
                </a:cxn>
                <a:cxn ang="0">
                  <a:pos x="839" y="254"/>
                </a:cxn>
                <a:cxn ang="0">
                  <a:pos x="880" y="333"/>
                </a:cxn>
                <a:cxn ang="0">
                  <a:pos x="912" y="413"/>
                </a:cxn>
                <a:cxn ang="0">
                  <a:pos x="934" y="486"/>
                </a:cxn>
                <a:cxn ang="0">
                  <a:pos x="945" y="543"/>
                </a:cxn>
                <a:cxn ang="0">
                  <a:pos x="947" y="644"/>
                </a:cxn>
                <a:cxn ang="0">
                  <a:pos x="957" y="730"/>
                </a:cxn>
                <a:cxn ang="0">
                  <a:pos x="993" y="850"/>
                </a:cxn>
                <a:cxn ang="0">
                  <a:pos x="1034" y="963"/>
                </a:cxn>
                <a:cxn ang="0">
                  <a:pos x="1044" y="989"/>
                </a:cxn>
                <a:cxn ang="0">
                  <a:pos x="1037" y="991"/>
                </a:cxn>
                <a:cxn ang="0">
                  <a:pos x="1004" y="979"/>
                </a:cxn>
              </a:cxnLst>
              <a:rect l="0" t="0" r="r" b="b"/>
              <a:pathLst>
                <a:path w="1044" h="991">
                  <a:moveTo>
                    <a:pt x="1004" y="979"/>
                  </a:moveTo>
                  <a:lnTo>
                    <a:pt x="825" y="921"/>
                  </a:lnTo>
                  <a:lnTo>
                    <a:pt x="693" y="877"/>
                  </a:lnTo>
                  <a:lnTo>
                    <a:pt x="582" y="837"/>
                  </a:lnTo>
                  <a:lnTo>
                    <a:pt x="535" y="818"/>
                  </a:lnTo>
                  <a:lnTo>
                    <a:pt x="482" y="792"/>
                  </a:lnTo>
                  <a:lnTo>
                    <a:pt x="426" y="762"/>
                  </a:lnTo>
                  <a:lnTo>
                    <a:pt x="398" y="744"/>
                  </a:lnTo>
                  <a:lnTo>
                    <a:pt x="371" y="724"/>
                  </a:lnTo>
                  <a:lnTo>
                    <a:pt x="342" y="703"/>
                  </a:lnTo>
                  <a:lnTo>
                    <a:pt x="315" y="679"/>
                  </a:lnTo>
                  <a:lnTo>
                    <a:pt x="288" y="653"/>
                  </a:lnTo>
                  <a:lnTo>
                    <a:pt x="262" y="625"/>
                  </a:lnTo>
                  <a:lnTo>
                    <a:pt x="238" y="594"/>
                  </a:lnTo>
                  <a:lnTo>
                    <a:pt x="216" y="562"/>
                  </a:lnTo>
                  <a:lnTo>
                    <a:pt x="195" y="526"/>
                  </a:lnTo>
                  <a:lnTo>
                    <a:pt x="177" y="488"/>
                  </a:lnTo>
                  <a:lnTo>
                    <a:pt x="113" y="342"/>
                  </a:lnTo>
                  <a:lnTo>
                    <a:pt x="59" y="224"/>
                  </a:lnTo>
                  <a:lnTo>
                    <a:pt x="38" y="174"/>
                  </a:lnTo>
                  <a:lnTo>
                    <a:pt x="21" y="133"/>
                  </a:lnTo>
                  <a:lnTo>
                    <a:pt x="10" y="100"/>
                  </a:lnTo>
                  <a:lnTo>
                    <a:pt x="5" y="74"/>
                  </a:lnTo>
                  <a:lnTo>
                    <a:pt x="0" y="41"/>
                  </a:lnTo>
                  <a:lnTo>
                    <a:pt x="0" y="23"/>
                  </a:lnTo>
                  <a:lnTo>
                    <a:pt x="2" y="13"/>
                  </a:lnTo>
                  <a:lnTo>
                    <a:pt x="5" y="7"/>
                  </a:lnTo>
                  <a:lnTo>
                    <a:pt x="8" y="3"/>
                  </a:lnTo>
                  <a:lnTo>
                    <a:pt x="11" y="0"/>
                  </a:lnTo>
                  <a:lnTo>
                    <a:pt x="15" y="1"/>
                  </a:lnTo>
                  <a:lnTo>
                    <a:pt x="20" y="6"/>
                  </a:lnTo>
                  <a:lnTo>
                    <a:pt x="49" y="48"/>
                  </a:lnTo>
                  <a:lnTo>
                    <a:pt x="112" y="138"/>
                  </a:lnTo>
                  <a:lnTo>
                    <a:pt x="152" y="190"/>
                  </a:lnTo>
                  <a:lnTo>
                    <a:pt x="194" y="242"/>
                  </a:lnTo>
                  <a:lnTo>
                    <a:pt x="236" y="289"/>
                  </a:lnTo>
                  <a:lnTo>
                    <a:pt x="257" y="310"/>
                  </a:lnTo>
                  <a:lnTo>
                    <a:pt x="278" y="328"/>
                  </a:lnTo>
                  <a:lnTo>
                    <a:pt x="319" y="362"/>
                  </a:lnTo>
                  <a:lnTo>
                    <a:pt x="361" y="393"/>
                  </a:lnTo>
                  <a:lnTo>
                    <a:pt x="449" y="454"/>
                  </a:lnTo>
                  <a:lnTo>
                    <a:pt x="530" y="511"/>
                  </a:lnTo>
                  <a:lnTo>
                    <a:pt x="564" y="539"/>
                  </a:lnTo>
                  <a:lnTo>
                    <a:pt x="596" y="564"/>
                  </a:lnTo>
                  <a:lnTo>
                    <a:pt x="652" y="617"/>
                  </a:lnTo>
                  <a:lnTo>
                    <a:pt x="706" y="671"/>
                  </a:lnTo>
                  <a:lnTo>
                    <a:pt x="809" y="778"/>
                  </a:lnTo>
                  <a:lnTo>
                    <a:pt x="833" y="801"/>
                  </a:lnTo>
                  <a:lnTo>
                    <a:pt x="854" y="821"/>
                  </a:lnTo>
                  <a:lnTo>
                    <a:pt x="874" y="837"/>
                  </a:lnTo>
                  <a:lnTo>
                    <a:pt x="889" y="848"/>
                  </a:lnTo>
                  <a:lnTo>
                    <a:pt x="914" y="863"/>
                  </a:lnTo>
                  <a:lnTo>
                    <a:pt x="922" y="867"/>
                  </a:lnTo>
                  <a:lnTo>
                    <a:pt x="866" y="780"/>
                  </a:lnTo>
                  <a:lnTo>
                    <a:pt x="771" y="636"/>
                  </a:lnTo>
                  <a:lnTo>
                    <a:pt x="734" y="580"/>
                  </a:lnTo>
                  <a:lnTo>
                    <a:pt x="716" y="551"/>
                  </a:lnTo>
                  <a:lnTo>
                    <a:pt x="700" y="522"/>
                  </a:lnTo>
                  <a:lnTo>
                    <a:pt x="687" y="490"/>
                  </a:lnTo>
                  <a:lnTo>
                    <a:pt x="677" y="457"/>
                  </a:lnTo>
                  <a:lnTo>
                    <a:pt x="671" y="421"/>
                  </a:lnTo>
                  <a:lnTo>
                    <a:pt x="670" y="402"/>
                  </a:lnTo>
                  <a:lnTo>
                    <a:pt x="668" y="382"/>
                  </a:lnTo>
                  <a:lnTo>
                    <a:pt x="672" y="192"/>
                  </a:lnTo>
                  <a:lnTo>
                    <a:pt x="676" y="67"/>
                  </a:lnTo>
                  <a:lnTo>
                    <a:pt x="678" y="52"/>
                  </a:lnTo>
                  <a:lnTo>
                    <a:pt x="679" y="47"/>
                  </a:lnTo>
                  <a:lnTo>
                    <a:pt x="681" y="45"/>
                  </a:lnTo>
                  <a:lnTo>
                    <a:pt x="684" y="45"/>
                  </a:lnTo>
                  <a:lnTo>
                    <a:pt x="688" y="47"/>
                  </a:lnTo>
                  <a:lnTo>
                    <a:pt x="700" y="60"/>
                  </a:lnTo>
                  <a:lnTo>
                    <a:pt x="724" y="91"/>
                  </a:lnTo>
                  <a:lnTo>
                    <a:pt x="766" y="146"/>
                  </a:lnTo>
                  <a:lnTo>
                    <a:pt x="791" y="180"/>
                  </a:lnTo>
                  <a:lnTo>
                    <a:pt x="815" y="215"/>
                  </a:lnTo>
                  <a:lnTo>
                    <a:pt x="839" y="254"/>
                  </a:lnTo>
                  <a:lnTo>
                    <a:pt x="860" y="293"/>
                  </a:lnTo>
                  <a:lnTo>
                    <a:pt x="880" y="333"/>
                  </a:lnTo>
                  <a:lnTo>
                    <a:pt x="897" y="374"/>
                  </a:lnTo>
                  <a:lnTo>
                    <a:pt x="912" y="413"/>
                  </a:lnTo>
                  <a:lnTo>
                    <a:pt x="924" y="451"/>
                  </a:lnTo>
                  <a:lnTo>
                    <a:pt x="934" y="486"/>
                  </a:lnTo>
                  <a:lnTo>
                    <a:pt x="941" y="517"/>
                  </a:lnTo>
                  <a:lnTo>
                    <a:pt x="945" y="543"/>
                  </a:lnTo>
                  <a:lnTo>
                    <a:pt x="946" y="563"/>
                  </a:lnTo>
                  <a:lnTo>
                    <a:pt x="947" y="644"/>
                  </a:lnTo>
                  <a:lnTo>
                    <a:pt x="950" y="689"/>
                  </a:lnTo>
                  <a:lnTo>
                    <a:pt x="957" y="730"/>
                  </a:lnTo>
                  <a:lnTo>
                    <a:pt x="972" y="782"/>
                  </a:lnTo>
                  <a:lnTo>
                    <a:pt x="993" y="850"/>
                  </a:lnTo>
                  <a:lnTo>
                    <a:pt x="1016" y="917"/>
                  </a:lnTo>
                  <a:lnTo>
                    <a:pt x="1034" y="963"/>
                  </a:lnTo>
                  <a:lnTo>
                    <a:pt x="1043" y="984"/>
                  </a:lnTo>
                  <a:lnTo>
                    <a:pt x="1044" y="989"/>
                  </a:lnTo>
                  <a:lnTo>
                    <a:pt x="1042" y="991"/>
                  </a:lnTo>
                  <a:lnTo>
                    <a:pt x="1037" y="991"/>
                  </a:lnTo>
                  <a:lnTo>
                    <a:pt x="1029" y="989"/>
                  </a:lnTo>
                  <a:lnTo>
                    <a:pt x="1004" y="979"/>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30" name="Freeform 41"/>
            <p:cNvSpPr>
              <a:spLocks/>
            </p:cNvSpPr>
            <p:nvPr/>
          </p:nvSpPr>
          <p:spPr bwMode="auto">
            <a:xfrm>
              <a:off x="276" y="391"/>
              <a:ext cx="28" cy="25"/>
            </a:xfrm>
            <a:custGeom>
              <a:avLst/>
              <a:gdLst/>
              <a:ahLst/>
              <a:cxnLst>
                <a:cxn ang="0">
                  <a:pos x="0" y="0"/>
                </a:cxn>
                <a:cxn ang="0">
                  <a:pos x="65" y="72"/>
                </a:cxn>
                <a:cxn ang="0">
                  <a:pos x="126" y="137"/>
                </a:cxn>
                <a:cxn ang="0">
                  <a:pos x="157" y="170"/>
                </a:cxn>
                <a:cxn ang="0">
                  <a:pos x="189" y="199"/>
                </a:cxn>
                <a:cxn ang="0">
                  <a:pos x="258" y="264"/>
                </a:cxn>
                <a:cxn ang="0">
                  <a:pos x="334" y="331"/>
                </a:cxn>
                <a:cxn ang="0">
                  <a:pos x="397" y="388"/>
                </a:cxn>
                <a:cxn ang="0">
                  <a:pos x="430" y="419"/>
                </a:cxn>
                <a:cxn ang="0">
                  <a:pos x="439" y="428"/>
                </a:cxn>
                <a:cxn ang="0">
                  <a:pos x="442" y="429"/>
                </a:cxn>
                <a:cxn ang="0">
                  <a:pos x="445" y="429"/>
                </a:cxn>
                <a:cxn ang="0">
                  <a:pos x="447" y="426"/>
                </a:cxn>
                <a:cxn ang="0">
                  <a:pos x="450" y="420"/>
                </a:cxn>
                <a:cxn ang="0">
                  <a:pos x="452" y="407"/>
                </a:cxn>
                <a:cxn ang="0">
                  <a:pos x="456" y="301"/>
                </a:cxn>
                <a:cxn ang="0">
                  <a:pos x="461" y="226"/>
                </a:cxn>
                <a:cxn ang="0">
                  <a:pos x="469" y="159"/>
                </a:cxn>
                <a:cxn ang="0">
                  <a:pos x="475" y="104"/>
                </a:cxn>
                <a:cxn ang="0">
                  <a:pos x="478" y="53"/>
                </a:cxn>
                <a:cxn ang="0">
                  <a:pos x="479" y="0"/>
                </a:cxn>
                <a:cxn ang="0">
                  <a:pos x="305" y="0"/>
                </a:cxn>
                <a:cxn ang="0">
                  <a:pos x="329" y="61"/>
                </a:cxn>
                <a:cxn ang="0">
                  <a:pos x="346" y="114"/>
                </a:cxn>
                <a:cxn ang="0">
                  <a:pos x="360" y="159"/>
                </a:cxn>
                <a:cxn ang="0">
                  <a:pos x="368" y="192"/>
                </a:cxn>
                <a:cxn ang="0">
                  <a:pos x="371" y="214"/>
                </a:cxn>
                <a:cxn ang="0">
                  <a:pos x="372" y="231"/>
                </a:cxn>
                <a:cxn ang="0">
                  <a:pos x="365" y="225"/>
                </a:cxn>
                <a:cxn ang="0">
                  <a:pos x="351" y="204"/>
                </a:cxn>
                <a:cxn ang="0">
                  <a:pos x="329" y="166"/>
                </a:cxn>
                <a:cxn ang="0">
                  <a:pos x="316" y="138"/>
                </a:cxn>
                <a:cxn ang="0">
                  <a:pos x="302" y="107"/>
                </a:cxn>
                <a:cxn ang="0">
                  <a:pos x="267" y="18"/>
                </a:cxn>
                <a:cxn ang="0">
                  <a:pos x="260" y="0"/>
                </a:cxn>
                <a:cxn ang="0">
                  <a:pos x="0" y="0"/>
                </a:cxn>
              </a:cxnLst>
              <a:rect l="0" t="0" r="r" b="b"/>
              <a:pathLst>
                <a:path w="479" h="429">
                  <a:moveTo>
                    <a:pt x="0" y="0"/>
                  </a:moveTo>
                  <a:lnTo>
                    <a:pt x="65" y="72"/>
                  </a:lnTo>
                  <a:lnTo>
                    <a:pt x="126" y="137"/>
                  </a:lnTo>
                  <a:lnTo>
                    <a:pt x="157" y="170"/>
                  </a:lnTo>
                  <a:lnTo>
                    <a:pt x="189" y="199"/>
                  </a:lnTo>
                  <a:lnTo>
                    <a:pt x="258" y="264"/>
                  </a:lnTo>
                  <a:lnTo>
                    <a:pt x="334" y="331"/>
                  </a:lnTo>
                  <a:lnTo>
                    <a:pt x="397" y="388"/>
                  </a:lnTo>
                  <a:lnTo>
                    <a:pt x="430" y="419"/>
                  </a:lnTo>
                  <a:lnTo>
                    <a:pt x="439" y="428"/>
                  </a:lnTo>
                  <a:lnTo>
                    <a:pt x="442" y="429"/>
                  </a:lnTo>
                  <a:lnTo>
                    <a:pt x="445" y="429"/>
                  </a:lnTo>
                  <a:lnTo>
                    <a:pt x="447" y="426"/>
                  </a:lnTo>
                  <a:lnTo>
                    <a:pt x="450" y="420"/>
                  </a:lnTo>
                  <a:lnTo>
                    <a:pt x="452" y="407"/>
                  </a:lnTo>
                  <a:lnTo>
                    <a:pt x="456" y="301"/>
                  </a:lnTo>
                  <a:lnTo>
                    <a:pt x="461" y="226"/>
                  </a:lnTo>
                  <a:lnTo>
                    <a:pt x="469" y="159"/>
                  </a:lnTo>
                  <a:lnTo>
                    <a:pt x="475" y="104"/>
                  </a:lnTo>
                  <a:lnTo>
                    <a:pt x="478" y="53"/>
                  </a:lnTo>
                  <a:lnTo>
                    <a:pt x="479" y="0"/>
                  </a:lnTo>
                  <a:lnTo>
                    <a:pt x="305" y="0"/>
                  </a:lnTo>
                  <a:lnTo>
                    <a:pt x="329" y="61"/>
                  </a:lnTo>
                  <a:lnTo>
                    <a:pt x="346" y="114"/>
                  </a:lnTo>
                  <a:lnTo>
                    <a:pt x="360" y="159"/>
                  </a:lnTo>
                  <a:lnTo>
                    <a:pt x="368" y="192"/>
                  </a:lnTo>
                  <a:lnTo>
                    <a:pt x="371" y="214"/>
                  </a:lnTo>
                  <a:lnTo>
                    <a:pt x="372" y="231"/>
                  </a:lnTo>
                  <a:lnTo>
                    <a:pt x="365" y="225"/>
                  </a:lnTo>
                  <a:lnTo>
                    <a:pt x="351" y="204"/>
                  </a:lnTo>
                  <a:lnTo>
                    <a:pt x="329" y="166"/>
                  </a:lnTo>
                  <a:lnTo>
                    <a:pt x="316" y="138"/>
                  </a:lnTo>
                  <a:lnTo>
                    <a:pt x="302" y="107"/>
                  </a:lnTo>
                  <a:lnTo>
                    <a:pt x="267" y="18"/>
                  </a:lnTo>
                  <a:lnTo>
                    <a:pt x="260" y="0"/>
                  </a:lnTo>
                  <a:lnTo>
                    <a:pt x="0"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31" name="Freeform 42"/>
            <p:cNvSpPr>
              <a:spLocks/>
            </p:cNvSpPr>
            <p:nvPr/>
          </p:nvSpPr>
          <p:spPr bwMode="auto">
            <a:xfrm>
              <a:off x="270" y="253"/>
              <a:ext cx="18" cy="47"/>
            </a:xfrm>
            <a:custGeom>
              <a:avLst/>
              <a:gdLst/>
              <a:ahLst/>
              <a:cxnLst>
                <a:cxn ang="0">
                  <a:pos x="0" y="799"/>
                </a:cxn>
                <a:cxn ang="0">
                  <a:pos x="0" y="772"/>
                </a:cxn>
                <a:cxn ang="0">
                  <a:pos x="2" y="739"/>
                </a:cxn>
                <a:cxn ang="0">
                  <a:pos x="5" y="696"/>
                </a:cxn>
                <a:cxn ang="0">
                  <a:pos x="12" y="643"/>
                </a:cxn>
                <a:cxn ang="0">
                  <a:pos x="21" y="583"/>
                </a:cxn>
                <a:cxn ang="0">
                  <a:pos x="36" y="517"/>
                </a:cxn>
                <a:cxn ang="0">
                  <a:pos x="55" y="447"/>
                </a:cxn>
                <a:cxn ang="0">
                  <a:pos x="78" y="377"/>
                </a:cxn>
                <a:cxn ang="0">
                  <a:pos x="102" y="314"/>
                </a:cxn>
                <a:cxn ang="0">
                  <a:pos x="127" y="255"/>
                </a:cxn>
                <a:cxn ang="0">
                  <a:pos x="155" y="200"/>
                </a:cxn>
                <a:cxn ang="0">
                  <a:pos x="183" y="150"/>
                </a:cxn>
                <a:cxn ang="0">
                  <a:pos x="215" y="102"/>
                </a:cxn>
                <a:cxn ang="0">
                  <a:pos x="248" y="56"/>
                </a:cxn>
                <a:cxn ang="0">
                  <a:pos x="285" y="12"/>
                </a:cxn>
                <a:cxn ang="0">
                  <a:pos x="296" y="3"/>
                </a:cxn>
                <a:cxn ang="0">
                  <a:pos x="300" y="1"/>
                </a:cxn>
                <a:cxn ang="0">
                  <a:pos x="304" y="0"/>
                </a:cxn>
                <a:cxn ang="0">
                  <a:pos x="307" y="1"/>
                </a:cxn>
                <a:cxn ang="0">
                  <a:pos x="309" y="5"/>
                </a:cxn>
                <a:cxn ang="0">
                  <a:pos x="309" y="11"/>
                </a:cxn>
                <a:cxn ang="0">
                  <a:pos x="306" y="20"/>
                </a:cxn>
                <a:cxn ang="0">
                  <a:pos x="292" y="58"/>
                </a:cxn>
                <a:cxn ang="0">
                  <a:pos x="281" y="91"/>
                </a:cxn>
                <a:cxn ang="0">
                  <a:pos x="269" y="135"/>
                </a:cxn>
                <a:cxn ang="0">
                  <a:pos x="258" y="189"/>
                </a:cxn>
                <a:cxn ang="0">
                  <a:pos x="248" y="255"/>
                </a:cxn>
                <a:cxn ang="0">
                  <a:pos x="245" y="292"/>
                </a:cxn>
                <a:cxn ang="0">
                  <a:pos x="242" y="333"/>
                </a:cxn>
                <a:cxn ang="0">
                  <a:pos x="240" y="376"/>
                </a:cxn>
                <a:cxn ang="0">
                  <a:pos x="240" y="423"/>
                </a:cxn>
                <a:cxn ang="0">
                  <a:pos x="241" y="554"/>
                </a:cxn>
                <a:cxn ang="0">
                  <a:pos x="244" y="609"/>
                </a:cxn>
                <a:cxn ang="0">
                  <a:pos x="247" y="664"/>
                </a:cxn>
                <a:cxn ang="0">
                  <a:pos x="248" y="717"/>
                </a:cxn>
                <a:cxn ang="0">
                  <a:pos x="249" y="799"/>
                </a:cxn>
                <a:cxn ang="0">
                  <a:pos x="0" y="799"/>
                </a:cxn>
              </a:cxnLst>
              <a:rect l="0" t="0" r="r" b="b"/>
              <a:pathLst>
                <a:path w="309" h="799">
                  <a:moveTo>
                    <a:pt x="0" y="799"/>
                  </a:moveTo>
                  <a:lnTo>
                    <a:pt x="0" y="772"/>
                  </a:lnTo>
                  <a:lnTo>
                    <a:pt x="2" y="739"/>
                  </a:lnTo>
                  <a:lnTo>
                    <a:pt x="5" y="696"/>
                  </a:lnTo>
                  <a:lnTo>
                    <a:pt x="12" y="643"/>
                  </a:lnTo>
                  <a:lnTo>
                    <a:pt x="21" y="583"/>
                  </a:lnTo>
                  <a:lnTo>
                    <a:pt x="36" y="517"/>
                  </a:lnTo>
                  <a:lnTo>
                    <a:pt x="55" y="447"/>
                  </a:lnTo>
                  <a:lnTo>
                    <a:pt x="78" y="377"/>
                  </a:lnTo>
                  <a:lnTo>
                    <a:pt x="102" y="314"/>
                  </a:lnTo>
                  <a:lnTo>
                    <a:pt x="127" y="255"/>
                  </a:lnTo>
                  <a:lnTo>
                    <a:pt x="155" y="200"/>
                  </a:lnTo>
                  <a:lnTo>
                    <a:pt x="183" y="150"/>
                  </a:lnTo>
                  <a:lnTo>
                    <a:pt x="215" y="102"/>
                  </a:lnTo>
                  <a:lnTo>
                    <a:pt x="248" y="56"/>
                  </a:lnTo>
                  <a:lnTo>
                    <a:pt x="285" y="12"/>
                  </a:lnTo>
                  <a:lnTo>
                    <a:pt x="296" y="3"/>
                  </a:lnTo>
                  <a:lnTo>
                    <a:pt x="300" y="1"/>
                  </a:lnTo>
                  <a:lnTo>
                    <a:pt x="304" y="0"/>
                  </a:lnTo>
                  <a:lnTo>
                    <a:pt x="307" y="1"/>
                  </a:lnTo>
                  <a:lnTo>
                    <a:pt x="309" y="5"/>
                  </a:lnTo>
                  <a:lnTo>
                    <a:pt x="309" y="11"/>
                  </a:lnTo>
                  <a:lnTo>
                    <a:pt x="306" y="20"/>
                  </a:lnTo>
                  <a:lnTo>
                    <a:pt x="292" y="58"/>
                  </a:lnTo>
                  <a:lnTo>
                    <a:pt x="281" y="91"/>
                  </a:lnTo>
                  <a:lnTo>
                    <a:pt x="269" y="135"/>
                  </a:lnTo>
                  <a:lnTo>
                    <a:pt x="258" y="189"/>
                  </a:lnTo>
                  <a:lnTo>
                    <a:pt x="248" y="255"/>
                  </a:lnTo>
                  <a:lnTo>
                    <a:pt x="245" y="292"/>
                  </a:lnTo>
                  <a:lnTo>
                    <a:pt x="242" y="333"/>
                  </a:lnTo>
                  <a:lnTo>
                    <a:pt x="240" y="376"/>
                  </a:lnTo>
                  <a:lnTo>
                    <a:pt x="240" y="423"/>
                  </a:lnTo>
                  <a:lnTo>
                    <a:pt x="241" y="554"/>
                  </a:lnTo>
                  <a:lnTo>
                    <a:pt x="244" y="609"/>
                  </a:lnTo>
                  <a:lnTo>
                    <a:pt x="247" y="664"/>
                  </a:lnTo>
                  <a:lnTo>
                    <a:pt x="248" y="717"/>
                  </a:lnTo>
                  <a:lnTo>
                    <a:pt x="249" y="799"/>
                  </a:lnTo>
                  <a:lnTo>
                    <a:pt x="0" y="799"/>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32" name="Freeform 43"/>
            <p:cNvSpPr>
              <a:spLocks/>
            </p:cNvSpPr>
            <p:nvPr/>
          </p:nvSpPr>
          <p:spPr bwMode="auto">
            <a:xfrm>
              <a:off x="289" y="273"/>
              <a:ext cx="27" cy="27"/>
            </a:xfrm>
            <a:custGeom>
              <a:avLst/>
              <a:gdLst/>
              <a:ahLst/>
              <a:cxnLst>
                <a:cxn ang="0">
                  <a:pos x="0" y="467"/>
                </a:cxn>
                <a:cxn ang="0">
                  <a:pos x="87" y="387"/>
                </a:cxn>
                <a:cxn ang="0">
                  <a:pos x="174" y="303"/>
                </a:cxn>
                <a:cxn ang="0">
                  <a:pos x="222" y="254"/>
                </a:cxn>
                <a:cxn ang="0">
                  <a:pos x="273" y="203"/>
                </a:cxn>
                <a:cxn ang="0">
                  <a:pos x="353" y="118"/>
                </a:cxn>
                <a:cxn ang="0">
                  <a:pos x="399" y="66"/>
                </a:cxn>
                <a:cxn ang="0">
                  <a:pos x="423" y="37"/>
                </a:cxn>
                <a:cxn ang="0">
                  <a:pos x="435" y="18"/>
                </a:cxn>
                <a:cxn ang="0">
                  <a:pos x="440" y="10"/>
                </a:cxn>
                <a:cxn ang="0">
                  <a:pos x="445" y="5"/>
                </a:cxn>
                <a:cxn ang="0">
                  <a:pos x="451" y="1"/>
                </a:cxn>
                <a:cxn ang="0">
                  <a:pos x="456" y="0"/>
                </a:cxn>
                <a:cxn ang="0">
                  <a:pos x="459" y="1"/>
                </a:cxn>
                <a:cxn ang="0">
                  <a:pos x="461" y="5"/>
                </a:cxn>
                <a:cxn ang="0">
                  <a:pos x="462" y="12"/>
                </a:cxn>
                <a:cxn ang="0">
                  <a:pos x="460" y="23"/>
                </a:cxn>
                <a:cxn ang="0">
                  <a:pos x="442" y="82"/>
                </a:cxn>
                <a:cxn ang="0">
                  <a:pos x="404" y="191"/>
                </a:cxn>
                <a:cxn ang="0">
                  <a:pos x="379" y="258"/>
                </a:cxn>
                <a:cxn ang="0">
                  <a:pos x="350" y="327"/>
                </a:cxn>
                <a:cxn ang="0">
                  <a:pos x="317" y="399"/>
                </a:cxn>
                <a:cxn ang="0">
                  <a:pos x="282" y="467"/>
                </a:cxn>
                <a:cxn ang="0">
                  <a:pos x="0" y="467"/>
                </a:cxn>
              </a:cxnLst>
              <a:rect l="0" t="0" r="r" b="b"/>
              <a:pathLst>
                <a:path w="462" h="467">
                  <a:moveTo>
                    <a:pt x="0" y="467"/>
                  </a:moveTo>
                  <a:lnTo>
                    <a:pt x="87" y="387"/>
                  </a:lnTo>
                  <a:lnTo>
                    <a:pt x="174" y="303"/>
                  </a:lnTo>
                  <a:lnTo>
                    <a:pt x="222" y="254"/>
                  </a:lnTo>
                  <a:lnTo>
                    <a:pt x="273" y="203"/>
                  </a:lnTo>
                  <a:lnTo>
                    <a:pt x="353" y="118"/>
                  </a:lnTo>
                  <a:lnTo>
                    <a:pt x="399" y="66"/>
                  </a:lnTo>
                  <a:lnTo>
                    <a:pt x="423" y="37"/>
                  </a:lnTo>
                  <a:lnTo>
                    <a:pt x="435" y="18"/>
                  </a:lnTo>
                  <a:lnTo>
                    <a:pt x="440" y="10"/>
                  </a:lnTo>
                  <a:lnTo>
                    <a:pt x="445" y="5"/>
                  </a:lnTo>
                  <a:lnTo>
                    <a:pt x="451" y="1"/>
                  </a:lnTo>
                  <a:lnTo>
                    <a:pt x="456" y="0"/>
                  </a:lnTo>
                  <a:lnTo>
                    <a:pt x="459" y="1"/>
                  </a:lnTo>
                  <a:lnTo>
                    <a:pt x="461" y="5"/>
                  </a:lnTo>
                  <a:lnTo>
                    <a:pt x="462" y="12"/>
                  </a:lnTo>
                  <a:lnTo>
                    <a:pt x="460" y="23"/>
                  </a:lnTo>
                  <a:lnTo>
                    <a:pt x="442" y="82"/>
                  </a:lnTo>
                  <a:lnTo>
                    <a:pt x="404" y="191"/>
                  </a:lnTo>
                  <a:lnTo>
                    <a:pt x="379" y="258"/>
                  </a:lnTo>
                  <a:lnTo>
                    <a:pt x="350" y="327"/>
                  </a:lnTo>
                  <a:lnTo>
                    <a:pt x="317" y="399"/>
                  </a:lnTo>
                  <a:lnTo>
                    <a:pt x="282" y="467"/>
                  </a:lnTo>
                  <a:lnTo>
                    <a:pt x="0" y="467"/>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33" name="Freeform 44"/>
            <p:cNvSpPr>
              <a:spLocks/>
            </p:cNvSpPr>
            <p:nvPr/>
          </p:nvSpPr>
          <p:spPr bwMode="auto">
            <a:xfrm>
              <a:off x="289" y="228"/>
              <a:ext cx="44" cy="64"/>
            </a:xfrm>
            <a:custGeom>
              <a:avLst/>
              <a:gdLst/>
              <a:ahLst/>
              <a:cxnLst>
                <a:cxn ang="0">
                  <a:pos x="2" y="601"/>
                </a:cxn>
                <a:cxn ang="0">
                  <a:pos x="15" y="498"/>
                </a:cxn>
                <a:cxn ang="0">
                  <a:pos x="31" y="428"/>
                </a:cxn>
                <a:cxn ang="0">
                  <a:pos x="54" y="358"/>
                </a:cxn>
                <a:cxn ang="0">
                  <a:pos x="86" y="290"/>
                </a:cxn>
                <a:cxn ang="0">
                  <a:pos x="127" y="226"/>
                </a:cxn>
                <a:cxn ang="0">
                  <a:pos x="177" y="166"/>
                </a:cxn>
                <a:cxn ang="0">
                  <a:pos x="283" y="69"/>
                </a:cxn>
                <a:cxn ang="0">
                  <a:pos x="351" y="5"/>
                </a:cxn>
                <a:cxn ang="0">
                  <a:pos x="362" y="0"/>
                </a:cxn>
                <a:cxn ang="0">
                  <a:pos x="365" y="8"/>
                </a:cxn>
                <a:cxn ang="0">
                  <a:pos x="356" y="30"/>
                </a:cxn>
                <a:cxn ang="0">
                  <a:pos x="320" y="99"/>
                </a:cxn>
                <a:cxn ang="0">
                  <a:pos x="289" y="177"/>
                </a:cxn>
                <a:cxn ang="0">
                  <a:pos x="255" y="284"/>
                </a:cxn>
                <a:cxn ang="0">
                  <a:pos x="210" y="484"/>
                </a:cxn>
                <a:cxn ang="0">
                  <a:pos x="149" y="717"/>
                </a:cxn>
                <a:cxn ang="0">
                  <a:pos x="178" y="704"/>
                </a:cxn>
                <a:cxn ang="0">
                  <a:pos x="231" y="622"/>
                </a:cxn>
                <a:cxn ang="0">
                  <a:pos x="262" y="587"/>
                </a:cxn>
                <a:cxn ang="0">
                  <a:pos x="300" y="553"/>
                </a:cxn>
                <a:cxn ang="0">
                  <a:pos x="412" y="477"/>
                </a:cxn>
                <a:cxn ang="0">
                  <a:pos x="535" y="395"/>
                </a:cxn>
                <a:cxn ang="0">
                  <a:pos x="624" y="321"/>
                </a:cxn>
                <a:cxn ang="0">
                  <a:pos x="683" y="262"/>
                </a:cxn>
                <a:cxn ang="0">
                  <a:pos x="713" y="222"/>
                </a:cxn>
                <a:cxn ang="0">
                  <a:pos x="726" y="203"/>
                </a:cxn>
                <a:cxn ang="0">
                  <a:pos x="736" y="198"/>
                </a:cxn>
                <a:cxn ang="0">
                  <a:pos x="739" y="208"/>
                </a:cxn>
                <a:cxn ang="0">
                  <a:pos x="735" y="229"/>
                </a:cxn>
                <a:cxn ang="0">
                  <a:pos x="714" y="286"/>
                </a:cxn>
                <a:cxn ang="0">
                  <a:pos x="666" y="389"/>
                </a:cxn>
                <a:cxn ang="0">
                  <a:pos x="612" y="483"/>
                </a:cxn>
                <a:cxn ang="0">
                  <a:pos x="564" y="548"/>
                </a:cxn>
                <a:cxn ang="0">
                  <a:pos x="509" y="612"/>
                </a:cxn>
                <a:cxn ang="0">
                  <a:pos x="412" y="701"/>
                </a:cxn>
                <a:cxn ang="0">
                  <a:pos x="282" y="812"/>
                </a:cxn>
                <a:cxn ang="0">
                  <a:pos x="166" y="919"/>
                </a:cxn>
                <a:cxn ang="0">
                  <a:pos x="116" y="971"/>
                </a:cxn>
                <a:cxn ang="0">
                  <a:pos x="75" y="1023"/>
                </a:cxn>
                <a:cxn ang="0">
                  <a:pos x="45" y="1075"/>
                </a:cxn>
                <a:cxn ang="0">
                  <a:pos x="30" y="1097"/>
                </a:cxn>
                <a:cxn ang="0">
                  <a:pos x="21" y="1100"/>
                </a:cxn>
                <a:cxn ang="0">
                  <a:pos x="16" y="1085"/>
                </a:cxn>
                <a:cxn ang="0">
                  <a:pos x="7" y="920"/>
                </a:cxn>
                <a:cxn ang="0">
                  <a:pos x="0" y="736"/>
                </a:cxn>
              </a:cxnLst>
              <a:rect l="0" t="0" r="r" b="b"/>
              <a:pathLst>
                <a:path w="739" h="1101">
                  <a:moveTo>
                    <a:pt x="0" y="666"/>
                  </a:moveTo>
                  <a:lnTo>
                    <a:pt x="2" y="601"/>
                  </a:lnTo>
                  <a:lnTo>
                    <a:pt x="10" y="533"/>
                  </a:lnTo>
                  <a:lnTo>
                    <a:pt x="15" y="498"/>
                  </a:lnTo>
                  <a:lnTo>
                    <a:pt x="22" y="463"/>
                  </a:lnTo>
                  <a:lnTo>
                    <a:pt x="31" y="428"/>
                  </a:lnTo>
                  <a:lnTo>
                    <a:pt x="41" y="393"/>
                  </a:lnTo>
                  <a:lnTo>
                    <a:pt x="54" y="358"/>
                  </a:lnTo>
                  <a:lnTo>
                    <a:pt x="69" y="324"/>
                  </a:lnTo>
                  <a:lnTo>
                    <a:pt x="86" y="290"/>
                  </a:lnTo>
                  <a:lnTo>
                    <a:pt x="105" y="257"/>
                  </a:lnTo>
                  <a:lnTo>
                    <a:pt x="127" y="226"/>
                  </a:lnTo>
                  <a:lnTo>
                    <a:pt x="151" y="195"/>
                  </a:lnTo>
                  <a:lnTo>
                    <a:pt x="177" y="166"/>
                  </a:lnTo>
                  <a:lnTo>
                    <a:pt x="207" y="137"/>
                  </a:lnTo>
                  <a:lnTo>
                    <a:pt x="283" y="69"/>
                  </a:lnTo>
                  <a:lnTo>
                    <a:pt x="333" y="20"/>
                  </a:lnTo>
                  <a:lnTo>
                    <a:pt x="351" y="5"/>
                  </a:lnTo>
                  <a:lnTo>
                    <a:pt x="357" y="2"/>
                  </a:lnTo>
                  <a:lnTo>
                    <a:pt x="362" y="0"/>
                  </a:lnTo>
                  <a:lnTo>
                    <a:pt x="365" y="3"/>
                  </a:lnTo>
                  <a:lnTo>
                    <a:pt x="365" y="8"/>
                  </a:lnTo>
                  <a:lnTo>
                    <a:pt x="362" y="17"/>
                  </a:lnTo>
                  <a:lnTo>
                    <a:pt x="356" y="30"/>
                  </a:lnTo>
                  <a:lnTo>
                    <a:pt x="335" y="71"/>
                  </a:lnTo>
                  <a:lnTo>
                    <a:pt x="320" y="99"/>
                  </a:lnTo>
                  <a:lnTo>
                    <a:pt x="304" y="135"/>
                  </a:lnTo>
                  <a:lnTo>
                    <a:pt x="289" y="177"/>
                  </a:lnTo>
                  <a:lnTo>
                    <a:pt x="272" y="227"/>
                  </a:lnTo>
                  <a:lnTo>
                    <a:pt x="255" y="284"/>
                  </a:lnTo>
                  <a:lnTo>
                    <a:pt x="239" y="350"/>
                  </a:lnTo>
                  <a:lnTo>
                    <a:pt x="210" y="484"/>
                  </a:lnTo>
                  <a:lnTo>
                    <a:pt x="180" y="606"/>
                  </a:lnTo>
                  <a:lnTo>
                    <a:pt x="149" y="717"/>
                  </a:lnTo>
                  <a:lnTo>
                    <a:pt x="115" y="820"/>
                  </a:lnTo>
                  <a:lnTo>
                    <a:pt x="178" y="704"/>
                  </a:lnTo>
                  <a:lnTo>
                    <a:pt x="205" y="660"/>
                  </a:lnTo>
                  <a:lnTo>
                    <a:pt x="231" y="622"/>
                  </a:lnTo>
                  <a:lnTo>
                    <a:pt x="246" y="604"/>
                  </a:lnTo>
                  <a:lnTo>
                    <a:pt x="262" y="587"/>
                  </a:lnTo>
                  <a:lnTo>
                    <a:pt x="280" y="570"/>
                  </a:lnTo>
                  <a:lnTo>
                    <a:pt x="300" y="553"/>
                  </a:lnTo>
                  <a:lnTo>
                    <a:pt x="349" y="517"/>
                  </a:lnTo>
                  <a:lnTo>
                    <a:pt x="412" y="477"/>
                  </a:lnTo>
                  <a:lnTo>
                    <a:pt x="477" y="435"/>
                  </a:lnTo>
                  <a:lnTo>
                    <a:pt x="535" y="395"/>
                  </a:lnTo>
                  <a:lnTo>
                    <a:pt x="583" y="356"/>
                  </a:lnTo>
                  <a:lnTo>
                    <a:pt x="624" y="321"/>
                  </a:lnTo>
                  <a:lnTo>
                    <a:pt x="657" y="289"/>
                  </a:lnTo>
                  <a:lnTo>
                    <a:pt x="683" y="262"/>
                  </a:lnTo>
                  <a:lnTo>
                    <a:pt x="701" y="238"/>
                  </a:lnTo>
                  <a:lnTo>
                    <a:pt x="713" y="222"/>
                  </a:lnTo>
                  <a:lnTo>
                    <a:pt x="720" y="210"/>
                  </a:lnTo>
                  <a:lnTo>
                    <a:pt x="726" y="203"/>
                  </a:lnTo>
                  <a:lnTo>
                    <a:pt x="732" y="198"/>
                  </a:lnTo>
                  <a:lnTo>
                    <a:pt x="736" y="198"/>
                  </a:lnTo>
                  <a:lnTo>
                    <a:pt x="738" y="202"/>
                  </a:lnTo>
                  <a:lnTo>
                    <a:pt x="739" y="208"/>
                  </a:lnTo>
                  <a:lnTo>
                    <a:pt x="738" y="217"/>
                  </a:lnTo>
                  <a:lnTo>
                    <a:pt x="735" y="229"/>
                  </a:lnTo>
                  <a:lnTo>
                    <a:pt x="727" y="250"/>
                  </a:lnTo>
                  <a:lnTo>
                    <a:pt x="714" y="286"/>
                  </a:lnTo>
                  <a:lnTo>
                    <a:pt x="694" y="333"/>
                  </a:lnTo>
                  <a:lnTo>
                    <a:pt x="666" y="389"/>
                  </a:lnTo>
                  <a:lnTo>
                    <a:pt x="632" y="451"/>
                  </a:lnTo>
                  <a:lnTo>
                    <a:pt x="612" y="483"/>
                  </a:lnTo>
                  <a:lnTo>
                    <a:pt x="589" y="515"/>
                  </a:lnTo>
                  <a:lnTo>
                    <a:pt x="564" y="548"/>
                  </a:lnTo>
                  <a:lnTo>
                    <a:pt x="537" y="581"/>
                  </a:lnTo>
                  <a:lnTo>
                    <a:pt x="509" y="612"/>
                  </a:lnTo>
                  <a:lnTo>
                    <a:pt x="477" y="643"/>
                  </a:lnTo>
                  <a:lnTo>
                    <a:pt x="412" y="701"/>
                  </a:lnTo>
                  <a:lnTo>
                    <a:pt x="345" y="757"/>
                  </a:lnTo>
                  <a:lnTo>
                    <a:pt x="282" y="812"/>
                  </a:lnTo>
                  <a:lnTo>
                    <a:pt x="221" y="866"/>
                  </a:lnTo>
                  <a:lnTo>
                    <a:pt x="166" y="919"/>
                  </a:lnTo>
                  <a:lnTo>
                    <a:pt x="140" y="945"/>
                  </a:lnTo>
                  <a:lnTo>
                    <a:pt x="116" y="971"/>
                  </a:lnTo>
                  <a:lnTo>
                    <a:pt x="95" y="996"/>
                  </a:lnTo>
                  <a:lnTo>
                    <a:pt x="75" y="1023"/>
                  </a:lnTo>
                  <a:lnTo>
                    <a:pt x="58" y="1049"/>
                  </a:lnTo>
                  <a:lnTo>
                    <a:pt x="45" y="1075"/>
                  </a:lnTo>
                  <a:lnTo>
                    <a:pt x="35" y="1092"/>
                  </a:lnTo>
                  <a:lnTo>
                    <a:pt x="30" y="1097"/>
                  </a:lnTo>
                  <a:lnTo>
                    <a:pt x="26" y="1101"/>
                  </a:lnTo>
                  <a:lnTo>
                    <a:pt x="21" y="1100"/>
                  </a:lnTo>
                  <a:lnTo>
                    <a:pt x="18" y="1095"/>
                  </a:lnTo>
                  <a:lnTo>
                    <a:pt x="16" y="1085"/>
                  </a:lnTo>
                  <a:lnTo>
                    <a:pt x="15" y="1068"/>
                  </a:lnTo>
                  <a:lnTo>
                    <a:pt x="7" y="920"/>
                  </a:lnTo>
                  <a:lnTo>
                    <a:pt x="2" y="803"/>
                  </a:lnTo>
                  <a:lnTo>
                    <a:pt x="0" y="736"/>
                  </a:lnTo>
                  <a:lnTo>
                    <a:pt x="0" y="666"/>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34" name="Freeform 45"/>
            <p:cNvSpPr>
              <a:spLocks/>
            </p:cNvSpPr>
            <p:nvPr/>
          </p:nvSpPr>
          <p:spPr bwMode="auto">
            <a:xfrm>
              <a:off x="305" y="215"/>
              <a:ext cx="39" cy="39"/>
            </a:xfrm>
            <a:custGeom>
              <a:avLst/>
              <a:gdLst/>
              <a:ahLst/>
              <a:cxnLst>
                <a:cxn ang="0">
                  <a:pos x="4" y="636"/>
                </a:cxn>
                <a:cxn ang="0">
                  <a:pos x="20" y="577"/>
                </a:cxn>
                <a:cxn ang="0">
                  <a:pos x="36" y="530"/>
                </a:cxn>
                <a:cxn ang="0">
                  <a:pos x="58" y="476"/>
                </a:cxn>
                <a:cxn ang="0">
                  <a:pos x="86" y="417"/>
                </a:cxn>
                <a:cxn ang="0">
                  <a:pos x="103" y="387"/>
                </a:cxn>
                <a:cxn ang="0">
                  <a:pos x="122" y="356"/>
                </a:cxn>
                <a:cxn ang="0">
                  <a:pos x="143" y="327"/>
                </a:cxn>
                <a:cxn ang="0">
                  <a:pos x="166" y="298"/>
                </a:cxn>
                <a:cxn ang="0">
                  <a:pos x="191" y="271"/>
                </a:cxn>
                <a:cxn ang="0">
                  <a:pos x="220" y="245"/>
                </a:cxn>
                <a:cxn ang="0">
                  <a:pos x="249" y="220"/>
                </a:cxn>
                <a:cxn ang="0">
                  <a:pos x="279" y="197"/>
                </a:cxn>
                <a:cxn ang="0">
                  <a:pos x="341" y="154"/>
                </a:cxn>
                <a:cxn ang="0">
                  <a:pos x="401" y="117"/>
                </a:cxn>
                <a:cxn ang="0">
                  <a:pos x="459" y="86"/>
                </a:cxn>
                <a:cxn ang="0">
                  <a:pos x="511" y="58"/>
                </a:cxn>
                <a:cxn ang="0">
                  <a:pos x="555" y="37"/>
                </a:cxn>
                <a:cxn ang="0">
                  <a:pos x="614" y="11"/>
                </a:cxn>
                <a:cxn ang="0">
                  <a:pos x="628" y="5"/>
                </a:cxn>
                <a:cxn ang="0">
                  <a:pos x="640" y="1"/>
                </a:cxn>
                <a:cxn ang="0">
                  <a:pos x="647" y="0"/>
                </a:cxn>
                <a:cxn ang="0">
                  <a:pos x="651" y="2"/>
                </a:cxn>
                <a:cxn ang="0">
                  <a:pos x="651" y="7"/>
                </a:cxn>
                <a:cxn ang="0">
                  <a:pos x="649" y="12"/>
                </a:cxn>
                <a:cxn ang="0">
                  <a:pos x="643" y="20"/>
                </a:cxn>
                <a:cxn ang="0">
                  <a:pos x="634" y="29"/>
                </a:cxn>
                <a:cxn ang="0">
                  <a:pos x="601" y="66"/>
                </a:cxn>
                <a:cxn ang="0">
                  <a:pos x="547" y="131"/>
                </a:cxn>
                <a:cxn ang="0">
                  <a:pos x="515" y="172"/>
                </a:cxn>
                <a:cxn ang="0">
                  <a:pos x="483" y="216"/>
                </a:cxn>
                <a:cxn ang="0">
                  <a:pos x="450" y="264"/>
                </a:cxn>
                <a:cxn ang="0">
                  <a:pos x="419" y="312"/>
                </a:cxn>
                <a:cxn ang="0">
                  <a:pos x="389" y="358"/>
                </a:cxn>
                <a:cxn ang="0">
                  <a:pos x="361" y="398"/>
                </a:cxn>
                <a:cxn ang="0">
                  <a:pos x="333" y="432"/>
                </a:cxn>
                <a:cxn ang="0">
                  <a:pos x="307" y="461"/>
                </a:cxn>
                <a:cxn ang="0">
                  <a:pos x="281" y="486"/>
                </a:cxn>
                <a:cxn ang="0">
                  <a:pos x="252" y="508"/>
                </a:cxn>
                <a:cxn ang="0">
                  <a:pos x="224" y="526"/>
                </a:cxn>
                <a:cxn ang="0">
                  <a:pos x="192" y="543"/>
                </a:cxn>
                <a:cxn ang="0">
                  <a:pos x="131" y="574"/>
                </a:cxn>
                <a:cxn ang="0">
                  <a:pos x="82" y="605"/>
                </a:cxn>
                <a:cxn ang="0">
                  <a:pos x="45" y="632"/>
                </a:cxn>
                <a:cxn ang="0">
                  <a:pos x="33" y="644"/>
                </a:cxn>
                <a:cxn ang="0">
                  <a:pos x="24" y="654"/>
                </a:cxn>
                <a:cxn ang="0">
                  <a:pos x="18" y="663"/>
                </a:cxn>
                <a:cxn ang="0">
                  <a:pos x="12" y="668"/>
                </a:cxn>
                <a:cxn ang="0">
                  <a:pos x="6" y="670"/>
                </a:cxn>
                <a:cxn ang="0">
                  <a:pos x="3" y="669"/>
                </a:cxn>
                <a:cxn ang="0">
                  <a:pos x="1" y="665"/>
                </a:cxn>
                <a:cxn ang="0">
                  <a:pos x="0" y="658"/>
                </a:cxn>
                <a:cxn ang="0">
                  <a:pos x="1" y="649"/>
                </a:cxn>
                <a:cxn ang="0">
                  <a:pos x="4" y="636"/>
                </a:cxn>
              </a:cxnLst>
              <a:rect l="0" t="0" r="r" b="b"/>
              <a:pathLst>
                <a:path w="651" h="670">
                  <a:moveTo>
                    <a:pt x="4" y="636"/>
                  </a:moveTo>
                  <a:lnTo>
                    <a:pt x="20" y="577"/>
                  </a:lnTo>
                  <a:lnTo>
                    <a:pt x="36" y="530"/>
                  </a:lnTo>
                  <a:lnTo>
                    <a:pt x="58" y="476"/>
                  </a:lnTo>
                  <a:lnTo>
                    <a:pt x="86" y="417"/>
                  </a:lnTo>
                  <a:lnTo>
                    <a:pt x="103" y="387"/>
                  </a:lnTo>
                  <a:lnTo>
                    <a:pt x="122" y="356"/>
                  </a:lnTo>
                  <a:lnTo>
                    <a:pt x="143" y="327"/>
                  </a:lnTo>
                  <a:lnTo>
                    <a:pt x="166" y="298"/>
                  </a:lnTo>
                  <a:lnTo>
                    <a:pt x="191" y="271"/>
                  </a:lnTo>
                  <a:lnTo>
                    <a:pt x="220" y="245"/>
                  </a:lnTo>
                  <a:lnTo>
                    <a:pt x="249" y="220"/>
                  </a:lnTo>
                  <a:lnTo>
                    <a:pt x="279" y="197"/>
                  </a:lnTo>
                  <a:lnTo>
                    <a:pt x="341" y="154"/>
                  </a:lnTo>
                  <a:lnTo>
                    <a:pt x="401" y="117"/>
                  </a:lnTo>
                  <a:lnTo>
                    <a:pt x="459" y="86"/>
                  </a:lnTo>
                  <a:lnTo>
                    <a:pt x="511" y="58"/>
                  </a:lnTo>
                  <a:lnTo>
                    <a:pt x="555" y="37"/>
                  </a:lnTo>
                  <a:lnTo>
                    <a:pt x="614" y="11"/>
                  </a:lnTo>
                  <a:lnTo>
                    <a:pt x="628" y="5"/>
                  </a:lnTo>
                  <a:lnTo>
                    <a:pt x="640" y="1"/>
                  </a:lnTo>
                  <a:lnTo>
                    <a:pt x="647" y="0"/>
                  </a:lnTo>
                  <a:lnTo>
                    <a:pt x="651" y="2"/>
                  </a:lnTo>
                  <a:lnTo>
                    <a:pt x="651" y="7"/>
                  </a:lnTo>
                  <a:lnTo>
                    <a:pt x="649" y="12"/>
                  </a:lnTo>
                  <a:lnTo>
                    <a:pt x="643" y="20"/>
                  </a:lnTo>
                  <a:lnTo>
                    <a:pt x="634" y="29"/>
                  </a:lnTo>
                  <a:lnTo>
                    <a:pt x="601" y="66"/>
                  </a:lnTo>
                  <a:lnTo>
                    <a:pt x="547" y="131"/>
                  </a:lnTo>
                  <a:lnTo>
                    <a:pt x="515" y="172"/>
                  </a:lnTo>
                  <a:lnTo>
                    <a:pt x="483" y="216"/>
                  </a:lnTo>
                  <a:lnTo>
                    <a:pt x="450" y="264"/>
                  </a:lnTo>
                  <a:lnTo>
                    <a:pt x="419" y="312"/>
                  </a:lnTo>
                  <a:lnTo>
                    <a:pt x="389" y="358"/>
                  </a:lnTo>
                  <a:lnTo>
                    <a:pt x="361" y="398"/>
                  </a:lnTo>
                  <a:lnTo>
                    <a:pt x="333" y="432"/>
                  </a:lnTo>
                  <a:lnTo>
                    <a:pt x="307" y="461"/>
                  </a:lnTo>
                  <a:lnTo>
                    <a:pt x="281" y="486"/>
                  </a:lnTo>
                  <a:lnTo>
                    <a:pt x="252" y="508"/>
                  </a:lnTo>
                  <a:lnTo>
                    <a:pt x="224" y="526"/>
                  </a:lnTo>
                  <a:lnTo>
                    <a:pt x="192" y="543"/>
                  </a:lnTo>
                  <a:lnTo>
                    <a:pt x="131" y="574"/>
                  </a:lnTo>
                  <a:lnTo>
                    <a:pt x="82" y="605"/>
                  </a:lnTo>
                  <a:lnTo>
                    <a:pt x="45" y="632"/>
                  </a:lnTo>
                  <a:lnTo>
                    <a:pt x="33" y="644"/>
                  </a:lnTo>
                  <a:lnTo>
                    <a:pt x="24" y="654"/>
                  </a:lnTo>
                  <a:lnTo>
                    <a:pt x="18" y="663"/>
                  </a:lnTo>
                  <a:lnTo>
                    <a:pt x="12" y="668"/>
                  </a:lnTo>
                  <a:lnTo>
                    <a:pt x="6" y="670"/>
                  </a:lnTo>
                  <a:lnTo>
                    <a:pt x="3" y="669"/>
                  </a:lnTo>
                  <a:lnTo>
                    <a:pt x="1" y="665"/>
                  </a:lnTo>
                  <a:lnTo>
                    <a:pt x="0" y="658"/>
                  </a:lnTo>
                  <a:lnTo>
                    <a:pt x="1" y="649"/>
                  </a:lnTo>
                  <a:lnTo>
                    <a:pt x="4" y="636"/>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35" name="Freeform 46"/>
            <p:cNvSpPr>
              <a:spLocks/>
            </p:cNvSpPr>
            <p:nvPr/>
          </p:nvSpPr>
          <p:spPr bwMode="auto">
            <a:xfrm>
              <a:off x="389" y="469"/>
              <a:ext cx="152" cy="38"/>
            </a:xfrm>
            <a:custGeom>
              <a:avLst/>
              <a:gdLst/>
              <a:ahLst/>
              <a:cxnLst>
                <a:cxn ang="0">
                  <a:pos x="17" y="593"/>
                </a:cxn>
                <a:cxn ang="0">
                  <a:pos x="97" y="513"/>
                </a:cxn>
                <a:cxn ang="0">
                  <a:pos x="181" y="436"/>
                </a:cxn>
                <a:cxn ang="0">
                  <a:pos x="287" y="349"/>
                </a:cxn>
                <a:cxn ang="0">
                  <a:pos x="409" y="263"/>
                </a:cxn>
                <a:cxn ang="0">
                  <a:pos x="546" y="183"/>
                </a:cxn>
                <a:cxn ang="0">
                  <a:pos x="654" y="134"/>
                </a:cxn>
                <a:cxn ang="0">
                  <a:pos x="729" y="107"/>
                </a:cxn>
                <a:cxn ang="0">
                  <a:pos x="895" y="63"/>
                </a:cxn>
                <a:cxn ang="0">
                  <a:pos x="1060" y="26"/>
                </a:cxn>
                <a:cxn ang="0">
                  <a:pos x="1159" y="9"/>
                </a:cxn>
                <a:cxn ang="0">
                  <a:pos x="1255" y="1"/>
                </a:cxn>
                <a:cxn ang="0">
                  <a:pos x="1351" y="0"/>
                </a:cxn>
                <a:cxn ang="0">
                  <a:pos x="1452" y="8"/>
                </a:cxn>
                <a:cxn ang="0">
                  <a:pos x="1561" y="24"/>
                </a:cxn>
                <a:cxn ang="0">
                  <a:pos x="1745" y="64"/>
                </a:cxn>
                <a:cxn ang="0">
                  <a:pos x="1984" y="119"/>
                </a:cxn>
                <a:cxn ang="0">
                  <a:pos x="2101" y="140"/>
                </a:cxn>
                <a:cxn ang="0">
                  <a:pos x="2216" y="154"/>
                </a:cxn>
                <a:cxn ang="0">
                  <a:pos x="2328" y="156"/>
                </a:cxn>
                <a:cxn ang="0">
                  <a:pos x="2440" y="143"/>
                </a:cxn>
                <a:cxn ang="0">
                  <a:pos x="2548" y="114"/>
                </a:cxn>
                <a:cxn ang="0">
                  <a:pos x="2572" y="109"/>
                </a:cxn>
                <a:cxn ang="0">
                  <a:pos x="2581" y="115"/>
                </a:cxn>
                <a:cxn ang="0">
                  <a:pos x="2577" y="126"/>
                </a:cxn>
                <a:cxn ang="0">
                  <a:pos x="2550" y="158"/>
                </a:cxn>
                <a:cxn ang="0">
                  <a:pos x="2494" y="212"/>
                </a:cxn>
                <a:cxn ang="0">
                  <a:pos x="2431" y="257"/>
                </a:cxn>
                <a:cxn ang="0">
                  <a:pos x="2351" y="289"/>
                </a:cxn>
                <a:cxn ang="0">
                  <a:pos x="2243" y="322"/>
                </a:cxn>
                <a:cxn ang="0">
                  <a:pos x="2117" y="349"/>
                </a:cxn>
                <a:cxn ang="0">
                  <a:pos x="1987" y="369"/>
                </a:cxn>
                <a:cxn ang="0">
                  <a:pos x="1875" y="378"/>
                </a:cxn>
                <a:cxn ang="0">
                  <a:pos x="1758" y="368"/>
                </a:cxn>
                <a:cxn ang="0">
                  <a:pos x="1614" y="336"/>
                </a:cxn>
                <a:cxn ang="0">
                  <a:pos x="1434" y="279"/>
                </a:cxn>
                <a:cxn ang="0">
                  <a:pos x="1280" y="222"/>
                </a:cxn>
                <a:cxn ang="0">
                  <a:pos x="1177" y="187"/>
                </a:cxn>
                <a:cxn ang="0">
                  <a:pos x="1107" y="169"/>
                </a:cxn>
                <a:cxn ang="0">
                  <a:pos x="1031" y="157"/>
                </a:cxn>
                <a:cxn ang="0">
                  <a:pos x="948" y="149"/>
                </a:cxn>
                <a:cxn ang="0">
                  <a:pos x="853" y="149"/>
                </a:cxn>
                <a:cxn ang="0">
                  <a:pos x="768" y="158"/>
                </a:cxn>
                <a:cxn ang="0">
                  <a:pos x="693" y="178"/>
                </a:cxn>
                <a:cxn ang="0">
                  <a:pos x="622" y="211"/>
                </a:cxn>
                <a:cxn ang="0">
                  <a:pos x="544" y="265"/>
                </a:cxn>
                <a:cxn ang="0">
                  <a:pos x="453" y="340"/>
                </a:cxn>
                <a:cxn ang="0">
                  <a:pos x="279" y="500"/>
                </a:cxn>
                <a:cxn ang="0">
                  <a:pos x="33" y="620"/>
                </a:cxn>
              </a:cxnLst>
              <a:rect l="0" t="0" r="r" b="b"/>
              <a:pathLst>
                <a:path w="2581" h="645">
                  <a:moveTo>
                    <a:pt x="0" y="610"/>
                  </a:moveTo>
                  <a:lnTo>
                    <a:pt x="17" y="593"/>
                  </a:lnTo>
                  <a:lnTo>
                    <a:pt x="63" y="545"/>
                  </a:lnTo>
                  <a:lnTo>
                    <a:pt x="97" y="513"/>
                  </a:lnTo>
                  <a:lnTo>
                    <a:pt x="136" y="476"/>
                  </a:lnTo>
                  <a:lnTo>
                    <a:pt x="181" y="436"/>
                  </a:lnTo>
                  <a:lnTo>
                    <a:pt x="231" y="394"/>
                  </a:lnTo>
                  <a:lnTo>
                    <a:pt x="287" y="349"/>
                  </a:lnTo>
                  <a:lnTo>
                    <a:pt x="346" y="306"/>
                  </a:lnTo>
                  <a:lnTo>
                    <a:pt x="409" y="263"/>
                  </a:lnTo>
                  <a:lnTo>
                    <a:pt x="476" y="222"/>
                  </a:lnTo>
                  <a:lnTo>
                    <a:pt x="546" y="183"/>
                  </a:lnTo>
                  <a:lnTo>
                    <a:pt x="617" y="149"/>
                  </a:lnTo>
                  <a:lnTo>
                    <a:pt x="654" y="134"/>
                  </a:lnTo>
                  <a:lnTo>
                    <a:pt x="691" y="120"/>
                  </a:lnTo>
                  <a:lnTo>
                    <a:pt x="729" y="107"/>
                  </a:lnTo>
                  <a:lnTo>
                    <a:pt x="767" y="97"/>
                  </a:lnTo>
                  <a:lnTo>
                    <a:pt x="895" y="63"/>
                  </a:lnTo>
                  <a:lnTo>
                    <a:pt x="1009" y="37"/>
                  </a:lnTo>
                  <a:lnTo>
                    <a:pt x="1060" y="26"/>
                  </a:lnTo>
                  <a:lnTo>
                    <a:pt x="1111" y="17"/>
                  </a:lnTo>
                  <a:lnTo>
                    <a:pt x="1159" y="9"/>
                  </a:lnTo>
                  <a:lnTo>
                    <a:pt x="1208" y="4"/>
                  </a:lnTo>
                  <a:lnTo>
                    <a:pt x="1255" y="1"/>
                  </a:lnTo>
                  <a:lnTo>
                    <a:pt x="1302" y="0"/>
                  </a:lnTo>
                  <a:lnTo>
                    <a:pt x="1351" y="0"/>
                  </a:lnTo>
                  <a:lnTo>
                    <a:pt x="1400" y="3"/>
                  </a:lnTo>
                  <a:lnTo>
                    <a:pt x="1452" y="8"/>
                  </a:lnTo>
                  <a:lnTo>
                    <a:pt x="1505" y="15"/>
                  </a:lnTo>
                  <a:lnTo>
                    <a:pt x="1561" y="24"/>
                  </a:lnTo>
                  <a:lnTo>
                    <a:pt x="1622" y="36"/>
                  </a:lnTo>
                  <a:lnTo>
                    <a:pt x="1745" y="64"/>
                  </a:lnTo>
                  <a:lnTo>
                    <a:pt x="1866" y="92"/>
                  </a:lnTo>
                  <a:lnTo>
                    <a:pt x="1984" y="119"/>
                  </a:lnTo>
                  <a:lnTo>
                    <a:pt x="2043" y="130"/>
                  </a:lnTo>
                  <a:lnTo>
                    <a:pt x="2101" y="140"/>
                  </a:lnTo>
                  <a:lnTo>
                    <a:pt x="2159" y="147"/>
                  </a:lnTo>
                  <a:lnTo>
                    <a:pt x="2216" y="154"/>
                  </a:lnTo>
                  <a:lnTo>
                    <a:pt x="2272" y="156"/>
                  </a:lnTo>
                  <a:lnTo>
                    <a:pt x="2328" y="156"/>
                  </a:lnTo>
                  <a:lnTo>
                    <a:pt x="2384" y="151"/>
                  </a:lnTo>
                  <a:lnTo>
                    <a:pt x="2440" y="143"/>
                  </a:lnTo>
                  <a:lnTo>
                    <a:pt x="2494" y="130"/>
                  </a:lnTo>
                  <a:lnTo>
                    <a:pt x="2548" y="114"/>
                  </a:lnTo>
                  <a:lnTo>
                    <a:pt x="2566" y="109"/>
                  </a:lnTo>
                  <a:lnTo>
                    <a:pt x="2572" y="109"/>
                  </a:lnTo>
                  <a:lnTo>
                    <a:pt x="2578" y="111"/>
                  </a:lnTo>
                  <a:lnTo>
                    <a:pt x="2581" y="115"/>
                  </a:lnTo>
                  <a:lnTo>
                    <a:pt x="2580" y="120"/>
                  </a:lnTo>
                  <a:lnTo>
                    <a:pt x="2577" y="126"/>
                  </a:lnTo>
                  <a:lnTo>
                    <a:pt x="2570" y="136"/>
                  </a:lnTo>
                  <a:lnTo>
                    <a:pt x="2550" y="158"/>
                  </a:lnTo>
                  <a:lnTo>
                    <a:pt x="2525" y="184"/>
                  </a:lnTo>
                  <a:lnTo>
                    <a:pt x="2494" y="212"/>
                  </a:lnTo>
                  <a:lnTo>
                    <a:pt x="2458" y="242"/>
                  </a:lnTo>
                  <a:lnTo>
                    <a:pt x="2431" y="257"/>
                  </a:lnTo>
                  <a:lnTo>
                    <a:pt x="2396" y="274"/>
                  </a:lnTo>
                  <a:lnTo>
                    <a:pt x="2351" y="289"/>
                  </a:lnTo>
                  <a:lnTo>
                    <a:pt x="2300" y="306"/>
                  </a:lnTo>
                  <a:lnTo>
                    <a:pt x="2243" y="322"/>
                  </a:lnTo>
                  <a:lnTo>
                    <a:pt x="2181" y="337"/>
                  </a:lnTo>
                  <a:lnTo>
                    <a:pt x="2117" y="349"/>
                  </a:lnTo>
                  <a:lnTo>
                    <a:pt x="2050" y="361"/>
                  </a:lnTo>
                  <a:lnTo>
                    <a:pt x="1987" y="369"/>
                  </a:lnTo>
                  <a:lnTo>
                    <a:pt x="1929" y="376"/>
                  </a:lnTo>
                  <a:lnTo>
                    <a:pt x="1875" y="378"/>
                  </a:lnTo>
                  <a:lnTo>
                    <a:pt x="1818" y="376"/>
                  </a:lnTo>
                  <a:lnTo>
                    <a:pt x="1758" y="368"/>
                  </a:lnTo>
                  <a:lnTo>
                    <a:pt x="1692" y="356"/>
                  </a:lnTo>
                  <a:lnTo>
                    <a:pt x="1614" y="336"/>
                  </a:lnTo>
                  <a:lnTo>
                    <a:pt x="1524" y="309"/>
                  </a:lnTo>
                  <a:lnTo>
                    <a:pt x="1434" y="279"/>
                  </a:lnTo>
                  <a:lnTo>
                    <a:pt x="1353" y="249"/>
                  </a:lnTo>
                  <a:lnTo>
                    <a:pt x="1280" y="222"/>
                  </a:lnTo>
                  <a:lnTo>
                    <a:pt x="1211" y="198"/>
                  </a:lnTo>
                  <a:lnTo>
                    <a:pt x="1177" y="187"/>
                  </a:lnTo>
                  <a:lnTo>
                    <a:pt x="1142" y="178"/>
                  </a:lnTo>
                  <a:lnTo>
                    <a:pt x="1107" y="169"/>
                  </a:lnTo>
                  <a:lnTo>
                    <a:pt x="1070" y="162"/>
                  </a:lnTo>
                  <a:lnTo>
                    <a:pt x="1031" y="157"/>
                  </a:lnTo>
                  <a:lnTo>
                    <a:pt x="991" y="152"/>
                  </a:lnTo>
                  <a:lnTo>
                    <a:pt x="948" y="149"/>
                  </a:lnTo>
                  <a:lnTo>
                    <a:pt x="902" y="148"/>
                  </a:lnTo>
                  <a:lnTo>
                    <a:pt x="853" y="149"/>
                  </a:lnTo>
                  <a:lnTo>
                    <a:pt x="809" y="152"/>
                  </a:lnTo>
                  <a:lnTo>
                    <a:pt x="768" y="158"/>
                  </a:lnTo>
                  <a:lnTo>
                    <a:pt x="730" y="166"/>
                  </a:lnTo>
                  <a:lnTo>
                    <a:pt x="693" y="178"/>
                  </a:lnTo>
                  <a:lnTo>
                    <a:pt x="657" y="192"/>
                  </a:lnTo>
                  <a:lnTo>
                    <a:pt x="622" y="211"/>
                  </a:lnTo>
                  <a:lnTo>
                    <a:pt x="584" y="236"/>
                  </a:lnTo>
                  <a:lnTo>
                    <a:pt x="544" y="265"/>
                  </a:lnTo>
                  <a:lnTo>
                    <a:pt x="501" y="299"/>
                  </a:lnTo>
                  <a:lnTo>
                    <a:pt x="453" y="340"/>
                  </a:lnTo>
                  <a:lnTo>
                    <a:pt x="402" y="386"/>
                  </a:lnTo>
                  <a:lnTo>
                    <a:pt x="279" y="500"/>
                  </a:lnTo>
                  <a:lnTo>
                    <a:pt x="124" y="645"/>
                  </a:lnTo>
                  <a:lnTo>
                    <a:pt x="33" y="620"/>
                  </a:lnTo>
                  <a:lnTo>
                    <a:pt x="0" y="61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36" name="Freeform 47"/>
            <p:cNvSpPr>
              <a:spLocks/>
            </p:cNvSpPr>
            <p:nvPr/>
          </p:nvSpPr>
          <p:spPr bwMode="auto">
            <a:xfrm>
              <a:off x="494" y="422"/>
              <a:ext cx="81" cy="51"/>
            </a:xfrm>
            <a:custGeom>
              <a:avLst/>
              <a:gdLst/>
              <a:ahLst/>
              <a:cxnLst>
                <a:cxn ang="0">
                  <a:pos x="129" y="798"/>
                </a:cxn>
                <a:cxn ang="0">
                  <a:pos x="258" y="824"/>
                </a:cxn>
                <a:cxn ang="0">
                  <a:pos x="368" y="854"/>
                </a:cxn>
                <a:cxn ang="0">
                  <a:pos x="442" y="865"/>
                </a:cxn>
                <a:cxn ang="0">
                  <a:pos x="517" y="867"/>
                </a:cxn>
                <a:cxn ang="0">
                  <a:pos x="648" y="857"/>
                </a:cxn>
                <a:cxn ang="0">
                  <a:pos x="803" y="833"/>
                </a:cxn>
                <a:cxn ang="0">
                  <a:pos x="884" y="810"/>
                </a:cxn>
                <a:cxn ang="0">
                  <a:pos x="938" y="787"/>
                </a:cxn>
                <a:cxn ang="0">
                  <a:pos x="991" y="756"/>
                </a:cxn>
                <a:cxn ang="0">
                  <a:pos x="1043" y="716"/>
                </a:cxn>
                <a:cxn ang="0">
                  <a:pos x="1117" y="640"/>
                </a:cxn>
                <a:cxn ang="0">
                  <a:pos x="1214" y="530"/>
                </a:cxn>
                <a:cxn ang="0">
                  <a:pos x="1329" y="390"/>
                </a:cxn>
                <a:cxn ang="0">
                  <a:pos x="1370" y="332"/>
                </a:cxn>
                <a:cxn ang="0">
                  <a:pos x="1373" y="317"/>
                </a:cxn>
                <a:cxn ang="0">
                  <a:pos x="1368" y="314"/>
                </a:cxn>
                <a:cxn ang="0">
                  <a:pos x="1353" y="321"/>
                </a:cxn>
                <a:cxn ang="0">
                  <a:pos x="1327" y="344"/>
                </a:cxn>
                <a:cxn ang="0">
                  <a:pos x="1275" y="384"/>
                </a:cxn>
                <a:cxn ang="0">
                  <a:pos x="1191" y="432"/>
                </a:cxn>
                <a:cxn ang="0">
                  <a:pos x="1134" y="456"/>
                </a:cxn>
                <a:cxn ang="0">
                  <a:pos x="1067" y="477"/>
                </a:cxn>
                <a:cxn ang="0">
                  <a:pos x="989" y="495"/>
                </a:cxn>
                <a:cxn ang="0">
                  <a:pos x="839" y="526"/>
                </a:cxn>
                <a:cxn ang="0">
                  <a:pos x="714" y="563"/>
                </a:cxn>
                <a:cxn ang="0">
                  <a:pos x="594" y="611"/>
                </a:cxn>
                <a:cxn ang="0">
                  <a:pos x="463" y="676"/>
                </a:cxn>
                <a:cxn ang="0">
                  <a:pos x="392" y="710"/>
                </a:cxn>
                <a:cxn ang="0">
                  <a:pos x="313" y="736"/>
                </a:cxn>
                <a:cxn ang="0">
                  <a:pos x="229" y="751"/>
                </a:cxn>
                <a:cxn ang="0">
                  <a:pos x="142" y="749"/>
                </a:cxn>
                <a:cxn ang="0">
                  <a:pos x="214" y="711"/>
                </a:cxn>
                <a:cxn ang="0">
                  <a:pos x="311" y="667"/>
                </a:cxn>
                <a:cxn ang="0">
                  <a:pos x="363" y="637"/>
                </a:cxn>
                <a:cxn ang="0">
                  <a:pos x="422" y="596"/>
                </a:cxn>
                <a:cxn ang="0">
                  <a:pos x="478" y="547"/>
                </a:cxn>
                <a:cxn ang="0">
                  <a:pos x="530" y="490"/>
                </a:cxn>
                <a:cxn ang="0">
                  <a:pos x="579" y="420"/>
                </a:cxn>
                <a:cxn ang="0">
                  <a:pos x="619" y="341"/>
                </a:cxn>
                <a:cxn ang="0">
                  <a:pos x="648" y="263"/>
                </a:cxn>
                <a:cxn ang="0">
                  <a:pos x="667" y="195"/>
                </a:cxn>
                <a:cxn ang="0">
                  <a:pos x="675" y="144"/>
                </a:cxn>
                <a:cxn ang="0">
                  <a:pos x="676" y="78"/>
                </a:cxn>
                <a:cxn ang="0">
                  <a:pos x="680" y="42"/>
                </a:cxn>
                <a:cxn ang="0">
                  <a:pos x="688" y="15"/>
                </a:cxn>
                <a:cxn ang="0">
                  <a:pos x="686" y="3"/>
                </a:cxn>
                <a:cxn ang="0">
                  <a:pos x="678" y="1"/>
                </a:cxn>
                <a:cxn ang="0">
                  <a:pos x="664" y="14"/>
                </a:cxn>
                <a:cxn ang="0">
                  <a:pos x="601" y="85"/>
                </a:cxn>
                <a:cxn ang="0">
                  <a:pos x="525" y="158"/>
                </a:cxn>
                <a:cxn ang="0">
                  <a:pos x="438" y="231"/>
                </a:cxn>
                <a:cxn ang="0">
                  <a:pos x="382" y="285"/>
                </a:cxn>
                <a:cxn ang="0">
                  <a:pos x="329" y="351"/>
                </a:cxn>
                <a:cxn ang="0">
                  <a:pos x="281" y="433"/>
                </a:cxn>
                <a:cxn ang="0">
                  <a:pos x="226" y="550"/>
                </a:cxn>
                <a:cxn ang="0">
                  <a:pos x="190" y="611"/>
                </a:cxn>
                <a:cxn ang="0">
                  <a:pos x="140" y="670"/>
                </a:cxn>
                <a:cxn ang="0">
                  <a:pos x="39" y="750"/>
                </a:cxn>
                <a:cxn ang="0">
                  <a:pos x="5" y="779"/>
                </a:cxn>
                <a:cxn ang="0">
                  <a:pos x="0" y="790"/>
                </a:cxn>
                <a:cxn ang="0">
                  <a:pos x="11" y="794"/>
                </a:cxn>
                <a:cxn ang="0">
                  <a:pos x="87" y="795"/>
                </a:cxn>
              </a:cxnLst>
              <a:rect l="0" t="0" r="r" b="b"/>
              <a:pathLst>
                <a:path w="1373" h="867">
                  <a:moveTo>
                    <a:pt x="87" y="795"/>
                  </a:moveTo>
                  <a:lnTo>
                    <a:pt x="129" y="798"/>
                  </a:lnTo>
                  <a:lnTo>
                    <a:pt x="188" y="809"/>
                  </a:lnTo>
                  <a:lnTo>
                    <a:pt x="258" y="824"/>
                  </a:lnTo>
                  <a:lnTo>
                    <a:pt x="331" y="844"/>
                  </a:lnTo>
                  <a:lnTo>
                    <a:pt x="368" y="854"/>
                  </a:lnTo>
                  <a:lnTo>
                    <a:pt x="405" y="861"/>
                  </a:lnTo>
                  <a:lnTo>
                    <a:pt x="442" y="865"/>
                  </a:lnTo>
                  <a:lnTo>
                    <a:pt x="479" y="867"/>
                  </a:lnTo>
                  <a:lnTo>
                    <a:pt x="517" y="867"/>
                  </a:lnTo>
                  <a:lnTo>
                    <a:pt x="559" y="865"/>
                  </a:lnTo>
                  <a:lnTo>
                    <a:pt x="648" y="857"/>
                  </a:lnTo>
                  <a:lnTo>
                    <a:pt x="749" y="843"/>
                  </a:lnTo>
                  <a:lnTo>
                    <a:pt x="803" y="833"/>
                  </a:lnTo>
                  <a:lnTo>
                    <a:pt x="856" y="819"/>
                  </a:lnTo>
                  <a:lnTo>
                    <a:pt x="884" y="810"/>
                  </a:lnTo>
                  <a:lnTo>
                    <a:pt x="911" y="799"/>
                  </a:lnTo>
                  <a:lnTo>
                    <a:pt x="938" y="787"/>
                  </a:lnTo>
                  <a:lnTo>
                    <a:pt x="965" y="773"/>
                  </a:lnTo>
                  <a:lnTo>
                    <a:pt x="991" y="756"/>
                  </a:lnTo>
                  <a:lnTo>
                    <a:pt x="1017" y="738"/>
                  </a:lnTo>
                  <a:lnTo>
                    <a:pt x="1043" y="716"/>
                  </a:lnTo>
                  <a:lnTo>
                    <a:pt x="1068" y="693"/>
                  </a:lnTo>
                  <a:lnTo>
                    <a:pt x="1117" y="640"/>
                  </a:lnTo>
                  <a:lnTo>
                    <a:pt x="1167" y="584"/>
                  </a:lnTo>
                  <a:lnTo>
                    <a:pt x="1214" y="530"/>
                  </a:lnTo>
                  <a:lnTo>
                    <a:pt x="1258" y="477"/>
                  </a:lnTo>
                  <a:lnTo>
                    <a:pt x="1329" y="390"/>
                  </a:lnTo>
                  <a:lnTo>
                    <a:pt x="1363" y="341"/>
                  </a:lnTo>
                  <a:lnTo>
                    <a:pt x="1370" y="332"/>
                  </a:lnTo>
                  <a:lnTo>
                    <a:pt x="1373" y="323"/>
                  </a:lnTo>
                  <a:lnTo>
                    <a:pt x="1373" y="317"/>
                  </a:lnTo>
                  <a:lnTo>
                    <a:pt x="1371" y="314"/>
                  </a:lnTo>
                  <a:lnTo>
                    <a:pt x="1368" y="314"/>
                  </a:lnTo>
                  <a:lnTo>
                    <a:pt x="1361" y="316"/>
                  </a:lnTo>
                  <a:lnTo>
                    <a:pt x="1353" y="321"/>
                  </a:lnTo>
                  <a:lnTo>
                    <a:pt x="1342" y="331"/>
                  </a:lnTo>
                  <a:lnTo>
                    <a:pt x="1327" y="344"/>
                  </a:lnTo>
                  <a:lnTo>
                    <a:pt x="1305" y="362"/>
                  </a:lnTo>
                  <a:lnTo>
                    <a:pt x="1275" y="384"/>
                  </a:lnTo>
                  <a:lnTo>
                    <a:pt x="1237" y="407"/>
                  </a:lnTo>
                  <a:lnTo>
                    <a:pt x="1191" y="432"/>
                  </a:lnTo>
                  <a:lnTo>
                    <a:pt x="1164" y="444"/>
                  </a:lnTo>
                  <a:lnTo>
                    <a:pt x="1134" y="456"/>
                  </a:lnTo>
                  <a:lnTo>
                    <a:pt x="1101" y="466"/>
                  </a:lnTo>
                  <a:lnTo>
                    <a:pt x="1067" y="477"/>
                  </a:lnTo>
                  <a:lnTo>
                    <a:pt x="1030" y="486"/>
                  </a:lnTo>
                  <a:lnTo>
                    <a:pt x="989" y="495"/>
                  </a:lnTo>
                  <a:lnTo>
                    <a:pt x="911" y="511"/>
                  </a:lnTo>
                  <a:lnTo>
                    <a:pt x="839" y="526"/>
                  </a:lnTo>
                  <a:lnTo>
                    <a:pt x="775" y="543"/>
                  </a:lnTo>
                  <a:lnTo>
                    <a:pt x="714" y="563"/>
                  </a:lnTo>
                  <a:lnTo>
                    <a:pt x="654" y="584"/>
                  </a:lnTo>
                  <a:lnTo>
                    <a:pt x="594" y="611"/>
                  </a:lnTo>
                  <a:lnTo>
                    <a:pt x="531" y="640"/>
                  </a:lnTo>
                  <a:lnTo>
                    <a:pt x="463" y="676"/>
                  </a:lnTo>
                  <a:lnTo>
                    <a:pt x="429" y="694"/>
                  </a:lnTo>
                  <a:lnTo>
                    <a:pt x="392" y="710"/>
                  </a:lnTo>
                  <a:lnTo>
                    <a:pt x="353" y="724"/>
                  </a:lnTo>
                  <a:lnTo>
                    <a:pt x="313" y="736"/>
                  </a:lnTo>
                  <a:lnTo>
                    <a:pt x="272" y="745"/>
                  </a:lnTo>
                  <a:lnTo>
                    <a:pt x="229" y="751"/>
                  </a:lnTo>
                  <a:lnTo>
                    <a:pt x="186" y="752"/>
                  </a:lnTo>
                  <a:lnTo>
                    <a:pt x="142" y="749"/>
                  </a:lnTo>
                  <a:lnTo>
                    <a:pt x="182" y="726"/>
                  </a:lnTo>
                  <a:lnTo>
                    <a:pt x="214" y="711"/>
                  </a:lnTo>
                  <a:lnTo>
                    <a:pt x="266" y="687"/>
                  </a:lnTo>
                  <a:lnTo>
                    <a:pt x="311" y="667"/>
                  </a:lnTo>
                  <a:lnTo>
                    <a:pt x="335" y="654"/>
                  </a:lnTo>
                  <a:lnTo>
                    <a:pt x="363" y="637"/>
                  </a:lnTo>
                  <a:lnTo>
                    <a:pt x="392" y="618"/>
                  </a:lnTo>
                  <a:lnTo>
                    <a:pt x="422" y="596"/>
                  </a:lnTo>
                  <a:lnTo>
                    <a:pt x="450" y="573"/>
                  </a:lnTo>
                  <a:lnTo>
                    <a:pt x="478" y="547"/>
                  </a:lnTo>
                  <a:lnTo>
                    <a:pt x="504" y="520"/>
                  </a:lnTo>
                  <a:lnTo>
                    <a:pt x="530" y="490"/>
                  </a:lnTo>
                  <a:lnTo>
                    <a:pt x="554" y="457"/>
                  </a:lnTo>
                  <a:lnTo>
                    <a:pt x="579" y="420"/>
                  </a:lnTo>
                  <a:lnTo>
                    <a:pt x="600" y="381"/>
                  </a:lnTo>
                  <a:lnTo>
                    <a:pt x="619" y="341"/>
                  </a:lnTo>
                  <a:lnTo>
                    <a:pt x="634" y="302"/>
                  </a:lnTo>
                  <a:lnTo>
                    <a:pt x="648" y="263"/>
                  </a:lnTo>
                  <a:lnTo>
                    <a:pt x="658" y="227"/>
                  </a:lnTo>
                  <a:lnTo>
                    <a:pt x="667" y="195"/>
                  </a:lnTo>
                  <a:lnTo>
                    <a:pt x="672" y="166"/>
                  </a:lnTo>
                  <a:lnTo>
                    <a:pt x="675" y="144"/>
                  </a:lnTo>
                  <a:lnTo>
                    <a:pt x="677" y="107"/>
                  </a:lnTo>
                  <a:lnTo>
                    <a:pt x="676" y="78"/>
                  </a:lnTo>
                  <a:lnTo>
                    <a:pt x="677" y="54"/>
                  </a:lnTo>
                  <a:lnTo>
                    <a:pt x="680" y="42"/>
                  </a:lnTo>
                  <a:lnTo>
                    <a:pt x="683" y="33"/>
                  </a:lnTo>
                  <a:lnTo>
                    <a:pt x="688" y="15"/>
                  </a:lnTo>
                  <a:lnTo>
                    <a:pt x="688" y="7"/>
                  </a:lnTo>
                  <a:lnTo>
                    <a:pt x="686" y="3"/>
                  </a:lnTo>
                  <a:lnTo>
                    <a:pt x="684" y="0"/>
                  </a:lnTo>
                  <a:lnTo>
                    <a:pt x="678" y="1"/>
                  </a:lnTo>
                  <a:lnTo>
                    <a:pt x="672" y="5"/>
                  </a:lnTo>
                  <a:lnTo>
                    <a:pt x="664" y="14"/>
                  </a:lnTo>
                  <a:lnTo>
                    <a:pt x="638" y="44"/>
                  </a:lnTo>
                  <a:lnTo>
                    <a:pt x="601" y="85"/>
                  </a:lnTo>
                  <a:lnTo>
                    <a:pt x="552" y="134"/>
                  </a:lnTo>
                  <a:lnTo>
                    <a:pt x="525" y="158"/>
                  </a:lnTo>
                  <a:lnTo>
                    <a:pt x="496" y="182"/>
                  </a:lnTo>
                  <a:lnTo>
                    <a:pt x="438" y="231"/>
                  </a:lnTo>
                  <a:lnTo>
                    <a:pt x="410" y="257"/>
                  </a:lnTo>
                  <a:lnTo>
                    <a:pt x="382" y="285"/>
                  </a:lnTo>
                  <a:lnTo>
                    <a:pt x="355" y="316"/>
                  </a:lnTo>
                  <a:lnTo>
                    <a:pt x="329" y="351"/>
                  </a:lnTo>
                  <a:lnTo>
                    <a:pt x="305" y="388"/>
                  </a:lnTo>
                  <a:lnTo>
                    <a:pt x="281" y="433"/>
                  </a:lnTo>
                  <a:lnTo>
                    <a:pt x="242" y="515"/>
                  </a:lnTo>
                  <a:lnTo>
                    <a:pt x="226" y="550"/>
                  </a:lnTo>
                  <a:lnTo>
                    <a:pt x="209" y="581"/>
                  </a:lnTo>
                  <a:lnTo>
                    <a:pt x="190" y="611"/>
                  </a:lnTo>
                  <a:lnTo>
                    <a:pt x="168" y="640"/>
                  </a:lnTo>
                  <a:lnTo>
                    <a:pt x="140" y="670"/>
                  </a:lnTo>
                  <a:lnTo>
                    <a:pt x="103" y="700"/>
                  </a:lnTo>
                  <a:lnTo>
                    <a:pt x="39" y="750"/>
                  </a:lnTo>
                  <a:lnTo>
                    <a:pt x="18" y="766"/>
                  </a:lnTo>
                  <a:lnTo>
                    <a:pt x="5" y="779"/>
                  </a:lnTo>
                  <a:lnTo>
                    <a:pt x="0" y="786"/>
                  </a:lnTo>
                  <a:lnTo>
                    <a:pt x="0" y="790"/>
                  </a:lnTo>
                  <a:lnTo>
                    <a:pt x="2" y="792"/>
                  </a:lnTo>
                  <a:lnTo>
                    <a:pt x="11" y="794"/>
                  </a:lnTo>
                  <a:lnTo>
                    <a:pt x="28" y="795"/>
                  </a:lnTo>
                  <a:lnTo>
                    <a:pt x="87" y="795"/>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37" name="Freeform 48"/>
            <p:cNvSpPr>
              <a:spLocks/>
            </p:cNvSpPr>
            <p:nvPr/>
          </p:nvSpPr>
          <p:spPr bwMode="auto">
            <a:xfrm>
              <a:off x="533" y="393"/>
              <a:ext cx="62" cy="59"/>
            </a:xfrm>
            <a:custGeom>
              <a:avLst/>
              <a:gdLst/>
              <a:ahLst/>
              <a:cxnLst>
                <a:cxn ang="0">
                  <a:pos x="219" y="921"/>
                </a:cxn>
                <a:cxn ang="0">
                  <a:pos x="461" y="837"/>
                </a:cxn>
                <a:cxn ang="0">
                  <a:pos x="561" y="792"/>
                </a:cxn>
                <a:cxn ang="0">
                  <a:pos x="645" y="744"/>
                </a:cxn>
                <a:cxn ang="0">
                  <a:pos x="702" y="703"/>
                </a:cxn>
                <a:cxn ang="0">
                  <a:pos x="755" y="653"/>
                </a:cxn>
                <a:cxn ang="0">
                  <a:pos x="805" y="594"/>
                </a:cxn>
                <a:cxn ang="0">
                  <a:pos x="848" y="526"/>
                </a:cxn>
                <a:cxn ang="0">
                  <a:pos x="931" y="342"/>
                </a:cxn>
                <a:cxn ang="0">
                  <a:pos x="1005" y="174"/>
                </a:cxn>
                <a:cxn ang="0">
                  <a:pos x="1033" y="100"/>
                </a:cxn>
                <a:cxn ang="0">
                  <a:pos x="1044" y="41"/>
                </a:cxn>
                <a:cxn ang="0">
                  <a:pos x="1042" y="13"/>
                </a:cxn>
                <a:cxn ang="0">
                  <a:pos x="1035" y="3"/>
                </a:cxn>
                <a:cxn ang="0">
                  <a:pos x="1028" y="1"/>
                </a:cxn>
                <a:cxn ang="0">
                  <a:pos x="995" y="48"/>
                </a:cxn>
                <a:cxn ang="0">
                  <a:pos x="892" y="190"/>
                </a:cxn>
                <a:cxn ang="0">
                  <a:pos x="807" y="289"/>
                </a:cxn>
                <a:cxn ang="0">
                  <a:pos x="766" y="328"/>
                </a:cxn>
                <a:cxn ang="0">
                  <a:pos x="682" y="393"/>
                </a:cxn>
                <a:cxn ang="0">
                  <a:pos x="515" y="511"/>
                </a:cxn>
                <a:cxn ang="0">
                  <a:pos x="448" y="564"/>
                </a:cxn>
                <a:cxn ang="0">
                  <a:pos x="337" y="671"/>
                </a:cxn>
                <a:cxn ang="0">
                  <a:pos x="211" y="801"/>
                </a:cxn>
                <a:cxn ang="0">
                  <a:pos x="170" y="837"/>
                </a:cxn>
                <a:cxn ang="0">
                  <a:pos x="129" y="863"/>
                </a:cxn>
                <a:cxn ang="0">
                  <a:pos x="178" y="780"/>
                </a:cxn>
                <a:cxn ang="0">
                  <a:pos x="310" y="580"/>
                </a:cxn>
                <a:cxn ang="0">
                  <a:pos x="343" y="522"/>
                </a:cxn>
                <a:cxn ang="0">
                  <a:pos x="366" y="457"/>
                </a:cxn>
                <a:cxn ang="0">
                  <a:pos x="375" y="402"/>
                </a:cxn>
                <a:cxn ang="0">
                  <a:pos x="372" y="192"/>
                </a:cxn>
                <a:cxn ang="0">
                  <a:pos x="366" y="52"/>
                </a:cxn>
                <a:cxn ang="0">
                  <a:pos x="362" y="45"/>
                </a:cxn>
                <a:cxn ang="0">
                  <a:pos x="356" y="47"/>
                </a:cxn>
                <a:cxn ang="0">
                  <a:pos x="319" y="91"/>
                </a:cxn>
                <a:cxn ang="0">
                  <a:pos x="254" y="180"/>
                </a:cxn>
                <a:cxn ang="0">
                  <a:pos x="205" y="254"/>
                </a:cxn>
                <a:cxn ang="0">
                  <a:pos x="164" y="333"/>
                </a:cxn>
                <a:cxn ang="0">
                  <a:pos x="133" y="413"/>
                </a:cxn>
                <a:cxn ang="0">
                  <a:pos x="110" y="486"/>
                </a:cxn>
                <a:cxn ang="0">
                  <a:pos x="99" y="543"/>
                </a:cxn>
                <a:cxn ang="0">
                  <a:pos x="96" y="644"/>
                </a:cxn>
                <a:cxn ang="0">
                  <a:pos x="86" y="730"/>
                </a:cxn>
                <a:cxn ang="0">
                  <a:pos x="51" y="850"/>
                </a:cxn>
                <a:cxn ang="0">
                  <a:pos x="9" y="963"/>
                </a:cxn>
                <a:cxn ang="0">
                  <a:pos x="0" y="989"/>
                </a:cxn>
                <a:cxn ang="0">
                  <a:pos x="6" y="991"/>
                </a:cxn>
                <a:cxn ang="0">
                  <a:pos x="40" y="979"/>
                </a:cxn>
              </a:cxnLst>
              <a:rect l="0" t="0" r="r" b="b"/>
              <a:pathLst>
                <a:path w="1044" h="991">
                  <a:moveTo>
                    <a:pt x="40" y="979"/>
                  </a:moveTo>
                  <a:lnTo>
                    <a:pt x="219" y="921"/>
                  </a:lnTo>
                  <a:lnTo>
                    <a:pt x="350" y="877"/>
                  </a:lnTo>
                  <a:lnTo>
                    <a:pt x="461" y="837"/>
                  </a:lnTo>
                  <a:lnTo>
                    <a:pt x="508" y="818"/>
                  </a:lnTo>
                  <a:lnTo>
                    <a:pt x="561" y="792"/>
                  </a:lnTo>
                  <a:lnTo>
                    <a:pt x="617" y="762"/>
                  </a:lnTo>
                  <a:lnTo>
                    <a:pt x="645" y="744"/>
                  </a:lnTo>
                  <a:lnTo>
                    <a:pt x="673" y="724"/>
                  </a:lnTo>
                  <a:lnTo>
                    <a:pt x="702" y="703"/>
                  </a:lnTo>
                  <a:lnTo>
                    <a:pt x="729" y="679"/>
                  </a:lnTo>
                  <a:lnTo>
                    <a:pt x="755" y="653"/>
                  </a:lnTo>
                  <a:lnTo>
                    <a:pt x="781" y="625"/>
                  </a:lnTo>
                  <a:lnTo>
                    <a:pt x="805" y="594"/>
                  </a:lnTo>
                  <a:lnTo>
                    <a:pt x="828" y="562"/>
                  </a:lnTo>
                  <a:lnTo>
                    <a:pt x="848" y="526"/>
                  </a:lnTo>
                  <a:lnTo>
                    <a:pt x="867" y="488"/>
                  </a:lnTo>
                  <a:lnTo>
                    <a:pt x="931" y="342"/>
                  </a:lnTo>
                  <a:lnTo>
                    <a:pt x="985" y="224"/>
                  </a:lnTo>
                  <a:lnTo>
                    <a:pt x="1005" y="174"/>
                  </a:lnTo>
                  <a:lnTo>
                    <a:pt x="1022" y="133"/>
                  </a:lnTo>
                  <a:lnTo>
                    <a:pt x="1033" y="100"/>
                  </a:lnTo>
                  <a:lnTo>
                    <a:pt x="1040" y="74"/>
                  </a:lnTo>
                  <a:lnTo>
                    <a:pt x="1044" y="41"/>
                  </a:lnTo>
                  <a:lnTo>
                    <a:pt x="1044" y="23"/>
                  </a:lnTo>
                  <a:lnTo>
                    <a:pt x="1042" y="13"/>
                  </a:lnTo>
                  <a:lnTo>
                    <a:pt x="1038" y="7"/>
                  </a:lnTo>
                  <a:lnTo>
                    <a:pt x="1035" y="3"/>
                  </a:lnTo>
                  <a:lnTo>
                    <a:pt x="1032" y="0"/>
                  </a:lnTo>
                  <a:lnTo>
                    <a:pt x="1028" y="1"/>
                  </a:lnTo>
                  <a:lnTo>
                    <a:pt x="1024" y="6"/>
                  </a:lnTo>
                  <a:lnTo>
                    <a:pt x="995" y="48"/>
                  </a:lnTo>
                  <a:lnTo>
                    <a:pt x="932" y="138"/>
                  </a:lnTo>
                  <a:lnTo>
                    <a:pt x="892" y="190"/>
                  </a:lnTo>
                  <a:lnTo>
                    <a:pt x="850" y="242"/>
                  </a:lnTo>
                  <a:lnTo>
                    <a:pt x="807" y="289"/>
                  </a:lnTo>
                  <a:lnTo>
                    <a:pt x="786" y="310"/>
                  </a:lnTo>
                  <a:lnTo>
                    <a:pt x="766" y="328"/>
                  </a:lnTo>
                  <a:lnTo>
                    <a:pt x="725" y="362"/>
                  </a:lnTo>
                  <a:lnTo>
                    <a:pt x="682" y="393"/>
                  </a:lnTo>
                  <a:lnTo>
                    <a:pt x="596" y="454"/>
                  </a:lnTo>
                  <a:lnTo>
                    <a:pt x="515" y="511"/>
                  </a:lnTo>
                  <a:lnTo>
                    <a:pt x="479" y="539"/>
                  </a:lnTo>
                  <a:lnTo>
                    <a:pt x="448" y="564"/>
                  </a:lnTo>
                  <a:lnTo>
                    <a:pt x="392" y="617"/>
                  </a:lnTo>
                  <a:lnTo>
                    <a:pt x="337" y="671"/>
                  </a:lnTo>
                  <a:lnTo>
                    <a:pt x="235" y="778"/>
                  </a:lnTo>
                  <a:lnTo>
                    <a:pt x="211" y="801"/>
                  </a:lnTo>
                  <a:lnTo>
                    <a:pt x="189" y="821"/>
                  </a:lnTo>
                  <a:lnTo>
                    <a:pt x="170" y="837"/>
                  </a:lnTo>
                  <a:lnTo>
                    <a:pt x="154" y="848"/>
                  </a:lnTo>
                  <a:lnTo>
                    <a:pt x="129" y="863"/>
                  </a:lnTo>
                  <a:lnTo>
                    <a:pt x="121" y="867"/>
                  </a:lnTo>
                  <a:lnTo>
                    <a:pt x="178" y="780"/>
                  </a:lnTo>
                  <a:lnTo>
                    <a:pt x="273" y="636"/>
                  </a:lnTo>
                  <a:lnTo>
                    <a:pt x="310" y="580"/>
                  </a:lnTo>
                  <a:lnTo>
                    <a:pt x="327" y="551"/>
                  </a:lnTo>
                  <a:lnTo>
                    <a:pt x="343" y="522"/>
                  </a:lnTo>
                  <a:lnTo>
                    <a:pt x="357" y="490"/>
                  </a:lnTo>
                  <a:lnTo>
                    <a:pt x="366" y="457"/>
                  </a:lnTo>
                  <a:lnTo>
                    <a:pt x="372" y="421"/>
                  </a:lnTo>
                  <a:lnTo>
                    <a:pt x="375" y="402"/>
                  </a:lnTo>
                  <a:lnTo>
                    <a:pt x="376" y="382"/>
                  </a:lnTo>
                  <a:lnTo>
                    <a:pt x="372" y="192"/>
                  </a:lnTo>
                  <a:lnTo>
                    <a:pt x="368" y="67"/>
                  </a:lnTo>
                  <a:lnTo>
                    <a:pt x="366" y="52"/>
                  </a:lnTo>
                  <a:lnTo>
                    <a:pt x="364" y="47"/>
                  </a:lnTo>
                  <a:lnTo>
                    <a:pt x="362" y="45"/>
                  </a:lnTo>
                  <a:lnTo>
                    <a:pt x="359" y="45"/>
                  </a:lnTo>
                  <a:lnTo>
                    <a:pt x="356" y="47"/>
                  </a:lnTo>
                  <a:lnTo>
                    <a:pt x="344" y="60"/>
                  </a:lnTo>
                  <a:lnTo>
                    <a:pt x="319" y="91"/>
                  </a:lnTo>
                  <a:lnTo>
                    <a:pt x="278" y="146"/>
                  </a:lnTo>
                  <a:lnTo>
                    <a:pt x="254" y="180"/>
                  </a:lnTo>
                  <a:lnTo>
                    <a:pt x="229" y="215"/>
                  </a:lnTo>
                  <a:lnTo>
                    <a:pt x="205" y="254"/>
                  </a:lnTo>
                  <a:lnTo>
                    <a:pt x="183" y="293"/>
                  </a:lnTo>
                  <a:lnTo>
                    <a:pt x="164" y="333"/>
                  </a:lnTo>
                  <a:lnTo>
                    <a:pt x="146" y="374"/>
                  </a:lnTo>
                  <a:lnTo>
                    <a:pt x="133" y="413"/>
                  </a:lnTo>
                  <a:lnTo>
                    <a:pt x="120" y="451"/>
                  </a:lnTo>
                  <a:lnTo>
                    <a:pt x="110" y="486"/>
                  </a:lnTo>
                  <a:lnTo>
                    <a:pt x="103" y="517"/>
                  </a:lnTo>
                  <a:lnTo>
                    <a:pt x="99" y="543"/>
                  </a:lnTo>
                  <a:lnTo>
                    <a:pt x="98" y="563"/>
                  </a:lnTo>
                  <a:lnTo>
                    <a:pt x="96" y="644"/>
                  </a:lnTo>
                  <a:lnTo>
                    <a:pt x="93" y="689"/>
                  </a:lnTo>
                  <a:lnTo>
                    <a:pt x="86" y="730"/>
                  </a:lnTo>
                  <a:lnTo>
                    <a:pt x="73" y="782"/>
                  </a:lnTo>
                  <a:lnTo>
                    <a:pt x="51" y="850"/>
                  </a:lnTo>
                  <a:lnTo>
                    <a:pt x="28" y="917"/>
                  </a:lnTo>
                  <a:lnTo>
                    <a:pt x="9" y="963"/>
                  </a:lnTo>
                  <a:lnTo>
                    <a:pt x="1" y="984"/>
                  </a:lnTo>
                  <a:lnTo>
                    <a:pt x="0" y="989"/>
                  </a:lnTo>
                  <a:lnTo>
                    <a:pt x="2" y="991"/>
                  </a:lnTo>
                  <a:lnTo>
                    <a:pt x="6" y="991"/>
                  </a:lnTo>
                  <a:lnTo>
                    <a:pt x="15" y="989"/>
                  </a:lnTo>
                  <a:lnTo>
                    <a:pt x="40" y="979"/>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38" name="Freeform 49"/>
            <p:cNvSpPr>
              <a:spLocks/>
            </p:cNvSpPr>
            <p:nvPr/>
          </p:nvSpPr>
          <p:spPr bwMode="auto">
            <a:xfrm>
              <a:off x="562" y="391"/>
              <a:ext cx="28" cy="25"/>
            </a:xfrm>
            <a:custGeom>
              <a:avLst/>
              <a:gdLst/>
              <a:ahLst/>
              <a:cxnLst>
                <a:cxn ang="0">
                  <a:pos x="479" y="0"/>
                </a:cxn>
                <a:cxn ang="0">
                  <a:pos x="415" y="72"/>
                </a:cxn>
                <a:cxn ang="0">
                  <a:pos x="354" y="137"/>
                </a:cxn>
                <a:cxn ang="0">
                  <a:pos x="321" y="170"/>
                </a:cxn>
                <a:cxn ang="0">
                  <a:pos x="290" y="199"/>
                </a:cxn>
                <a:cxn ang="0">
                  <a:pos x="221" y="264"/>
                </a:cxn>
                <a:cxn ang="0">
                  <a:pos x="145" y="331"/>
                </a:cxn>
                <a:cxn ang="0">
                  <a:pos x="81" y="388"/>
                </a:cxn>
                <a:cxn ang="0">
                  <a:pos x="49" y="419"/>
                </a:cxn>
                <a:cxn ang="0">
                  <a:pos x="40" y="428"/>
                </a:cxn>
                <a:cxn ang="0">
                  <a:pos x="36" y="429"/>
                </a:cxn>
                <a:cxn ang="0">
                  <a:pos x="34" y="429"/>
                </a:cxn>
                <a:cxn ang="0">
                  <a:pos x="31" y="426"/>
                </a:cxn>
                <a:cxn ang="0">
                  <a:pos x="30" y="420"/>
                </a:cxn>
                <a:cxn ang="0">
                  <a:pos x="27" y="407"/>
                </a:cxn>
                <a:cxn ang="0">
                  <a:pos x="22" y="301"/>
                </a:cxn>
                <a:cxn ang="0">
                  <a:pos x="18" y="226"/>
                </a:cxn>
                <a:cxn ang="0">
                  <a:pos x="11" y="159"/>
                </a:cxn>
                <a:cxn ang="0">
                  <a:pos x="4" y="104"/>
                </a:cxn>
                <a:cxn ang="0">
                  <a:pos x="1" y="53"/>
                </a:cxn>
                <a:cxn ang="0">
                  <a:pos x="0" y="0"/>
                </a:cxn>
                <a:cxn ang="0">
                  <a:pos x="174" y="0"/>
                </a:cxn>
                <a:cxn ang="0">
                  <a:pos x="151" y="61"/>
                </a:cxn>
                <a:cxn ang="0">
                  <a:pos x="133" y="114"/>
                </a:cxn>
                <a:cxn ang="0">
                  <a:pos x="119" y="159"/>
                </a:cxn>
                <a:cxn ang="0">
                  <a:pos x="112" y="192"/>
                </a:cxn>
                <a:cxn ang="0">
                  <a:pos x="108" y="214"/>
                </a:cxn>
                <a:cxn ang="0">
                  <a:pos x="107" y="231"/>
                </a:cxn>
                <a:cxn ang="0">
                  <a:pos x="113" y="225"/>
                </a:cxn>
                <a:cxn ang="0">
                  <a:pos x="127" y="204"/>
                </a:cxn>
                <a:cxn ang="0">
                  <a:pos x="149" y="166"/>
                </a:cxn>
                <a:cxn ang="0">
                  <a:pos x="163" y="138"/>
                </a:cxn>
                <a:cxn ang="0">
                  <a:pos x="177" y="107"/>
                </a:cxn>
                <a:cxn ang="0">
                  <a:pos x="213" y="18"/>
                </a:cxn>
                <a:cxn ang="0">
                  <a:pos x="219" y="0"/>
                </a:cxn>
                <a:cxn ang="0">
                  <a:pos x="479" y="0"/>
                </a:cxn>
              </a:cxnLst>
              <a:rect l="0" t="0" r="r" b="b"/>
              <a:pathLst>
                <a:path w="479" h="429">
                  <a:moveTo>
                    <a:pt x="479" y="0"/>
                  </a:moveTo>
                  <a:lnTo>
                    <a:pt x="415" y="72"/>
                  </a:lnTo>
                  <a:lnTo>
                    <a:pt x="354" y="137"/>
                  </a:lnTo>
                  <a:lnTo>
                    <a:pt x="321" y="170"/>
                  </a:lnTo>
                  <a:lnTo>
                    <a:pt x="290" y="199"/>
                  </a:lnTo>
                  <a:lnTo>
                    <a:pt x="221" y="264"/>
                  </a:lnTo>
                  <a:lnTo>
                    <a:pt x="145" y="331"/>
                  </a:lnTo>
                  <a:lnTo>
                    <a:pt x="81" y="388"/>
                  </a:lnTo>
                  <a:lnTo>
                    <a:pt x="49" y="419"/>
                  </a:lnTo>
                  <a:lnTo>
                    <a:pt x="40" y="428"/>
                  </a:lnTo>
                  <a:lnTo>
                    <a:pt x="36" y="429"/>
                  </a:lnTo>
                  <a:lnTo>
                    <a:pt x="34" y="429"/>
                  </a:lnTo>
                  <a:lnTo>
                    <a:pt x="31" y="426"/>
                  </a:lnTo>
                  <a:lnTo>
                    <a:pt x="30" y="420"/>
                  </a:lnTo>
                  <a:lnTo>
                    <a:pt x="27" y="407"/>
                  </a:lnTo>
                  <a:lnTo>
                    <a:pt x="22" y="301"/>
                  </a:lnTo>
                  <a:lnTo>
                    <a:pt x="18" y="226"/>
                  </a:lnTo>
                  <a:lnTo>
                    <a:pt x="11" y="159"/>
                  </a:lnTo>
                  <a:lnTo>
                    <a:pt x="4" y="104"/>
                  </a:lnTo>
                  <a:lnTo>
                    <a:pt x="1" y="53"/>
                  </a:lnTo>
                  <a:lnTo>
                    <a:pt x="0" y="0"/>
                  </a:lnTo>
                  <a:lnTo>
                    <a:pt x="174" y="0"/>
                  </a:lnTo>
                  <a:lnTo>
                    <a:pt x="151" y="61"/>
                  </a:lnTo>
                  <a:lnTo>
                    <a:pt x="133" y="114"/>
                  </a:lnTo>
                  <a:lnTo>
                    <a:pt x="119" y="159"/>
                  </a:lnTo>
                  <a:lnTo>
                    <a:pt x="112" y="192"/>
                  </a:lnTo>
                  <a:lnTo>
                    <a:pt x="108" y="214"/>
                  </a:lnTo>
                  <a:lnTo>
                    <a:pt x="107" y="231"/>
                  </a:lnTo>
                  <a:lnTo>
                    <a:pt x="113" y="225"/>
                  </a:lnTo>
                  <a:lnTo>
                    <a:pt x="127" y="204"/>
                  </a:lnTo>
                  <a:lnTo>
                    <a:pt x="149" y="166"/>
                  </a:lnTo>
                  <a:lnTo>
                    <a:pt x="163" y="138"/>
                  </a:lnTo>
                  <a:lnTo>
                    <a:pt x="177" y="107"/>
                  </a:lnTo>
                  <a:lnTo>
                    <a:pt x="213" y="18"/>
                  </a:lnTo>
                  <a:lnTo>
                    <a:pt x="219" y="0"/>
                  </a:lnTo>
                  <a:lnTo>
                    <a:pt x="479"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39" name="Freeform 50"/>
            <p:cNvSpPr>
              <a:spLocks/>
            </p:cNvSpPr>
            <p:nvPr/>
          </p:nvSpPr>
          <p:spPr bwMode="auto">
            <a:xfrm>
              <a:off x="578" y="253"/>
              <a:ext cx="18" cy="47"/>
            </a:xfrm>
            <a:custGeom>
              <a:avLst/>
              <a:gdLst/>
              <a:ahLst/>
              <a:cxnLst>
                <a:cxn ang="0">
                  <a:pos x="308" y="799"/>
                </a:cxn>
                <a:cxn ang="0">
                  <a:pos x="308" y="772"/>
                </a:cxn>
                <a:cxn ang="0">
                  <a:pos x="307" y="739"/>
                </a:cxn>
                <a:cxn ang="0">
                  <a:pos x="304" y="696"/>
                </a:cxn>
                <a:cxn ang="0">
                  <a:pos x="297" y="643"/>
                </a:cxn>
                <a:cxn ang="0">
                  <a:pos x="287" y="583"/>
                </a:cxn>
                <a:cxn ang="0">
                  <a:pos x="273" y="517"/>
                </a:cxn>
                <a:cxn ang="0">
                  <a:pos x="253" y="447"/>
                </a:cxn>
                <a:cxn ang="0">
                  <a:pos x="230" y="377"/>
                </a:cxn>
                <a:cxn ang="0">
                  <a:pos x="206" y="314"/>
                </a:cxn>
                <a:cxn ang="0">
                  <a:pos x="181" y="255"/>
                </a:cxn>
                <a:cxn ang="0">
                  <a:pos x="154" y="200"/>
                </a:cxn>
                <a:cxn ang="0">
                  <a:pos x="125" y="150"/>
                </a:cxn>
                <a:cxn ang="0">
                  <a:pos x="94" y="102"/>
                </a:cxn>
                <a:cxn ang="0">
                  <a:pos x="60" y="56"/>
                </a:cxn>
                <a:cxn ang="0">
                  <a:pos x="23" y="12"/>
                </a:cxn>
                <a:cxn ang="0">
                  <a:pos x="13" y="3"/>
                </a:cxn>
                <a:cxn ang="0">
                  <a:pos x="8" y="1"/>
                </a:cxn>
                <a:cxn ang="0">
                  <a:pos x="4" y="0"/>
                </a:cxn>
                <a:cxn ang="0">
                  <a:pos x="1" y="1"/>
                </a:cxn>
                <a:cxn ang="0">
                  <a:pos x="0" y="5"/>
                </a:cxn>
                <a:cxn ang="0">
                  <a:pos x="0" y="11"/>
                </a:cxn>
                <a:cxn ang="0">
                  <a:pos x="2" y="20"/>
                </a:cxn>
                <a:cxn ang="0">
                  <a:pos x="17" y="58"/>
                </a:cxn>
                <a:cxn ang="0">
                  <a:pos x="28" y="91"/>
                </a:cxn>
                <a:cxn ang="0">
                  <a:pos x="40" y="135"/>
                </a:cxn>
                <a:cxn ang="0">
                  <a:pos x="50" y="189"/>
                </a:cxn>
                <a:cxn ang="0">
                  <a:pos x="60" y="255"/>
                </a:cxn>
                <a:cxn ang="0">
                  <a:pos x="64" y="292"/>
                </a:cxn>
                <a:cxn ang="0">
                  <a:pos x="66" y="333"/>
                </a:cxn>
                <a:cxn ang="0">
                  <a:pos x="68" y="376"/>
                </a:cxn>
                <a:cxn ang="0">
                  <a:pos x="69" y="423"/>
                </a:cxn>
                <a:cxn ang="0">
                  <a:pos x="67" y="554"/>
                </a:cxn>
                <a:cxn ang="0">
                  <a:pos x="64" y="609"/>
                </a:cxn>
                <a:cxn ang="0">
                  <a:pos x="61" y="664"/>
                </a:cxn>
                <a:cxn ang="0">
                  <a:pos x="60" y="717"/>
                </a:cxn>
                <a:cxn ang="0">
                  <a:pos x="60" y="799"/>
                </a:cxn>
                <a:cxn ang="0">
                  <a:pos x="308" y="799"/>
                </a:cxn>
              </a:cxnLst>
              <a:rect l="0" t="0" r="r" b="b"/>
              <a:pathLst>
                <a:path w="308" h="799">
                  <a:moveTo>
                    <a:pt x="308" y="799"/>
                  </a:moveTo>
                  <a:lnTo>
                    <a:pt x="308" y="772"/>
                  </a:lnTo>
                  <a:lnTo>
                    <a:pt x="307" y="739"/>
                  </a:lnTo>
                  <a:lnTo>
                    <a:pt x="304" y="696"/>
                  </a:lnTo>
                  <a:lnTo>
                    <a:pt x="297" y="643"/>
                  </a:lnTo>
                  <a:lnTo>
                    <a:pt x="287" y="583"/>
                  </a:lnTo>
                  <a:lnTo>
                    <a:pt x="273" y="517"/>
                  </a:lnTo>
                  <a:lnTo>
                    <a:pt x="253" y="447"/>
                  </a:lnTo>
                  <a:lnTo>
                    <a:pt x="230" y="377"/>
                  </a:lnTo>
                  <a:lnTo>
                    <a:pt x="206" y="314"/>
                  </a:lnTo>
                  <a:lnTo>
                    <a:pt x="181" y="255"/>
                  </a:lnTo>
                  <a:lnTo>
                    <a:pt x="154" y="200"/>
                  </a:lnTo>
                  <a:lnTo>
                    <a:pt x="125" y="150"/>
                  </a:lnTo>
                  <a:lnTo>
                    <a:pt x="94" y="102"/>
                  </a:lnTo>
                  <a:lnTo>
                    <a:pt x="60" y="56"/>
                  </a:lnTo>
                  <a:lnTo>
                    <a:pt x="23" y="12"/>
                  </a:lnTo>
                  <a:lnTo>
                    <a:pt x="13" y="3"/>
                  </a:lnTo>
                  <a:lnTo>
                    <a:pt x="8" y="1"/>
                  </a:lnTo>
                  <a:lnTo>
                    <a:pt x="4" y="0"/>
                  </a:lnTo>
                  <a:lnTo>
                    <a:pt x="1" y="1"/>
                  </a:lnTo>
                  <a:lnTo>
                    <a:pt x="0" y="5"/>
                  </a:lnTo>
                  <a:lnTo>
                    <a:pt x="0" y="11"/>
                  </a:lnTo>
                  <a:lnTo>
                    <a:pt x="2" y="20"/>
                  </a:lnTo>
                  <a:lnTo>
                    <a:pt x="17" y="58"/>
                  </a:lnTo>
                  <a:lnTo>
                    <a:pt x="28" y="91"/>
                  </a:lnTo>
                  <a:lnTo>
                    <a:pt x="40" y="135"/>
                  </a:lnTo>
                  <a:lnTo>
                    <a:pt x="50" y="189"/>
                  </a:lnTo>
                  <a:lnTo>
                    <a:pt x="60" y="255"/>
                  </a:lnTo>
                  <a:lnTo>
                    <a:pt x="64" y="292"/>
                  </a:lnTo>
                  <a:lnTo>
                    <a:pt x="66" y="333"/>
                  </a:lnTo>
                  <a:lnTo>
                    <a:pt x="68" y="376"/>
                  </a:lnTo>
                  <a:lnTo>
                    <a:pt x="69" y="423"/>
                  </a:lnTo>
                  <a:lnTo>
                    <a:pt x="67" y="554"/>
                  </a:lnTo>
                  <a:lnTo>
                    <a:pt x="64" y="609"/>
                  </a:lnTo>
                  <a:lnTo>
                    <a:pt x="61" y="664"/>
                  </a:lnTo>
                  <a:lnTo>
                    <a:pt x="60" y="717"/>
                  </a:lnTo>
                  <a:lnTo>
                    <a:pt x="60" y="799"/>
                  </a:lnTo>
                  <a:lnTo>
                    <a:pt x="308" y="799"/>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40" name="Freeform 51"/>
            <p:cNvSpPr>
              <a:spLocks/>
            </p:cNvSpPr>
            <p:nvPr/>
          </p:nvSpPr>
          <p:spPr bwMode="auto">
            <a:xfrm>
              <a:off x="550" y="273"/>
              <a:ext cx="27" cy="27"/>
            </a:xfrm>
            <a:custGeom>
              <a:avLst/>
              <a:gdLst/>
              <a:ahLst/>
              <a:cxnLst>
                <a:cxn ang="0">
                  <a:pos x="461" y="467"/>
                </a:cxn>
                <a:cxn ang="0">
                  <a:pos x="376" y="387"/>
                </a:cxn>
                <a:cxn ang="0">
                  <a:pos x="288" y="303"/>
                </a:cxn>
                <a:cxn ang="0">
                  <a:pos x="239" y="254"/>
                </a:cxn>
                <a:cxn ang="0">
                  <a:pos x="189" y="203"/>
                </a:cxn>
                <a:cxn ang="0">
                  <a:pos x="109" y="118"/>
                </a:cxn>
                <a:cxn ang="0">
                  <a:pos x="63" y="66"/>
                </a:cxn>
                <a:cxn ang="0">
                  <a:pos x="39" y="37"/>
                </a:cxn>
                <a:cxn ang="0">
                  <a:pos x="26" y="18"/>
                </a:cxn>
                <a:cxn ang="0">
                  <a:pos x="21" y="10"/>
                </a:cxn>
                <a:cxn ang="0">
                  <a:pos x="16" y="5"/>
                </a:cxn>
                <a:cxn ang="0">
                  <a:pos x="10" y="1"/>
                </a:cxn>
                <a:cxn ang="0">
                  <a:pos x="6" y="0"/>
                </a:cxn>
                <a:cxn ang="0">
                  <a:pos x="2" y="1"/>
                </a:cxn>
                <a:cxn ang="0">
                  <a:pos x="0" y="5"/>
                </a:cxn>
                <a:cxn ang="0">
                  <a:pos x="0" y="12"/>
                </a:cxn>
                <a:cxn ang="0">
                  <a:pos x="2" y="23"/>
                </a:cxn>
                <a:cxn ang="0">
                  <a:pos x="20" y="82"/>
                </a:cxn>
                <a:cxn ang="0">
                  <a:pos x="58" y="191"/>
                </a:cxn>
                <a:cxn ang="0">
                  <a:pos x="83" y="258"/>
                </a:cxn>
                <a:cxn ang="0">
                  <a:pos x="111" y="327"/>
                </a:cxn>
                <a:cxn ang="0">
                  <a:pos x="144" y="399"/>
                </a:cxn>
                <a:cxn ang="0">
                  <a:pos x="180" y="467"/>
                </a:cxn>
                <a:cxn ang="0">
                  <a:pos x="461" y="467"/>
                </a:cxn>
              </a:cxnLst>
              <a:rect l="0" t="0" r="r" b="b"/>
              <a:pathLst>
                <a:path w="461" h="467">
                  <a:moveTo>
                    <a:pt x="461" y="467"/>
                  </a:moveTo>
                  <a:lnTo>
                    <a:pt x="376" y="387"/>
                  </a:lnTo>
                  <a:lnTo>
                    <a:pt x="288" y="303"/>
                  </a:lnTo>
                  <a:lnTo>
                    <a:pt x="239" y="254"/>
                  </a:lnTo>
                  <a:lnTo>
                    <a:pt x="189" y="203"/>
                  </a:lnTo>
                  <a:lnTo>
                    <a:pt x="109" y="118"/>
                  </a:lnTo>
                  <a:lnTo>
                    <a:pt x="63" y="66"/>
                  </a:lnTo>
                  <a:lnTo>
                    <a:pt x="39" y="37"/>
                  </a:lnTo>
                  <a:lnTo>
                    <a:pt x="26" y="18"/>
                  </a:lnTo>
                  <a:lnTo>
                    <a:pt x="21" y="10"/>
                  </a:lnTo>
                  <a:lnTo>
                    <a:pt x="16" y="5"/>
                  </a:lnTo>
                  <a:lnTo>
                    <a:pt x="10" y="1"/>
                  </a:lnTo>
                  <a:lnTo>
                    <a:pt x="6" y="0"/>
                  </a:lnTo>
                  <a:lnTo>
                    <a:pt x="2" y="1"/>
                  </a:lnTo>
                  <a:lnTo>
                    <a:pt x="0" y="5"/>
                  </a:lnTo>
                  <a:lnTo>
                    <a:pt x="0" y="12"/>
                  </a:lnTo>
                  <a:lnTo>
                    <a:pt x="2" y="23"/>
                  </a:lnTo>
                  <a:lnTo>
                    <a:pt x="20" y="82"/>
                  </a:lnTo>
                  <a:lnTo>
                    <a:pt x="58" y="191"/>
                  </a:lnTo>
                  <a:lnTo>
                    <a:pt x="83" y="258"/>
                  </a:lnTo>
                  <a:lnTo>
                    <a:pt x="111" y="327"/>
                  </a:lnTo>
                  <a:lnTo>
                    <a:pt x="144" y="399"/>
                  </a:lnTo>
                  <a:lnTo>
                    <a:pt x="180" y="467"/>
                  </a:lnTo>
                  <a:lnTo>
                    <a:pt x="461" y="467"/>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41" name="Freeform 52"/>
            <p:cNvSpPr>
              <a:spLocks/>
            </p:cNvSpPr>
            <p:nvPr/>
          </p:nvSpPr>
          <p:spPr bwMode="auto">
            <a:xfrm>
              <a:off x="533" y="228"/>
              <a:ext cx="44" cy="64"/>
            </a:xfrm>
            <a:custGeom>
              <a:avLst/>
              <a:gdLst/>
              <a:ahLst/>
              <a:cxnLst>
                <a:cxn ang="0">
                  <a:pos x="737" y="601"/>
                </a:cxn>
                <a:cxn ang="0">
                  <a:pos x="724" y="498"/>
                </a:cxn>
                <a:cxn ang="0">
                  <a:pos x="707" y="428"/>
                </a:cxn>
                <a:cxn ang="0">
                  <a:pos x="684" y="358"/>
                </a:cxn>
                <a:cxn ang="0">
                  <a:pos x="652" y="290"/>
                </a:cxn>
                <a:cxn ang="0">
                  <a:pos x="612" y="226"/>
                </a:cxn>
                <a:cxn ang="0">
                  <a:pos x="562" y="166"/>
                </a:cxn>
                <a:cxn ang="0">
                  <a:pos x="456" y="69"/>
                </a:cxn>
                <a:cxn ang="0">
                  <a:pos x="388" y="5"/>
                </a:cxn>
                <a:cxn ang="0">
                  <a:pos x="377" y="0"/>
                </a:cxn>
                <a:cxn ang="0">
                  <a:pos x="374" y="8"/>
                </a:cxn>
                <a:cxn ang="0">
                  <a:pos x="382" y="30"/>
                </a:cxn>
                <a:cxn ang="0">
                  <a:pos x="418" y="99"/>
                </a:cxn>
                <a:cxn ang="0">
                  <a:pos x="450" y="177"/>
                </a:cxn>
                <a:cxn ang="0">
                  <a:pos x="483" y="284"/>
                </a:cxn>
                <a:cxn ang="0">
                  <a:pos x="529" y="484"/>
                </a:cxn>
                <a:cxn ang="0">
                  <a:pos x="589" y="717"/>
                </a:cxn>
                <a:cxn ang="0">
                  <a:pos x="561" y="704"/>
                </a:cxn>
                <a:cxn ang="0">
                  <a:pos x="507" y="622"/>
                </a:cxn>
                <a:cxn ang="0">
                  <a:pos x="477" y="587"/>
                </a:cxn>
                <a:cxn ang="0">
                  <a:pos x="439" y="553"/>
                </a:cxn>
                <a:cxn ang="0">
                  <a:pos x="327" y="477"/>
                </a:cxn>
                <a:cxn ang="0">
                  <a:pos x="204" y="395"/>
                </a:cxn>
                <a:cxn ang="0">
                  <a:pos x="115" y="321"/>
                </a:cxn>
                <a:cxn ang="0">
                  <a:pos x="56" y="262"/>
                </a:cxn>
                <a:cxn ang="0">
                  <a:pos x="26" y="222"/>
                </a:cxn>
                <a:cxn ang="0">
                  <a:pos x="12" y="203"/>
                </a:cxn>
                <a:cxn ang="0">
                  <a:pos x="3" y="198"/>
                </a:cxn>
                <a:cxn ang="0">
                  <a:pos x="0" y="208"/>
                </a:cxn>
                <a:cxn ang="0">
                  <a:pos x="4" y="229"/>
                </a:cxn>
                <a:cxn ang="0">
                  <a:pos x="24" y="286"/>
                </a:cxn>
                <a:cxn ang="0">
                  <a:pos x="72" y="389"/>
                </a:cxn>
                <a:cxn ang="0">
                  <a:pos x="127" y="483"/>
                </a:cxn>
                <a:cxn ang="0">
                  <a:pos x="175" y="548"/>
                </a:cxn>
                <a:cxn ang="0">
                  <a:pos x="231" y="612"/>
                </a:cxn>
                <a:cxn ang="0">
                  <a:pos x="327" y="701"/>
                </a:cxn>
                <a:cxn ang="0">
                  <a:pos x="457" y="812"/>
                </a:cxn>
                <a:cxn ang="0">
                  <a:pos x="572" y="919"/>
                </a:cxn>
                <a:cxn ang="0">
                  <a:pos x="622" y="971"/>
                </a:cxn>
                <a:cxn ang="0">
                  <a:pos x="663" y="1023"/>
                </a:cxn>
                <a:cxn ang="0">
                  <a:pos x="695" y="1075"/>
                </a:cxn>
                <a:cxn ang="0">
                  <a:pos x="708" y="1097"/>
                </a:cxn>
                <a:cxn ang="0">
                  <a:pos x="717" y="1100"/>
                </a:cxn>
                <a:cxn ang="0">
                  <a:pos x="723" y="1085"/>
                </a:cxn>
                <a:cxn ang="0">
                  <a:pos x="731" y="920"/>
                </a:cxn>
                <a:cxn ang="0">
                  <a:pos x="738" y="736"/>
                </a:cxn>
              </a:cxnLst>
              <a:rect l="0" t="0" r="r" b="b"/>
              <a:pathLst>
                <a:path w="739" h="1101">
                  <a:moveTo>
                    <a:pt x="739" y="666"/>
                  </a:moveTo>
                  <a:lnTo>
                    <a:pt x="737" y="601"/>
                  </a:lnTo>
                  <a:lnTo>
                    <a:pt x="729" y="533"/>
                  </a:lnTo>
                  <a:lnTo>
                    <a:pt x="724" y="498"/>
                  </a:lnTo>
                  <a:lnTo>
                    <a:pt x="717" y="463"/>
                  </a:lnTo>
                  <a:lnTo>
                    <a:pt x="707" y="428"/>
                  </a:lnTo>
                  <a:lnTo>
                    <a:pt x="697" y="393"/>
                  </a:lnTo>
                  <a:lnTo>
                    <a:pt x="684" y="358"/>
                  </a:lnTo>
                  <a:lnTo>
                    <a:pt x="669" y="324"/>
                  </a:lnTo>
                  <a:lnTo>
                    <a:pt x="652" y="290"/>
                  </a:lnTo>
                  <a:lnTo>
                    <a:pt x="634" y="257"/>
                  </a:lnTo>
                  <a:lnTo>
                    <a:pt x="612" y="226"/>
                  </a:lnTo>
                  <a:lnTo>
                    <a:pt x="588" y="195"/>
                  </a:lnTo>
                  <a:lnTo>
                    <a:pt x="562" y="166"/>
                  </a:lnTo>
                  <a:lnTo>
                    <a:pt x="532" y="137"/>
                  </a:lnTo>
                  <a:lnTo>
                    <a:pt x="456" y="69"/>
                  </a:lnTo>
                  <a:lnTo>
                    <a:pt x="406" y="20"/>
                  </a:lnTo>
                  <a:lnTo>
                    <a:pt x="388" y="5"/>
                  </a:lnTo>
                  <a:lnTo>
                    <a:pt x="381" y="2"/>
                  </a:lnTo>
                  <a:lnTo>
                    <a:pt x="377" y="0"/>
                  </a:lnTo>
                  <a:lnTo>
                    <a:pt x="374" y="3"/>
                  </a:lnTo>
                  <a:lnTo>
                    <a:pt x="374" y="8"/>
                  </a:lnTo>
                  <a:lnTo>
                    <a:pt x="376" y="17"/>
                  </a:lnTo>
                  <a:lnTo>
                    <a:pt x="382" y="30"/>
                  </a:lnTo>
                  <a:lnTo>
                    <a:pt x="404" y="71"/>
                  </a:lnTo>
                  <a:lnTo>
                    <a:pt x="418" y="99"/>
                  </a:lnTo>
                  <a:lnTo>
                    <a:pt x="434" y="135"/>
                  </a:lnTo>
                  <a:lnTo>
                    <a:pt x="450" y="177"/>
                  </a:lnTo>
                  <a:lnTo>
                    <a:pt x="467" y="227"/>
                  </a:lnTo>
                  <a:lnTo>
                    <a:pt x="483" y="284"/>
                  </a:lnTo>
                  <a:lnTo>
                    <a:pt x="499" y="350"/>
                  </a:lnTo>
                  <a:lnTo>
                    <a:pt x="529" y="484"/>
                  </a:lnTo>
                  <a:lnTo>
                    <a:pt x="559" y="606"/>
                  </a:lnTo>
                  <a:lnTo>
                    <a:pt x="589" y="717"/>
                  </a:lnTo>
                  <a:lnTo>
                    <a:pt x="623" y="820"/>
                  </a:lnTo>
                  <a:lnTo>
                    <a:pt x="561" y="704"/>
                  </a:lnTo>
                  <a:lnTo>
                    <a:pt x="535" y="660"/>
                  </a:lnTo>
                  <a:lnTo>
                    <a:pt x="507" y="622"/>
                  </a:lnTo>
                  <a:lnTo>
                    <a:pt x="493" y="604"/>
                  </a:lnTo>
                  <a:lnTo>
                    <a:pt x="477" y="587"/>
                  </a:lnTo>
                  <a:lnTo>
                    <a:pt x="459" y="570"/>
                  </a:lnTo>
                  <a:lnTo>
                    <a:pt x="439" y="553"/>
                  </a:lnTo>
                  <a:lnTo>
                    <a:pt x="390" y="517"/>
                  </a:lnTo>
                  <a:lnTo>
                    <a:pt x="327" y="477"/>
                  </a:lnTo>
                  <a:lnTo>
                    <a:pt x="261" y="435"/>
                  </a:lnTo>
                  <a:lnTo>
                    <a:pt x="204" y="395"/>
                  </a:lnTo>
                  <a:lnTo>
                    <a:pt x="155" y="356"/>
                  </a:lnTo>
                  <a:lnTo>
                    <a:pt x="115" y="321"/>
                  </a:lnTo>
                  <a:lnTo>
                    <a:pt x="81" y="289"/>
                  </a:lnTo>
                  <a:lnTo>
                    <a:pt x="56" y="262"/>
                  </a:lnTo>
                  <a:lnTo>
                    <a:pt x="38" y="238"/>
                  </a:lnTo>
                  <a:lnTo>
                    <a:pt x="26" y="222"/>
                  </a:lnTo>
                  <a:lnTo>
                    <a:pt x="18" y="210"/>
                  </a:lnTo>
                  <a:lnTo>
                    <a:pt x="12" y="203"/>
                  </a:lnTo>
                  <a:lnTo>
                    <a:pt x="6" y="198"/>
                  </a:lnTo>
                  <a:lnTo>
                    <a:pt x="3" y="198"/>
                  </a:lnTo>
                  <a:lnTo>
                    <a:pt x="0" y="202"/>
                  </a:lnTo>
                  <a:lnTo>
                    <a:pt x="0" y="208"/>
                  </a:lnTo>
                  <a:lnTo>
                    <a:pt x="1" y="217"/>
                  </a:lnTo>
                  <a:lnTo>
                    <a:pt x="4" y="229"/>
                  </a:lnTo>
                  <a:lnTo>
                    <a:pt x="12" y="250"/>
                  </a:lnTo>
                  <a:lnTo>
                    <a:pt x="24" y="286"/>
                  </a:lnTo>
                  <a:lnTo>
                    <a:pt x="44" y="333"/>
                  </a:lnTo>
                  <a:lnTo>
                    <a:pt x="72" y="389"/>
                  </a:lnTo>
                  <a:lnTo>
                    <a:pt x="106" y="451"/>
                  </a:lnTo>
                  <a:lnTo>
                    <a:pt x="127" y="483"/>
                  </a:lnTo>
                  <a:lnTo>
                    <a:pt x="150" y="515"/>
                  </a:lnTo>
                  <a:lnTo>
                    <a:pt x="175" y="548"/>
                  </a:lnTo>
                  <a:lnTo>
                    <a:pt x="201" y="581"/>
                  </a:lnTo>
                  <a:lnTo>
                    <a:pt x="231" y="612"/>
                  </a:lnTo>
                  <a:lnTo>
                    <a:pt x="262" y="643"/>
                  </a:lnTo>
                  <a:lnTo>
                    <a:pt x="327" y="701"/>
                  </a:lnTo>
                  <a:lnTo>
                    <a:pt x="393" y="757"/>
                  </a:lnTo>
                  <a:lnTo>
                    <a:pt x="457" y="812"/>
                  </a:lnTo>
                  <a:lnTo>
                    <a:pt x="517" y="866"/>
                  </a:lnTo>
                  <a:lnTo>
                    <a:pt x="572" y="919"/>
                  </a:lnTo>
                  <a:lnTo>
                    <a:pt x="599" y="945"/>
                  </a:lnTo>
                  <a:lnTo>
                    <a:pt x="622" y="971"/>
                  </a:lnTo>
                  <a:lnTo>
                    <a:pt x="644" y="996"/>
                  </a:lnTo>
                  <a:lnTo>
                    <a:pt x="663" y="1023"/>
                  </a:lnTo>
                  <a:lnTo>
                    <a:pt x="680" y="1049"/>
                  </a:lnTo>
                  <a:lnTo>
                    <a:pt x="695" y="1075"/>
                  </a:lnTo>
                  <a:lnTo>
                    <a:pt x="704" y="1092"/>
                  </a:lnTo>
                  <a:lnTo>
                    <a:pt x="708" y="1097"/>
                  </a:lnTo>
                  <a:lnTo>
                    <a:pt x="713" y="1101"/>
                  </a:lnTo>
                  <a:lnTo>
                    <a:pt x="717" y="1100"/>
                  </a:lnTo>
                  <a:lnTo>
                    <a:pt x="720" y="1095"/>
                  </a:lnTo>
                  <a:lnTo>
                    <a:pt x="723" y="1085"/>
                  </a:lnTo>
                  <a:lnTo>
                    <a:pt x="724" y="1068"/>
                  </a:lnTo>
                  <a:lnTo>
                    <a:pt x="731" y="920"/>
                  </a:lnTo>
                  <a:lnTo>
                    <a:pt x="737" y="803"/>
                  </a:lnTo>
                  <a:lnTo>
                    <a:pt x="738" y="736"/>
                  </a:lnTo>
                  <a:lnTo>
                    <a:pt x="739" y="666"/>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42" name="Freeform 53"/>
            <p:cNvSpPr>
              <a:spLocks/>
            </p:cNvSpPr>
            <p:nvPr/>
          </p:nvSpPr>
          <p:spPr bwMode="auto">
            <a:xfrm>
              <a:off x="522" y="215"/>
              <a:ext cx="39" cy="39"/>
            </a:xfrm>
            <a:custGeom>
              <a:avLst/>
              <a:gdLst/>
              <a:ahLst/>
              <a:cxnLst>
                <a:cxn ang="0">
                  <a:pos x="648" y="636"/>
                </a:cxn>
                <a:cxn ang="0">
                  <a:pos x="631" y="577"/>
                </a:cxn>
                <a:cxn ang="0">
                  <a:pos x="615" y="530"/>
                </a:cxn>
                <a:cxn ang="0">
                  <a:pos x="594" y="476"/>
                </a:cxn>
                <a:cxn ang="0">
                  <a:pos x="566" y="417"/>
                </a:cxn>
                <a:cxn ang="0">
                  <a:pos x="549" y="387"/>
                </a:cxn>
                <a:cxn ang="0">
                  <a:pos x="530" y="356"/>
                </a:cxn>
                <a:cxn ang="0">
                  <a:pos x="509" y="327"/>
                </a:cxn>
                <a:cxn ang="0">
                  <a:pos x="486" y="298"/>
                </a:cxn>
                <a:cxn ang="0">
                  <a:pos x="460" y="271"/>
                </a:cxn>
                <a:cxn ang="0">
                  <a:pos x="432" y="245"/>
                </a:cxn>
                <a:cxn ang="0">
                  <a:pos x="403" y="220"/>
                </a:cxn>
                <a:cxn ang="0">
                  <a:pos x="372" y="197"/>
                </a:cxn>
                <a:cxn ang="0">
                  <a:pos x="311" y="154"/>
                </a:cxn>
                <a:cxn ang="0">
                  <a:pos x="250" y="117"/>
                </a:cxn>
                <a:cxn ang="0">
                  <a:pos x="193" y="86"/>
                </a:cxn>
                <a:cxn ang="0">
                  <a:pos x="141" y="58"/>
                </a:cxn>
                <a:cxn ang="0">
                  <a:pos x="96" y="37"/>
                </a:cxn>
                <a:cxn ang="0">
                  <a:pos x="38" y="11"/>
                </a:cxn>
                <a:cxn ang="0">
                  <a:pos x="23" y="5"/>
                </a:cxn>
                <a:cxn ang="0">
                  <a:pos x="12" y="1"/>
                </a:cxn>
                <a:cxn ang="0">
                  <a:pos x="5" y="0"/>
                </a:cxn>
                <a:cxn ang="0">
                  <a:pos x="1" y="2"/>
                </a:cxn>
                <a:cxn ang="0">
                  <a:pos x="0" y="7"/>
                </a:cxn>
                <a:cxn ang="0">
                  <a:pos x="3" y="12"/>
                </a:cxn>
                <a:cxn ang="0">
                  <a:pos x="9" y="20"/>
                </a:cxn>
                <a:cxn ang="0">
                  <a:pos x="18" y="29"/>
                </a:cxn>
                <a:cxn ang="0">
                  <a:pos x="51" y="66"/>
                </a:cxn>
                <a:cxn ang="0">
                  <a:pos x="105" y="131"/>
                </a:cxn>
                <a:cxn ang="0">
                  <a:pos x="136" y="172"/>
                </a:cxn>
                <a:cxn ang="0">
                  <a:pos x="168" y="216"/>
                </a:cxn>
                <a:cxn ang="0">
                  <a:pos x="202" y="264"/>
                </a:cxn>
                <a:cxn ang="0">
                  <a:pos x="233" y="312"/>
                </a:cxn>
                <a:cxn ang="0">
                  <a:pos x="263" y="358"/>
                </a:cxn>
                <a:cxn ang="0">
                  <a:pos x="291" y="398"/>
                </a:cxn>
                <a:cxn ang="0">
                  <a:pos x="318" y="432"/>
                </a:cxn>
                <a:cxn ang="0">
                  <a:pos x="344" y="461"/>
                </a:cxn>
                <a:cxn ang="0">
                  <a:pos x="371" y="486"/>
                </a:cxn>
                <a:cxn ang="0">
                  <a:pos x="399" y="508"/>
                </a:cxn>
                <a:cxn ang="0">
                  <a:pos x="428" y="526"/>
                </a:cxn>
                <a:cxn ang="0">
                  <a:pos x="460" y="543"/>
                </a:cxn>
                <a:cxn ang="0">
                  <a:pos x="521" y="574"/>
                </a:cxn>
                <a:cxn ang="0">
                  <a:pos x="570" y="605"/>
                </a:cxn>
                <a:cxn ang="0">
                  <a:pos x="606" y="632"/>
                </a:cxn>
                <a:cxn ang="0">
                  <a:pos x="618" y="644"/>
                </a:cxn>
                <a:cxn ang="0">
                  <a:pos x="628" y="654"/>
                </a:cxn>
                <a:cxn ang="0">
                  <a:pos x="634" y="663"/>
                </a:cxn>
                <a:cxn ang="0">
                  <a:pos x="641" y="668"/>
                </a:cxn>
                <a:cxn ang="0">
                  <a:pos x="645" y="670"/>
                </a:cxn>
                <a:cxn ang="0">
                  <a:pos x="649" y="669"/>
                </a:cxn>
                <a:cxn ang="0">
                  <a:pos x="651" y="665"/>
                </a:cxn>
                <a:cxn ang="0">
                  <a:pos x="652" y="658"/>
                </a:cxn>
                <a:cxn ang="0">
                  <a:pos x="651" y="649"/>
                </a:cxn>
                <a:cxn ang="0">
                  <a:pos x="648" y="636"/>
                </a:cxn>
              </a:cxnLst>
              <a:rect l="0" t="0" r="r" b="b"/>
              <a:pathLst>
                <a:path w="652" h="670">
                  <a:moveTo>
                    <a:pt x="648" y="636"/>
                  </a:moveTo>
                  <a:lnTo>
                    <a:pt x="631" y="577"/>
                  </a:lnTo>
                  <a:lnTo>
                    <a:pt x="615" y="530"/>
                  </a:lnTo>
                  <a:lnTo>
                    <a:pt x="594" y="476"/>
                  </a:lnTo>
                  <a:lnTo>
                    <a:pt x="566" y="417"/>
                  </a:lnTo>
                  <a:lnTo>
                    <a:pt x="549" y="387"/>
                  </a:lnTo>
                  <a:lnTo>
                    <a:pt x="530" y="356"/>
                  </a:lnTo>
                  <a:lnTo>
                    <a:pt x="509" y="327"/>
                  </a:lnTo>
                  <a:lnTo>
                    <a:pt x="486" y="298"/>
                  </a:lnTo>
                  <a:lnTo>
                    <a:pt x="460" y="271"/>
                  </a:lnTo>
                  <a:lnTo>
                    <a:pt x="432" y="245"/>
                  </a:lnTo>
                  <a:lnTo>
                    <a:pt x="403" y="220"/>
                  </a:lnTo>
                  <a:lnTo>
                    <a:pt x="372" y="197"/>
                  </a:lnTo>
                  <a:lnTo>
                    <a:pt x="311" y="154"/>
                  </a:lnTo>
                  <a:lnTo>
                    <a:pt x="250" y="117"/>
                  </a:lnTo>
                  <a:lnTo>
                    <a:pt x="193" y="86"/>
                  </a:lnTo>
                  <a:lnTo>
                    <a:pt x="141" y="58"/>
                  </a:lnTo>
                  <a:lnTo>
                    <a:pt x="96" y="37"/>
                  </a:lnTo>
                  <a:lnTo>
                    <a:pt x="38" y="11"/>
                  </a:lnTo>
                  <a:lnTo>
                    <a:pt x="23" y="5"/>
                  </a:lnTo>
                  <a:lnTo>
                    <a:pt x="12" y="1"/>
                  </a:lnTo>
                  <a:lnTo>
                    <a:pt x="5" y="0"/>
                  </a:lnTo>
                  <a:lnTo>
                    <a:pt x="1" y="2"/>
                  </a:lnTo>
                  <a:lnTo>
                    <a:pt x="0" y="7"/>
                  </a:lnTo>
                  <a:lnTo>
                    <a:pt x="3" y="12"/>
                  </a:lnTo>
                  <a:lnTo>
                    <a:pt x="9" y="20"/>
                  </a:lnTo>
                  <a:lnTo>
                    <a:pt x="18" y="29"/>
                  </a:lnTo>
                  <a:lnTo>
                    <a:pt x="51" y="66"/>
                  </a:lnTo>
                  <a:lnTo>
                    <a:pt x="105" y="131"/>
                  </a:lnTo>
                  <a:lnTo>
                    <a:pt x="136" y="172"/>
                  </a:lnTo>
                  <a:lnTo>
                    <a:pt x="168" y="216"/>
                  </a:lnTo>
                  <a:lnTo>
                    <a:pt x="202" y="264"/>
                  </a:lnTo>
                  <a:lnTo>
                    <a:pt x="233" y="312"/>
                  </a:lnTo>
                  <a:lnTo>
                    <a:pt x="263" y="358"/>
                  </a:lnTo>
                  <a:lnTo>
                    <a:pt x="291" y="398"/>
                  </a:lnTo>
                  <a:lnTo>
                    <a:pt x="318" y="432"/>
                  </a:lnTo>
                  <a:lnTo>
                    <a:pt x="344" y="461"/>
                  </a:lnTo>
                  <a:lnTo>
                    <a:pt x="371" y="486"/>
                  </a:lnTo>
                  <a:lnTo>
                    <a:pt x="399" y="508"/>
                  </a:lnTo>
                  <a:lnTo>
                    <a:pt x="428" y="526"/>
                  </a:lnTo>
                  <a:lnTo>
                    <a:pt x="460" y="543"/>
                  </a:lnTo>
                  <a:lnTo>
                    <a:pt x="521" y="574"/>
                  </a:lnTo>
                  <a:lnTo>
                    <a:pt x="570" y="605"/>
                  </a:lnTo>
                  <a:lnTo>
                    <a:pt x="606" y="632"/>
                  </a:lnTo>
                  <a:lnTo>
                    <a:pt x="618" y="644"/>
                  </a:lnTo>
                  <a:lnTo>
                    <a:pt x="628" y="654"/>
                  </a:lnTo>
                  <a:lnTo>
                    <a:pt x="634" y="663"/>
                  </a:lnTo>
                  <a:lnTo>
                    <a:pt x="641" y="668"/>
                  </a:lnTo>
                  <a:lnTo>
                    <a:pt x="645" y="670"/>
                  </a:lnTo>
                  <a:lnTo>
                    <a:pt x="649" y="669"/>
                  </a:lnTo>
                  <a:lnTo>
                    <a:pt x="651" y="665"/>
                  </a:lnTo>
                  <a:lnTo>
                    <a:pt x="652" y="658"/>
                  </a:lnTo>
                  <a:lnTo>
                    <a:pt x="651" y="649"/>
                  </a:lnTo>
                  <a:lnTo>
                    <a:pt x="648" y="636"/>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43" name="Freeform 54"/>
            <p:cNvSpPr>
              <a:spLocks/>
            </p:cNvSpPr>
            <p:nvPr/>
          </p:nvSpPr>
          <p:spPr bwMode="auto">
            <a:xfrm>
              <a:off x="326" y="345"/>
              <a:ext cx="65" cy="58"/>
            </a:xfrm>
            <a:custGeom>
              <a:avLst/>
              <a:gdLst/>
              <a:ahLst/>
              <a:cxnLst>
                <a:cxn ang="0">
                  <a:pos x="719" y="56"/>
                </a:cxn>
                <a:cxn ang="0">
                  <a:pos x="769" y="68"/>
                </a:cxn>
                <a:cxn ang="0">
                  <a:pos x="794" y="87"/>
                </a:cxn>
                <a:cxn ang="0">
                  <a:pos x="854" y="184"/>
                </a:cxn>
                <a:cxn ang="0">
                  <a:pos x="879" y="239"/>
                </a:cxn>
                <a:cxn ang="0">
                  <a:pos x="884" y="311"/>
                </a:cxn>
                <a:cxn ang="0">
                  <a:pos x="872" y="331"/>
                </a:cxn>
                <a:cxn ang="0">
                  <a:pos x="883" y="363"/>
                </a:cxn>
                <a:cxn ang="0">
                  <a:pos x="914" y="410"/>
                </a:cxn>
                <a:cxn ang="0">
                  <a:pos x="924" y="444"/>
                </a:cxn>
                <a:cxn ang="0">
                  <a:pos x="922" y="602"/>
                </a:cxn>
                <a:cxn ang="0">
                  <a:pos x="909" y="628"/>
                </a:cxn>
                <a:cxn ang="0">
                  <a:pos x="976" y="673"/>
                </a:cxn>
                <a:cxn ang="0">
                  <a:pos x="994" y="690"/>
                </a:cxn>
                <a:cxn ang="0">
                  <a:pos x="1038" y="721"/>
                </a:cxn>
                <a:cxn ang="0">
                  <a:pos x="1086" y="830"/>
                </a:cxn>
                <a:cxn ang="0">
                  <a:pos x="1091" y="888"/>
                </a:cxn>
                <a:cxn ang="0">
                  <a:pos x="1102" y="899"/>
                </a:cxn>
                <a:cxn ang="0">
                  <a:pos x="1057" y="942"/>
                </a:cxn>
                <a:cxn ang="0">
                  <a:pos x="975" y="948"/>
                </a:cxn>
                <a:cxn ang="0">
                  <a:pos x="922" y="969"/>
                </a:cxn>
                <a:cxn ang="0">
                  <a:pos x="870" y="985"/>
                </a:cxn>
                <a:cxn ang="0">
                  <a:pos x="800" y="963"/>
                </a:cxn>
                <a:cxn ang="0">
                  <a:pos x="751" y="909"/>
                </a:cxn>
                <a:cxn ang="0">
                  <a:pos x="698" y="881"/>
                </a:cxn>
                <a:cxn ang="0">
                  <a:pos x="693" y="880"/>
                </a:cxn>
                <a:cxn ang="0">
                  <a:pos x="682" y="889"/>
                </a:cxn>
                <a:cxn ang="0">
                  <a:pos x="626" y="889"/>
                </a:cxn>
                <a:cxn ang="0">
                  <a:pos x="598" y="900"/>
                </a:cxn>
                <a:cxn ang="0">
                  <a:pos x="592" y="908"/>
                </a:cxn>
                <a:cxn ang="0">
                  <a:pos x="448" y="797"/>
                </a:cxn>
                <a:cxn ang="0">
                  <a:pos x="436" y="742"/>
                </a:cxn>
                <a:cxn ang="0">
                  <a:pos x="319" y="675"/>
                </a:cxn>
                <a:cxn ang="0">
                  <a:pos x="274" y="633"/>
                </a:cxn>
                <a:cxn ang="0">
                  <a:pos x="224" y="618"/>
                </a:cxn>
                <a:cxn ang="0">
                  <a:pos x="194" y="573"/>
                </a:cxn>
                <a:cxn ang="0">
                  <a:pos x="134" y="570"/>
                </a:cxn>
                <a:cxn ang="0">
                  <a:pos x="52" y="522"/>
                </a:cxn>
                <a:cxn ang="0">
                  <a:pos x="47" y="505"/>
                </a:cxn>
                <a:cxn ang="0">
                  <a:pos x="12" y="490"/>
                </a:cxn>
                <a:cxn ang="0">
                  <a:pos x="2" y="376"/>
                </a:cxn>
                <a:cxn ang="0">
                  <a:pos x="57" y="346"/>
                </a:cxn>
                <a:cxn ang="0">
                  <a:pos x="105" y="334"/>
                </a:cxn>
                <a:cxn ang="0">
                  <a:pos x="145" y="332"/>
                </a:cxn>
                <a:cxn ang="0">
                  <a:pos x="247" y="313"/>
                </a:cxn>
                <a:cxn ang="0">
                  <a:pos x="279" y="329"/>
                </a:cxn>
                <a:cxn ang="0">
                  <a:pos x="312" y="321"/>
                </a:cxn>
                <a:cxn ang="0">
                  <a:pos x="332" y="318"/>
                </a:cxn>
                <a:cxn ang="0">
                  <a:pos x="380" y="311"/>
                </a:cxn>
                <a:cxn ang="0">
                  <a:pos x="445" y="294"/>
                </a:cxn>
                <a:cxn ang="0">
                  <a:pos x="463" y="190"/>
                </a:cxn>
                <a:cxn ang="0">
                  <a:pos x="559" y="20"/>
                </a:cxn>
                <a:cxn ang="0">
                  <a:pos x="567" y="30"/>
                </a:cxn>
                <a:cxn ang="0">
                  <a:pos x="565" y="22"/>
                </a:cxn>
                <a:cxn ang="0">
                  <a:pos x="622" y="17"/>
                </a:cxn>
              </a:cxnLst>
              <a:rect l="0" t="0" r="r" b="b"/>
              <a:pathLst>
                <a:path w="1103" h="985">
                  <a:moveTo>
                    <a:pt x="625" y="0"/>
                  </a:moveTo>
                  <a:lnTo>
                    <a:pt x="720" y="50"/>
                  </a:lnTo>
                  <a:lnTo>
                    <a:pt x="717" y="53"/>
                  </a:lnTo>
                  <a:lnTo>
                    <a:pt x="719" y="56"/>
                  </a:lnTo>
                  <a:lnTo>
                    <a:pt x="734" y="60"/>
                  </a:lnTo>
                  <a:lnTo>
                    <a:pt x="759" y="64"/>
                  </a:lnTo>
                  <a:lnTo>
                    <a:pt x="764" y="65"/>
                  </a:lnTo>
                  <a:lnTo>
                    <a:pt x="769" y="68"/>
                  </a:lnTo>
                  <a:lnTo>
                    <a:pt x="778" y="78"/>
                  </a:lnTo>
                  <a:lnTo>
                    <a:pt x="782" y="83"/>
                  </a:lnTo>
                  <a:lnTo>
                    <a:pt x="787" y="86"/>
                  </a:lnTo>
                  <a:lnTo>
                    <a:pt x="794" y="87"/>
                  </a:lnTo>
                  <a:lnTo>
                    <a:pt x="802" y="86"/>
                  </a:lnTo>
                  <a:lnTo>
                    <a:pt x="848" y="130"/>
                  </a:lnTo>
                  <a:lnTo>
                    <a:pt x="848" y="158"/>
                  </a:lnTo>
                  <a:lnTo>
                    <a:pt x="854" y="184"/>
                  </a:lnTo>
                  <a:lnTo>
                    <a:pt x="864" y="209"/>
                  </a:lnTo>
                  <a:lnTo>
                    <a:pt x="870" y="220"/>
                  </a:lnTo>
                  <a:lnTo>
                    <a:pt x="879" y="230"/>
                  </a:lnTo>
                  <a:lnTo>
                    <a:pt x="879" y="239"/>
                  </a:lnTo>
                  <a:lnTo>
                    <a:pt x="881" y="246"/>
                  </a:lnTo>
                  <a:lnTo>
                    <a:pt x="892" y="259"/>
                  </a:lnTo>
                  <a:lnTo>
                    <a:pt x="898" y="313"/>
                  </a:lnTo>
                  <a:lnTo>
                    <a:pt x="884" y="311"/>
                  </a:lnTo>
                  <a:lnTo>
                    <a:pt x="868" y="309"/>
                  </a:lnTo>
                  <a:lnTo>
                    <a:pt x="866" y="313"/>
                  </a:lnTo>
                  <a:lnTo>
                    <a:pt x="866" y="319"/>
                  </a:lnTo>
                  <a:lnTo>
                    <a:pt x="872" y="331"/>
                  </a:lnTo>
                  <a:lnTo>
                    <a:pt x="878" y="346"/>
                  </a:lnTo>
                  <a:lnTo>
                    <a:pt x="879" y="353"/>
                  </a:lnTo>
                  <a:lnTo>
                    <a:pt x="879" y="360"/>
                  </a:lnTo>
                  <a:lnTo>
                    <a:pt x="883" y="363"/>
                  </a:lnTo>
                  <a:lnTo>
                    <a:pt x="894" y="373"/>
                  </a:lnTo>
                  <a:lnTo>
                    <a:pt x="908" y="389"/>
                  </a:lnTo>
                  <a:lnTo>
                    <a:pt x="909" y="399"/>
                  </a:lnTo>
                  <a:lnTo>
                    <a:pt x="914" y="410"/>
                  </a:lnTo>
                  <a:lnTo>
                    <a:pt x="918" y="424"/>
                  </a:lnTo>
                  <a:lnTo>
                    <a:pt x="920" y="435"/>
                  </a:lnTo>
                  <a:lnTo>
                    <a:pt x="921" y="440"/>
                  </a:lnTo>
                  <a:lnTo>
                    <a:pt x="924" y="444"/>
                  </a:lnTo>
                  <a:lnTo>
                    <a:pt x="928" y="447"/>
                  </a:lnTo>
                  <a:lnTo>
                    <a:pt x="933" y="452"/>
                  </a:lnTo>
                  <a:lnTo>
                    <a:pt x="933" y="591"/>
                  </a:lnTo>
                  <a:lnTo>
                    <a:pt x="922" y="602"/>
                  </a:lnTo>
                  <a:lnTo>
                    <a:pt x="914" y="611"/>
                  </a:lnTo>
                  <a:lnTo>
                    <a:pt x="910" y="617"/>
                  </a:lnTo>
                  <a:lnTo>
                    <a:pt x="909" y="622"/>
                  </a:lnTo>
                  <a:lnTo>
                    <a:pt x="909" y="628"/>
                  </a:lnTo>
                  <a:lnTo>
                    <a:pt x="912" y="636"/>
                  </a:lnTo>
                  <a:lnTo>
                    <a:pt x="953" y="653"/>
                  </a:lnTo>
                  <a:lnTo>
                    <a:pt x="959" y="659"/>
                  </a:lnTo>
                  <a:lnTo>
                    <a:pt x="976" y="673"/>
                  </a:lnTo>
                  <a:lnTo>
                    <a:pt x="983" y="680"/>
                  </a:lnTo>
                  <a:lnTo>
                    <a:pt x="986" y="684"/>
                  </a:lnTo>
                  <a:lnTo>
                    <a:pt x="987" y="687"/>
                  </a:lnTo>
                  <a:lnTo>
                    <a:pt x="994" y="690"/>
                  </a:lnTo>
                  <a:lnTo>
                    <a:pt x="1024" y="698"/>
                  </a:lnTo>
                  <a:lnTo>
                    <a:pt x="1024" y="705"/>
                  </a:lnTo>
                  <a:lnTo>
                    <a:pt x="1027" y="709"/>
                  </a:lnTo>
                  <a:lnTo>
                    <a:pt x="1038" y="721"/>
                  </a:lnTo>
                  <a:lnTo>
                    <a:pt x="1070" y="797"/>
                  </a:lnTo>
                  <a:lnTo>
                    <a:pt x="1103" y="824"/>
                  </a:lnTo>
                  <a:lnTo>
                    <a:pt x="1092" y="826"/>
                  </a:lnTo>
                  <a:lnTo>
                    <a:pt x="1086" y="830"/>
                  </a:lnTo>
                  <a:lnTo>
                    <a:pt x="1084" y="837"/>
                  </a:lnTo>
                  <a:lnTo>
                    <a:pt x="1083" y="845"/>
                  </a:lnTo>
                  <a:lnTo>
                    <a:pt x="1087" y="865"/>
                  </a:lnTo>
                  <a:lnTo>
                    <a:pt x="1091" y="888"/>
                  </a:lnTo>
                  <a:lnTo>
                    <a:pt x="1098" y="889"/>
                  </a:lnTo>
                  <a:lnTo>
                    <a:pt x="1102" y="891"/>
                  </a:lnTo>
                  <a:lnTo>
                    <a:pt x="1103" y="895"/>
                  </a:lnTo>
                  <a:lnTo>
                    <a:pt x="1102" y="899"/>
                  </a:lnTo>
                  <a:lnTo>
                    <a:pt x="1086" y="925"/>
                  </a:lnTo>
                  <a:lnTo>
                    <a:pt x="1077" y="932"/>
                  </a:lnTo>
                  <a:lnTo>
                    <a:pt x="1067" y="939"/>
                  </a:lnTo>
                  <a:lnTo>
                    <a:pt x="1057" y="942"/>
                  </a:lnTo>
                  <a:lnTo>
                    <a:pt x="1045" y="945"/>
                  </a:lnTo>
                  <a:lnTo>
                    <a:pt x="1022" y="947"/>
                  </a:lnTo>
                  <a:lnTo>
                    <a:pt x="998" y="947"/>
                  </a:lnTo>
                  <a:lnTo>
                    <a:pt x="975" y="948"/>
                  </a:lnTo>
                  <a:lnTo>
                    <a:pt x="952" y="952"/>
                  </a:lnTo>
                  <a:lnTo>
                    <a:pt x="941" y="956"/>
                  </a:lnTo>
                  <a:lnTo>
                    <a:pt x="932" y="962"/>
                  </a:lnTo>
                  <a:lnTo>
                    <a:pt x="922" y="969"/>
                  </a:lnTo>
                  <a:lnTo>
                    <a:pt x="915" y="979"/>
                  </a:lnTo>
                  <a:lnTo>
                    <a:pt x="900" y="983"/>
                  </a:lnTo>
                  <a:lnTo>
                    <a:pt x="885" y="985"/>
                  </a:lnTo>
                  <a:lnTo>
                    <a:pt x="870" y="985"/>
                  </a:lnTo>
                  <a:lnTo>
                    <a:pt x="855" y="983"/>
                  </a:lnTo>
                  <a:lnTo>
                    <a:pt x="840" y="980"/>
                  </a:lnTo>
                  <a:lnTo>
                    <a:pt x="826" y="976"/>
                  </a:lnTo>
                  <a:lnTo>
                    <a:pt x="800" y="963"/>
                  </a:lnTo>
                  <a:lnTo>
                    <a:pt x="794" y="960"/>
                  </a:lnTo>
                  <a:lnTo>
                    <a:pt x="787" y="954"/>
                  </a:lnTo>
                  <a:lnTo>
                    <a:pt x="771" y="936"/>
                  </a:lnTo>
                  <a:lnTo>
                    <a:pt x="751" y="909"/>
                  </a:lnTo>
                  <a:lnTo>
                    <a:pt x="747" y="909"/>
                  </a:lnTo>
                  <a:lnTo>
                    <a:pt x="740" y="906"/>
                  </a:lnTo>
                  <a:lnTo>
                    <a:pt x="717" y="894"/>
                  </a:lnTo>
                  <a:lnTo>
                    <a:pt x="698" y="881"/>
                  </a:lnTo>
                  <a:lnTo>
                    <a:pt x="694" y="877"/>
                  </a:lnTo>
                  <a:lnTo>
                    <a:pt x="697" y="877"/>
                  </a:lnTo>
                  <a:lnTo>
                    <a:pt x="694" y="878"/>
                  </a:lnTo>
                  <a:lnTo>
                    <a:pt x="693" y="880"/>
                  </a:lnTo>
                  <a:lnTo>
                    <a:pt x="693" y="884"/>
                  </a:lnTo>
                  <a:lnTo>
                    <a:pt x="693" y="889"/>
                  </a:lnTo>
                  <a:lnTo>
                    <a:pt x="691" y="895"/>
                  </a:lnTo>
                  <a:lnTo>
                    <a:pt x="682" y="889"/>
                  </a:lnTo>
                  <a:lnTo>
                    <a:pt x="673" y="885"/>
                  </a:lnTo>
                  <a:lnTo>
                    <a:pt x="647" y="877"/>
                  </a:lnTo>
                  <a:lnTo>
                    <a:pt x="636" y="883"/>
                  </a:lnTo>
                  <a:lnTo>
                    <a:pt x="626" y="889"/>
                  </a:lnTo>
                  <a:lnTo>
                    <a:pt x="615" y="896"/>
                  </a:lnTo>
                  <a:lnTo>
                    <a:pt x="607" y="897"/>
                  </a:lnTo>
                  <a:lnTo>
                    <a:pt x="600" y="898"/>
                  </a:lnTo>
                  <a:lnTo>
                    <a:pt x="598" y="900"/>
                  </a:lnTo>
                  <a:lnTo>
                    <a:pt x="597" y="902"/>
                  </a:lnTo>
                  <a:lnTo>
                    <a:pt x="596" y="908"/>
                  </a:lnTo>
                  <a:lnTo>
                    <a:pt x="595" y="909"/>
                  </a:lnTo>
                  <a:lnTo>
                    <a:pt x="592" y="908"/>
                  </a:lnTo>
                  <a:lnTo>
                    <a:pt x="579" y="891"/>
                  </a:lnTo>
                  <a:lnTo>
                    <a:pt x="545" y="850"/>
                  </a:lnTo>
                  <a:lnTo>
                    <a:pt x="485" y="841"/>
                  </a:lnTo>
                  <a:lnTo>
                    <a:pt x="448" y="797"/>
                  </a:lnTo>
                  <a:lnTo>
                    <a:pt x="448" y="756"/>
                  </a:lnTo>
                  <a:lnTo>
                    <a:pt x="443" y="748"/>
                  </a:lnTo>
                  <a:lnTo>
                    <a:pt x="440" y="745"/>
                  </a:lnTo>
                  <a:lnTo>
                    <a:pt x="436" y="742"/>
                  </a:lnTo>
                  <a:lnTo>
                    <a:pt x="376" y="761"/>
                  </a:lnTo>
                  <a:lnTo>
                    <a:pt x="328" y="698"/>
                  </a:lnTo>
                  <a:lnTo>
                    <a:pt x="324" y="685"/>
                  </a:lnTo>
                  <a:lnTo>
                    <a:pt x="319" y="675"/>
                  </a:lnTo>
                  <a:lnTo>
                    <a:pt x="312" y="665"/>
                  </a:lnTo>
                  <a:lnTo>
                    <a:pt x="302" y="658"/>
                  </a:lnTo>
                  <a:lnTo>
                    <a:pt x="282" y="642"/>
                  </a:lnTo>
                  <a:lnTo>
                    <a:pt x="274" y="633"/>
                  </a:lnTo>
                  <a:lnTo>
                    <a:pt x="266" y="624"/>
                  </a:lnTo>
                  <a:lnTo>
                    <a:pt x="242" y="622"/>
                  </a:lnTo>
                  <a:lnTo>
                    <a:pt x="231" y="620"/>
                  </a:lnTo>
                  <a:lnTo>
                    <a:pt x="224" y="618"/>
                  </a:lnTo>
                  <a:lnTo>
                    <a:pt x="216" y="609"/>
                  </a:lnTo>
                  <a:lnTo>
                    <a:pt x="210" y="584"/>
                  </a:lnTo>
                  <a:lnTo>
                    <a:pt x="202" y="579"/>
                  </a:lnTo>
                  <a:lnTo>
                    <a:pt x="194" y="573"/>
                  </a:lnTo>
                  <a:lnTo>
                    <a:pt x="178" y="577"/>
                  </a:lnTo>
                  <a:lnTo>
                    <a:pt x="163" y="578"/>
                  </a:lnTo>
                  <a:lnTo>
                    <a:pt x="149" y="576"/>
                  </a:lnTo>
                  <a:lnTo>
                    <a:pt x="134" y="570"/>
                  </a:lnTo>
                  <a:lnTo>
                    <a:pt x="117" y="557"/>
                  </a:lnTo>
                  <a:lnTo>
                    <a:pt x="103" y="541"/>
                  </a:lnTo>
                  <a:lnTo>
                    <a:pt x="58" y="525"/>
                  </a:lnTo>
                  <a:lnTo>
                    <a:pt x="52" y="522"/>
                  </a:lnTo>
                  <a:lnTo>
                    <a:pt x="50" y="519"/>
                  </a:lnTo>
                  <a:lnTo>
                    <a:pt x="50" y="511"/>
                  </a:lnTo>
                  <a:lnTo>
                    <a:pt x="50" y="508"/>
                  </a:lnTo>
                  <a:lnTo>
                    <a:pt x="47" y="505"/>
                  </a:lnTo>
                  <a:lnTo>
                    <a:pt x="40" y="504"/>
                  </a:lnTo>
                  <a:lnTo>
                    <a:pt x="29" y="503"/>
                  </a:lnTo>
                  <a:lnTo>
                    <a:pt x="20" y="498"/>
                  </a:lnTo>
                  <a:lnTo>
                    <a:pt x="12" y="490"/>
                  </a:lnTo>
                  <a:lnTo>
                    <a:pt x="5" y="482"/>
                  </a:lnTo>
                  <a:lnTo>
                    <a:pt x="0" y="471"/>
                  </a:lnTo>
                  <a:lnTo>
                    <a:pt x="0" y="383"/>
                  </a:lnTo>
                  <a:lnTo>
                    <a:pt x="2" y="376"/>
                  </a:lnTo>
                  <a:lnTo>
                    <a:pt x="8" y="368"/>
                  </a:lnTo>
                  <a:lnTo>
                    <a:pt x="14" y="363"/>
                  </a:lnTo>
                  <a:lnTo>
                    <a:pt x="22" y="360"/>
                  </a:lnTo>
                  <a:lnTo>
                    <a:pt x="57" y="346"/>
                  </a:lnTo>
                  <a:lnTo>
                    <a:pt x="93" y="332"/>
                  </a:lnTo>
                  <a:lnTo>
                    <a:pt x="95" y="330"/>
                  </a:lnTo>
                  <a:lnTo>
                    <a:pt x="98" y="330"/>
                  </a:lnTo>
                  <a:lnTo>
                    <a:pt x="105" y="334"/>
                  </a:lnTo>
                  <a:lnTo>
                    <a:pt x="112" y="341"/>
                  </a:lnTo>
                  <a:lnTo>
                    <a:pt x="115" y="343"/>
                  </a:lnTo>
                  <a:lnTo>
                    <a:pt x="120" y="344"/>
                  </a:lnTo>
                  <a:lnTo>
                    <a:pt x="145" y="332"/>
                  </a:lnTo>
                  <a:lnTo>
                    <a:pt x="169" y="305"/>
                  </a:lnTo>
                  <a:lnTo>
                    <a:pt x="241" y="305"/>
                  </a:lnTo>
                  <a:lnTo>
                    <a:pt x="246" y="308"/>
                  </a:lnTo>
                  <a:lnTo>
                    <a:pt x="247" y="313"/>
                  </a:lnTo>
                  <a:lnTo>
                    <a:pt x="248" y="319"/>
                  </a:lnTo>
                  <a:lnTo>
                    <a:pt x="250" y="325"/>
                  </a:lnTo>
                  <a:lnTo>
                    <a:pt x="258" y="327"/>
                  </a:lnTo>
                  <a:lnTo>
                    <a:pt x="279" y="329"/>
                  </a:lnTo>
                  <a:lnTo>
                    <a:pt x="308" y="332"/>
                  </a:lnTo>
                  <a:lnTo>
                    <a:pt x="310" y="330"/>
                  </a:lnTo>
                  <a:lnTo>
                    <a:pt x="311" y="326"/>
                  </a:lnTo>
                  <a:lnTo>
                    <a:pt x="312" y="321"/>
                  </a:lnTo>
                  <a:lnTo>
                    <a:pt x="314" y="319"/>
                  </a:lnTo>
                  <a:lnTo>
                    <a:pt x="317" y="318"/>
                  </a:lnTo>
                  <a:lnTo>
                    <a:pt x="323" y="319"/>
                  </a:lnTo>
                  <a:lnTo>
                    <a:pt x="332" y="318"/>
                  </a:lnTo>
                  <a:lnTo>
                    <a:pt x="341" y="317"/>
                  </a:lnTo>
                  <a:lnTo>
                    <a:pt x="350" y="317"/>
                  </a:lnTo>
                  <a:lnTo>
                    <a:pt x="364" y="313"/>
                  </a:lnTo>
                  <a:lnTo>
                    <a:pt x="380" y="311"/>
                  </a:lnTo>
                  <a:lnTo>
                    <a:pt x="409" y="308"/>
                  </a:lnTo>
                  <a:lnTo>
                    <a:pt x="422" y="306"/>
                  </a:lnTo>
                  <a:lnTo>
                    <a:pt x="434" y="301"/>
                  </a:lnTo>
                  <a:lnTo>
                    <a:pt x="445" y="294"/>
                  </a:lnTo>
                  <a:lnTo>
                    <a:pt x="457" y="283"/>
                  </a:lnTo>
                  <a:lnTo>
                    <a:pt x="455" y="203"/>
                  </a:lnTo>
                  <a:lnTo>
                    <a:pt x="458" y="199"/>
                  </a:lnTo>
                  <a:lnTo>
                    <a:pt x="463" y="190"/>
                  </a:lnTo>
                  <a:lnTo>
                    <a:pt x="472" y="177"/>
                  </a:lnTo>
                  <a:lnTo>
                    <a:pt x="480" y="119"/>
                  </a:lnTo>
                  <a:lnTo>
                    <a:pt x="537" y="38"/>
                  </a:lnTo>
                  <a:lnTo>
                    <a:pt x="559" y="20"/>
                  </a:lnTo>
                  <a:lnTo>
                    <a:pt x="563" y="16"/>
                  </a:lnTo>
                  <a:lnTo>
                    <a:pt x="562" y="21"/>
                  </a:lnTo>
                  <a:lnTo>
                    <a:pt x="563" y="25"/>
                  </a:lnTo>
                  <a:lnTo>
                    <a:pt x="567" y="30"/>
                  </a:lnTo>
                  <a:lnTo>
                    <a:pt x="563" y="28"/>
                  </a:lnTo>
                  <a:lnTo>
                    <a:pt x="562" y="26"/>
                  </a:lnTo>
                  <a:lnTo>
                    <a:pt x="563" y="24"/>
                  </a:lnTo>
                  <a:lnTo>
                    <a:pt x="565" y="22"/>
                  </a:lnTo>
                  <a:lnTo>
                    <a:pt x="575" y="20"/>
                  </a:lnTo>
                  <a:lnTo>
                    <a:pt x="589" y="18"/>
                  </a:lnTo>
                  <a:lnTo>
                    <a:pt x="615" y="16"/>
                  </a:lnTo>
                  <a:lnTo>
                    <a:pt x="622" y="17"/>
                  </a:lnTo>
                  <a:lnTo>
                    <a:pt x="623" y="17"/>
                  </a:lnTo>
                  <a:lnTo>
                    <a:pt x="623" y="18"/>
                  </a:lnTo>
                  <a:lnTo>
                    <a:pt x="625"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44" name="Freeform 55"/>
            <p:cNvSpPr>
              <a:spLocks/>
            </p:cNvSpPr>
            <p:nvPr/>
          </p:nvSpPr>
          <p:spPr bwMode="auto">
            <a:xfrm>
              <a:off x="415" y="333"/>
              <a:ext cx="17" cy="21"/>
            </a:xfrm>
            <a:custGeom>
              <a:avLst/>
              <a:gdLst/>
              <a:ahLst/>
              <a:cxnLst>
                <a:cxn ang="0">
                  <a:pos x="153" y="7"/>
                </a:cxn>
                <a:cxn ang="0">
                  <a:pos x="171" y="36"/>
                </a:cxn>
                <a:cxn ang="0">
                  <a:pos x="182" y="50"/>
                </a:cxn>
                <a:cxn ang="0">
                  <a:pos x="193" y="62"/>
                </a:cxn>
                <a:cxn ang="0">
                  <a:pos x="206" y="73"/>
                </a:cxn>
                <a:cxn ang="0">
                  <a:pos x="220" y="80"/>
                </a:cxn>
                <a:cxn ang="0">
                  <a:pos x="234" y="86"/>
                </a:cxn>
                <a:cxn ang="0">
                  <a:pos x="251" y="88"/>
                </a:cxn>
                <a:cxn ang="0">
                  <a:pos x="263" y="102"/>
                </a:cxn>
                <a:cxn ang="0">
                  <a:pos x="270" y="118"/>
                </a:cxn>
                <a:cxn ang="0">
                  <a:pos x="274" y="134"/>
                </a:cxn>
                <a:cxn ang="0">
                  <a:pos x="274" y="151"/>
                </a:cxn>
                <a:cxn ang="0">
                  <a:pos x="272" y="168"/>
                </a:cxn>
                <a:cxn ang="0">
                  <a:pos x="268" y="186"/>
                </a:cxn>
                <a:cxn ang="0">
                  <a:pos x="261" y="201"/>
                </a:cxn>
                <a:cxn ang="0">
                  <a:pos x="251" y="218"/>
                </a:cxn>
                <a:cxn ang="0">
                  <a:pos x="240" y="233"/>
                </a:cxn>
                <a:cxn ang="0">
                  <a:pos x="227" y="248"/>
                </a:cxn>
                <a:cxn ang="0">
                  <a:pos x="213" y="260"/>
                </a:cxn>
                <a:cxn ang="0">
                  <a:pos x="198" y="271"/>
                </a:cxn>
                <a:cxn ang="0">
                  <a:pos x="183" y="280"/>
                </a:cxn>
                <a:cxn ang="0">
                  <a:pos x="167" y="288"/>
                </a:cxn>
                <a:cxn ang="0">
                  <a:pos x="151" y="292"/>
                </a:cxn>
                <a:cxn ang="0">
                  <a:pos x="136" y="293"/>
                </a:cxn>
                <a:cxn ang="0">
                  <a:pos x="115" y="311"/>
                </a:cxn>
                <a:cxn ang="0">
                  <a:pos x="90" y="328"/>
                </a:cxn>
                <a:cxn ang="0">
                  <a:pos x="63" y="342"/>
                </a:cxn>
                <a:cxn ang="0">
                  <a:pos x="51" y="347"/>
                </a:cxn>
                <a:cxn ang="0">
                  <a:pos x="40" y="350"/>
                </a:cxn>
                <a:cxn ang="0">
                  <a:pos x="28" y="350"/>
                </a:cxn>
                <a:cxn ang="0">
                  <a:pos x="22" y="348"/>
                </a:cxn>
                <a:cxn ang="0">
                  <a:pos x="17" y="343"/>
                </a:cxn>
                <a:cxn ang="0">
                  <a:pos x="11" y="337"/>
                </a:cxn>
                <a:cxn ang="0">
                  <a:pos x="7" y="329"/>
                </a:cxn>
                <a:cxn ang="0">
                  <a:pos x="2" y="311"/>
                </a:cxn>
                <a:cxn ang="0">
                  <a:pos x="0" y="298"/>
                </a:cxn>
                <a:cxn ang="0">
                  <a:pos x="15" y="277"/>
                </a:cxn>
                <a:cxn ang="0">
                  <a:pos x="31" y="252"/>
                </a:cxn>
                <a:cxn ang="0">
                  <a:pos x="46" y="226"/>
                </a:cxn>
                <a:cxn ang="0">
                  <a:pos x="57" y="201"/>
                </a:cxn>
                <a:cxn ang="0">
                  <a:pos x="67" y="182"/>
                </a:cxn>
                <a:cxn ang="0">
                  <a:pos x="80" y="166"/>
                </a:cxn>
                <a:cxn ang="0">
                  <a:pos x="108" y="136"/>
                </a:cxn>
                <a:cxn ang="0">
                  <a:pos x="121" y="121"/>
                </a:cxn>
                <a:cxn ang="0">
                  <a:pos x="126" y="113"/>
                </a:cxn>
                <a:cxn ang="0">
                  <a:pos x="129" y="104"/>
                </a:cxn>
                <a:cxn ang="0">
                  <a:pos x="132" y="94"/>
                </a:cxn>
                <a:cxn ang="0">
                  <a:pos x="133" y="83"/>
                </a:cxn>
                <a:cxn ang="0">
                  <a:pos x="133" y="72"/>
                </a:cxn>
                <a:cxn ang="0">
                  <a:pos x="131" y="58"/>
                </a:cxn>
                <a:cxn ang="0">
                  <a:pos x="131" y="36"/>
                </a:cxn>
                <a:cxn ang="0">
                  <a:pos x="123" y="27"/>
                </a:cxn>
                <a:cxn ang="0">
                  <a:pos x="121" y="20"/>
                </a:cxn>
                <a:cxn ang="0">
                  <a:pos x="120" y="13"/>
                </a:cxn>
                <a:cxn ang="0">
                  <a:pos x="124" y="12"/>
                </a:cxn>
                <a:cxn ang="0">
                  <a:pos x="128" y="10"/>
                </a:cxn>
                <a:cxn ang="0">
                  <a:pos x="132" y="8"/>
                </a:cxn>
                <a:cxn ang="0">
                  <a:pos x="136" y="7"/>
                </a:cxn>
                <a:cxn ang="0">
                  <a:pos x="138" y="3"/>
                </a:cxn>
                <a:cxn ang="0">
                  <a:pos x="143" y="0"/>
                </a:cxn>
                <a:cxn ang="0">
                  <a:pos x="148" y="1"/>
                </a:cxn>
                <a:cxn ang="0">
                  <a:pos x="153" y="7"/>
                </a:cxn>
              </a:cxnLst>
              <a:rect l="0" t="0" r="r" b="b"/>
              <a:pathLst>
                <a:path w="274" h="350">
                  <a:moveTo>
                    <a:pt x="153" y="7"/>
                  </a:moveTo>
                  <a:lnTo>
                    <a:pt x="171" y="36"/>
                  </a:lnTo>
                  <a:lnTo>
                    <a:pt x="182" y="50"/>
                  </a:lnTo>
                  <a:lnTo>
                    <a:pt x="193" y="62"/>
                  </a:lnTo>
                  <a:lnTo>
                    <a:pt x="206" y="73"/>
                  </a:lnTo>
                  <a:lnTo>
                    <a:pt x="220" y="80"/>
                  </a:lnTo>
                  <a:lnTo>
                    <a:pt x="234" y="86"/>
                  </a:lnTo>
                  <a:lnTo>
                    <a:pt x="251" y="88"/>
                  </a:lnTo>
                  <a:lnTo>
                    <a:pt x="263" y="102"/>
                  </a:lnTo>
                  <a:lnTo>
                    <a:pt x="270" y="118"/>
                  </a:lnTo>
                  <a:lnTo>
                    <a:pt x="274" y="134"/>
                  </a:lnTo>
                  <a:lnTo>
                    <a:pt x="274" y="151"/>
                  </a:lnTo>
                  <a:lnTo>
                    <a:pt x="272" y="168"/>
                  </a:lnTo>
                  <a:lnTo>
                    <a:pt x="268" y="186"/>
                  </a:lnTo>
                  <a:lnTo>
                    <a:pt x="261" y="201"/>
                  </a:lnTo>
                  <a:lnTo>
                    <a:pt x="251" y="218"/>
                  </a:lnTo>
                  <a:lnTo>
                    <a:pt x="240" y="233"/>
                  </a:lnTo>
                  <a:lnTo>
                    <a:pt x="227" y="248"/>
                  </a:lnTo>
                  <a:lnTo>
                    <a:pt x="213" y="260"/>
                  </a:lnTo>
                  <a:lnTo>
                    <a:pt x="198" y="271"/>
                  </a:lnTo>
                  <a:lnTo>
                    <a:pt x="183" y="280"/>
                  </a:lnTo>
                  <a:lnTo>
                    <a:pt x="167" y="288"/>
                  </a:lnTo>
                  <a:lnTo>
                    <a:pt x="151" y="292"/>
                  </a:lnTo>
                  <a:lnTo>
                    <a:pt x="136" y="293"/>
                  </a:lnTo>
                  <a:lnTo>
                    <a:pt x="115" y="311"/>
                  </a:lnTo>
                  <a:lnTo>
                    <a:pt x="90" y="328"/>
                  </a:lnTo>
                  <a:lnTo>
                    <a:pt x="63" y="342"/>
                  </a:lnTo>
                  <a:lnTo>
                    <a:pt x="51" y="347"/>
                  </a:lnTo>
                  <a:lnTo>
                    <a:pt x="40" y="350"/>
                  </a:lnTo>
                  <a:lnTo>
                    <a:pt x="28" y="350"/>
                  </a:lnTo>
                  <a:lnTo>
                    <a:pt x="22" y="348"/>
                  </a:lnTo>
                  <a:lnTo>
                    <a:pt x="17" y="343"/>
                  </a:lnTo>
                  <a:lnTo>
                    <a:pt x="11" y="337"/>
                  </a:lnTo>
                  <a:lnTo>
                    <a:pt x="7" y="329"/>
                  </a:lnTo>
                  <a:lnTo>
                    <a:pt x="2" y="311"/>
                  </a:lnTo>
                  <a:lnTo>
                    <a:pt x="0" y="298"/>
                  </a:lnTo>
                  <a:lnTo>
                    <a:pt x="15" y="277"/>
                  </a:lnTo>
                  <a:lnTo>
                    <a:pt x="31" y="252"/>
                  </a:lnTo>
                  <a:lnTo>
                    <a:pt x="46" y="226"/>
                  </a:lnTo>
                  <a:lnTo>
                    <a:pt x="57" y="201"/>
                  </a:lnTo>
                  <a:lnTo>
                    <a:pt x="67" y="182"/>
                  </a:lnTo>
                  <a:lnTo>
                    <a:pt x="80" y="166"/>
                  </a:lnTo>
                  <a:lnTo>
                    <a:pt x="108" y="136"/>
                  </a:lnTo>
                  <a:lnTo>
                    <a:pt x="121" y="121"/>
                  </a:lnTo>
                  <a:lnTo>
                    <a:pt x="126" y="113"/>
                  </a:lnTo>
                  <a:lnTo>
                    <a:pt x="129" y="104"/>
                  </a:lnTo>
                  <a:lnTo>
                    <a:pt x="132" y="94"/>
                  </a:lnTo>
                  <a:lnTo>
                    <a:pt x="133" y="83"/>
                  </a:lnTo>
                  <a:lnTo>
                    <a:pt x="133" y="72"/>
                  </a:lnTo>
                  <a:lnTo>
                    <a:pt x="131" y="58"/>
                  </a:lnTo>
                  <a:lnTo>
                    <a:pt x="131" y="36"/>
                  </a:lnTo>
                  <a:lnTo>
                    <a:pt x="123" y="27"/>
                  </a:lnTo>
                  <a:lnTo>
                    <a:pt x="121" y="20"/>
                  </a:lnTo>
                  <a:lnTo>
                    <a:pt x="120" y="13"/>
                  </a:lnTo>
                  <a:lnTo>
                    <a:pt x="124" y="12"/>
                  </a:lnTo>
                  <a:lnTo>
                    <a:pt x="128" y="10"/>
                  </a:lnTo>
                  <a:lnTo>
                    <a:pt x="132" y="8"/>
                  </a:lnTo>
                  <a:lnTo>
                    <a:pt x="136" y="7"/>
                  </a:lnTo>
                  <a:lnTo>
                    <a:pt x="138" y="3"/>
                  </a:lnTo>
                  <a:lnTo>
                    <a:pt x="143" y="0"/>
                  </a:lnTo>
                  <a:lnTo>
                    <a:pt x="148" y="1"/>
                  </a:lnTo>
                  <a:lnTo>
                    <a:pt x="153" y="7"/>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45" name="Freeform 56"/>
            <p:cNvSpPr>
              <a:spLocks/>
            </p:cNvSpPr>
            <p:nvPr/>
          </p:nvSpPr>
          <p:spPr bwMode="auto">
            <a:xfrm>
              <a:off x="490" y="386"/>
              <a:ext cx="9" cy="16"/>
            </a:xfrm>
            <a:custGeom>
              <a:avLst/>
              <a:gdLst/>
              <a:ahLst/>
              <a:cxnLst>
                <a:cxn ang="0">
                  <a:pos x="41" y="0"/>
                </a:cxn>
                <a:cxn ang="0">
                  <a:pos x="48" y="1"/>
                </a:cxn>
                <a:cxn ang="0">
                  <a:pos x="56" y="5"/>
                </a:cxn>
                <a:cxn ang="0">
                  <a:pos x="71" y="12"/>
                </a:cxn>
                <a:cxn ang="0">
                  <a:pos x="86" y="20"/>
                </a:cxn>
                <a:cxn ang="0">
                  <a:pos x="94" y="23"/>
                </a:cxn>
                <a:cxn ang="0">
                  <a:pos x="103" y="24"/>
                </a:cxn>
                <a:cxn ang="0">
                  <a:pos x="110" y="37"/>
                </a:cxn>
                <a:cxn ang="0">
                  <a:pos x="123" y="52"/>
                </a:cxn>
                <a:cxn ang="0">
                  <a:pos x="134" y="67"/>
                </a:cxn>
                <a:cxn ang="0">
                  <a:pos x="143" y="79"/>
                </a:cxn>
                <a:cxn ang="0">
                  <a:pos x="146" y="90"/>
                </a:cxn>
                <a:cxn ang="0">
                  <a:pos x="148" y="102"/>
                </a:cxn>
                <a:cxn ang="0">
                  <a:pos x="149" y="124"/>
                </a:cxn>
                <a:cxn ang="0">
                  <a:pos x="147" y="146"/>
                </a:cxn>
                <a:cxn ang="0">
                  <a:pos x="143" y="168"/>
                </a:cxn>
                <a:cxn ang="0">
                  <a:pos x="131" y="213"/>
                </a:cxn>
                <a:cxn ang="0">
                  <a:pos x="127" y="235"/>
                </a:cxn>
                <a:cxn ang="0">
                  <a:pos x="126" y="256"/>
                </a:cxn>
                <a:cxn ang="0">
                  <a:pos x="109" y="274"/>
                </a:cxn>
                <a:cxn ang="0">
                  <a:pos x="94" y="273"/>
                </a:cxn>
                <a:cxn ang="0">
                  <a:pos x="81" y="270"/>
                </a:cxn>
                <a:cxn ang="0">
                  <a:pos x="69" y="265"/>
                </a:cxn>
                <a:cxn ang="0">
                  <a:pos x="57" y="258"/>
                </a:cxn>
                <a:cxn ang="0">
                  <a:pos x="48" y="250"/>
                </a:cxn>
                <a:cxn ang="0">
                  <a:pos x="39" y="240"/>
                </a:cxn>
                <a:cxn ang="0">
                  <a:pos x="31" y="230"/>
                </a:cxn>
                <a:cxn ang="0">
                  <a:pos x="24" y="218"/>
                </a:cxn>
                <a:cxn ang="0">
                  <a:pos x="13" y="193"/>
                </a:cxn>
                <a:cxn ang="0">
                  <a:pos x="5" y="166"/>
                </a:cxn>
                <a:cxn ang="0">
                  <a:pos x="1" y="139"/>
                </a:cxn>
                <a:cxn ang="0">
                  <a:pos x="0" y="114"/>
                </a:cxn>
                <a:cxn ang="0">
                  <a:pos x="51" y="64"/>
                </a:cxn>
                <a:cxn ang="0">
                  <a:pos x="49" y="47"/>
                </a:cxn>
                <a:cxn ang="0">
                  <a:pos x="46" y="30"/>
                </a:cxn>
                <a:cxn ang="0">
                  <a:pos x="42" y="15"/>
                </a:cxn>
                <a:cxn ang="0">
                  <a:pos x="41" y="0"/>
                </a:cxn>
              </a:cxnLst>
              <a:rect l="0" t="0" r="r" b="b"/>
              <a:pathLst>
                <a:path w="149" h="274">
                  <a:moveTo>
                    <a:pt x="41" y="0"/>
                  </a:moveTo>
                  <a:lnTo>
                    <a:pt x="48" y="1"/>
                  </a:lnTo>
                  <a:lnTo>
                    <a:pt x="56" y="5"/>
                  </a:lnTo>
                  <a:lnTo>
                    <a:pt x="71" y="12"/>
                  </a:lnTo>
                  <a:lnTo>
                    <a:pt x="86" y="20"/>
                  </a:lnTo>
                  <a:lnTo>
                    <a:pt x="94" y="23"/>
                  </a:lnTo>
                  <a:lnTo>
                    <a:pt x="103" y="24"/>
                  </a:lnTo>
                  <a:lnTo>
                    <a:pt x="110" y="37"/>
                  </a:lnTo>
                  <a:lnTo>
                    <a:pt x="123" y="52"/>
                  </a:lnTo>
                  <a:lnTo>
                    <a:pt x="134" y="67"/>
                  </a:lnTo>
                  <a:lnTo>
                    <a:pt x="143" y="79"/>
                  </a:lnTo>
                  <a:lnTo>
                    <a:pt x="146" y="90"/>
                  </a:lnTo>
                  <a:lnTo>
                    <a:pt x="148" y="102"/>
                  </a:lnTo>
                  <a:lnTo>
                    <a:pt x="149" y="124"/>
                  </a:lnTo>
                  <a:lnTo>
                    <a:pt x="147" y="146"/>
                  </a:lnTo>
                  <a:lnTo>
                    <a:pt x="143" y="168"/>
                  </a:lnTo>
                  <a:lnTo>
                    <a:pt x="131" y="213"/>
                  </a:lnTo>
                  <a:lnTo>
                    <a:pt x="127" y="235"/>
                  </a:lnTo>
                  <a:lnTo>
                    <a:pt x="126" y="256"/>
                  </a:lnTo>
                  <a:lnTo>
                    <a:pt x="109" y="274"/>
                  </a:lnTo>
                  <a:lnTo>
                    <a:pt x="94" y="273"/>
                  </a:lnTo>
                  <a:lnTo>
                    <a:pt x="81" y="270"/>
                  </a:lnTo>
                  <a:lnTo>
                    <a:pt x="69" y="265"/>
                  </a:lnTo>
                  <a:lnTo>
                    <a:pt x="57" y="258"/>
                  </a:lnTo>
                  <a:lnTo>
                    <a:pt x="48" y="250"/>
                  </a:lnTo>
                  <a:lnTo>
                    <a:pt x="39" y="240"/>
                  </a:lnTo>
                  <a:lnTo>
                    <a:pt x="31" y="230"/>
                  </a:lnTo>
                  <a:lnTo>
                    <a:pt x="24" y="218"/>
                  </a:lnTo>
                  <a:lnTo>
                    <a:pt x="13" y="193"/>
                  </a:lnTo>
                  <a:lnTo>
                    <a:pt x="5" y="166"/>
                  </a:lnTo>
                  <a:lnTo>
                    <a:pt x="1" y="139"/>
                  </a:lnTo>
                  <a:lnTo>
                    <a:pt x="0" y="114"/>
                  </a:lnTo>
                  <a:lnTo>
                    <a:pt x="51" y="64"/>
                  </a:lnTo>
                  <a:lnTo>
                    <a:pt x="49" y="47"/>
                  </a:lnTo>
                  <a:lnTo>
                    <a:pt x="46" y="30"/>
                  </a:lnTo>
                  <a:lnTo>
                    <a:pt x="42" y="15"/>
                  </a:lnTo>
                  <a:lnTo>
                    <a:pt x="41"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46" name="Freeform 57"/>
            <p:cNvSpPr>
              <a:spLocks/>
            </p:cNvSpPr>
            <p:nvPr/>
          </p:nvSpPr>
          <p:spPr bwMode="auto">
            <a:xfrm>
              <a:off x="380" y="349"/>
              <a:ext cx="5" cy="9"/>
            </a:xfrm>
            <a:custGeom>
              <a:avLst/>
              <a:gdLst/>
              <a:ahLst/>
              <a:cxnLst>
                <a:cxn ang="0">
                  <a:pos x="16" y="0"/>
                </a:cxn>
                <a:cxn ang="0">
                  <a:pos x="28" y="2"/>
                </a:cxn>
                <a:cxn ang="0">
                  <a:pos x="41" y="8"/>
                </a:cxn>
                <a:cxn ang="0">
                  <a:pos x="52" y="15"/>
                </a:cxn>
                <a:cxn ang="0">
                  <a:pos x="62" y="23"/>
                </a:cxn>
                <a:cxn ang="0">
                  <a:pos x="63" y="36"/>
                </a:cxn>
                <a:cxn ang="0">
                  <a:pos x="66" y="50"/>
                </a:cxn>
                <a:cxn ang="0">
                  <a:pos x="76" y="82"/>
                </a:cxn>
                <a:cxn ang="0">
                  <a:pos x="83" y="115"/>
                </a:cxn>
                <a:cxn ang="0">
                  <a:pos x="85" y="128"/>
                </a:cxn>
                <a:cxn ang="0">
                  <a:pos x="85" y="138"/>
                </a:cxn>
                <a:cxn ang="0">
                  <a:pos x="79" y="143"/>
                </a:cxn>
                <a:cxn ang="0">
                  <a:pos x="74" y="145"/>
                </a:cxn>
                <a:cxn ang="0">
                  <a:pos x="69" y="142"/>
                </a:cxn>
                <a:cxn ang="0">
                  <a:pos x="58" y="135"/>
                </a:cxn>
                <a:cxn ang="0">
                  <a:pos x="46" y="126"/>
                </a:cxn>
                <a:cxn ang="0">
                  <a:pos x="40" y="122"/>
                </a:cxn>
                <a:cxn ang="0">
                  <a:pos x="34" y="121"/>
                </a:cxn>
                <a:cxn ang="0">
                  <a:pos x="16" y="93"/>
                </a:cxn>
                <a:cxn ang="0">
                  <a:pos x="8" y="79"/>
                </a:cxn>
                <a:cxn ang="0">
                  <a:pos x="3" y="66"/>
                </a:cxn>
                <a:cxn ang="0">
                  <a:pos x="0" y="51"/>
                </a:cxn>
                <a:cxn ang="0">
                  <a:pos x="1" y="35"/>
                </a:cxn>
                <a:cxn ang="0">
                  <a:pos x="5" y="19"/>
                </a:cxn>
                <a:cxn ang="0">
                  <a:pos x="16" y="0"/>
                </a:cxn>
              </a:cxnLst>
              <a:rect l="0" t="0" r="r" b="b"/>
              <a:pathLst>
                <a:path w="85" h="145">
                  <a:moveTo>
                    <a:pt x="16" y="0"/>
                  </a:moveTo>
                  <a:lnTo>
                    <a:pt x="28" y="2"/>
                  </a:lnTo>
                  <a:lnTo>
                    <a:pt x="41" y="8"/>
                  </a:lnTo>
                  <a:lnTo>
                    <a:pt x="52" y="15"/>
                  </a:lnTo>
                  <a:lnTo>
                    <a:pt x="62" y="23"/>
                  </a:lnTo>
                  <a:lnTo>
                    <a:pt x="63" y="36"/>
                  </a:lnTo>
                  <a:lnTo>
                    <a:pt x="66" y="50"/>
                  </a:lnTo>
                  <a:lnTo>
                    <a:pt x="76" y="82"/>
                  </a:lnTo>
                  <a:lnTo>
                    <a:pt x="83" y="115"/>
                  </a:lnTo>
                  <a:lnTo>
                    <a:pt x="85" y="128"/>
                  </a:lnTo>
                  <a:lnTo>
                    <a:pt x="85" y="138"/>
                  </a:lnTo>
                  <a:lnTo>
                    <a:pt x="79" y="143"/>
                  </a:lnTo>
                  <a:lnTo>
                    <a:pt x="74" y="145"/>
                  </a:lnTo>
                  <a:lnTo>
                    <a:pt x="69" y="142"/>
                  </a:lnTo>
                  <a:lnTo>
                    <a:pt x="58" y="135"/>
                  </a:lnTo>
                  <a:lnTo>
                    <a:pt x="46" y="126"/>
                  </a:lnTo>
                  <a:lnTo>
                    <a:pt x="40" y="122"/>
                  </a:lnTo>
                  <a:lnTo>
                    <a:pt x="34" y="121"/>
                  </a:lnTo>
                  <a:lnTo>
                    <a:pt x="16" y="93"/>
                  </a:lnTo>
                  <a:lnTo>
                    <a:pt x="8" y="79"/>
                  </a:lnTo>
                  <a:lnTo>
                    <a:pt x="3" y="66"/>
                  </a:lnTo>
                  <a:lnTo>
                    <a:pt x="0" y="51"/>
                  </a:lnTo>
                  <a:lnTo>
                    <a:pt x="1" y="35"/>
                  </a:lnTo>
                  <a:lnTo>
                    <a:pt x="5" y="19"/>
                  </a:lnTo>
                  <a:lnTo>
                    <a:pt x="16"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47" name="Freeform 58"/>
            <p:cNvSpPr>
              <a:spLocks/>
            </p:cNvSpPr>
            <p:nvPr/>
          </p:nvSpPr>
          <p:spPr bwMode="auto">
            <a:xfrm>
              <a:off x="378" y="340"/>
              <a:ext cx="5" cy="7"/>
            </a:xfrm>
            <a:custGeom>
              <a:avLst/>
              <a:gdLst/>
              <a:ahLst/>
              <a:cxnLst>
                <a:cxn ang="0">
                  <a:pos x="45" y="120"/>
                </a:cxn>
                <a:cxn ang="0">
                  <a:pos x="60" y="118"/>
                </a:cxn>
                <a:cxn ang="0">
                  <a:pos x="72" y="113"/>
                </a:cxn>
                <a:cxn ang="0">
                  <a:pos x="84" y="104"/>
                </a:cxn>
                <a:cxn ang="0">
                  <a:pos x="97" y="93"/>
                </a:cxn>
                <a:cxn ang="0">
                  <a:pos x="88" y="63"/>
                </a:cxn>
                <a:cxn ang="0">
                  <a:pos x="86" y="46"/>
                </a:cxn>
                <a:cxn ang="0">
                  <a:pos x="85" y="29"/>
                </a:cxn>
                <a:cxn ang="0">
                  <a:pos x="75" y="15"/>
                </a:cxn>
                <a:cxn ang="0">
                  <a:pos x="69" y="6"/>
                </a:cxn>
                <a:cxn ang="0">
                  <a:pos x="68" y="0"/>
                </a:cxn>
                <a:cxn ang="0">
                  <a:pos x="45" y="0"/>
                </a:cxn>
                <a:cxn ang="0">
                  <a:pos x="28" y="18"/>
                </a:cxn>
                <a:cxn ang="0">
                  <a:pos x="28" y="63"/>
                </a:cxn>
                <a:cxn ang="0">
                  <a:pos x="20" y="75"/>
                </a:cxn>
                <a:cxn ang="0">
                  <a:pos x="11" y="89"/>
                </a:cxn>
                <a:cxn ang="0">
                  <a:pos x="0" y="115"/>
                </a:cxn>
                <a:cxn ang="0">
                  <a:pos x="5" y="117"/>
                </a:cxn>
                <a:cxn ang="0">
                  <a:pos x="14" y="120"/>
                </a:cxn>
                <a:cxn ang="0">
                  <a:pos x="26" y="122"/>
                </a:cxn>
                <a:cxn ang="0">
                  <a:pos x="45" y="120"/>
                </a:cxn>
              </a:cxnLst>
              <a:rect l="0" t="0" r="r" b="b"/>
              <a:pathLst>
                <a:path w="97" h="122">
                  <a:moveTo>
                    <a:pt x="45" y="120"/>
                  </a:moveTo>
                  <a:lnTo>
                    <a:pt x="60" y="118"/>
                  </a:lnTo>
                  <a:lnTo>
                    <a:pt x="72" y="113"/>
                  </a:lnTo>
                  <a:lnTo>
                    <a:pt x="84" y="104"/>
                  </a:lnTo>
                  <a:lnTo>
                    <a:pt x="97" y="93"/>
                  </a:lnTo>
                  <a:lnTo>
                    <a:pt x="88" y="63"/>
                  </a:lnTo>
                  <a:lnTo>
                    <a:pt x="86" y="46"/>
                  </a:lnTo>
                  <a:lnTo>
                    <a:pt x="85" y="29"/>
                  </a:lnTo>
                  <a:lnTo>
                    <a:pt x="75" y="15"/>
                  </a:lnTo>
                  <a:lnTo>
                    <a:pt x="69" y="6"/>
                  </a:lnTo>
                  <a:lnTo>
                    <a:pt x="68" y="0"/>
                  </a:lnTo>
                  <a:lnTo>
                    <a:pt x="45" y="0"/>
                  </a:lnTo>
                  <a:lnTo>
                    <a:pt x="28" y="18"/>
                  </a:lnTo>
                  <a:lnTo>
                    <a:pt x="28" y="63"/>
                  </a:lnTo>
                  <a:lnTo>
                    <a:pt x="20" y="75"/>
                  </a:lnTo>
                  <a:lnTo>
                    <a:pt x="11" y="89"/>
                  </a:lnTo>
                  <a:lnTo>
                    <a:pt x="0" y="115"/>
                  </a:lnTo>
                  <a:lnTo>
                    <a:pt x="5" y="117"/>
                  </a:lnTo>
                  <a:lnTo>
                    <a:pt x="14" y="120"/>
                  </a:lnTo>
                  <a:lnTo>
                    <a:pt x="26" y="122"/>
                  </a:lnTo>
                  <a:lnTo>
                    <a:pt x="45" y="12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48" name="Freeform 59"/>
            <p:cNvSpPr>
              <a:spLocks/>
            </p:cNvSpPr>
            <p:nvPr/>
          </p:nvSpPr>
          <p:spPr bwMode="auto">
            <a:xfrm>
              <a:off x="427" y="359"/>
              <a:ext cx="5" cy="6"/>
            </a:xfrm>
            <a:custGeom>
              <a:avLst/>
              <a:gdLst/>
              <a:ahLst/>
              <a:cxnLst>
                <a:cxn ang="0">
                  <a:pos x="11" y="108"/>
                </a:cxn>
                <a:cxn ang="0">
                  <a:pos x="4" y="97"/>
                </a:cxn>
                <a:cxn ang="0">
                  <a:pos x="1" y="85"/>
                </a:cxn>
                <a:cxn ang="0">
                  <a:pos x="0" y="73"/>
                </a:cxn>
                <a:cxn ang="0">
                  <a:pos x="0" y="57"/>
                </a:cxn>
                <a:cxn ang="0">
                  <a:pos x="9" y="50"/>
                </a:cxn>
                <a:cxn ang="0">
                  <a:pos x="14" y="47"/>
                </a:cxn>
                <a:cxn ang="0">
                  <a:pos x="22" y="46"/>
                </a:cxn>
                <a:cxn ang="0">
                  <a:pos x="32" y="34"/>
                </a:cxn>
                <a:cxn ang="0">
                  <a:pos x="42" y="21"/>
                </a:cxn>
                <a:cxn ang="0">
                  <a:pos x="62" y="0"/>
                </a:cxn>
                <a:cxn ang="0">
                  <a:pos x="71" y="3"/>
                </a:cxn>
                <a:cxn ang="0">
                  <a:pos x="80" y="5"/>
                </a:cxn>
                <a:cxn ang="0">
                  <a:pos x="81" y="13"/>
                </a:cxn>
                <a:cxn ang="0">
                  <a:pos x="83" y="19"/>
                </a:cxn>
                <a:cxn ang="0">
                  <a:pos x="86" y="24"/>
                </a:cxn>
                <a:cxn ang="0">
                  <a:pos x="92" y="28"/>
                </a:cxn>
                <a:cxn ang="0">
                  <a:pos x="94" y="55"/>
                </a:cxn>
                <a:cxn ang="0">
                  <a:pos x="96" y="80"/>
                </a:cxn>
                <a:cxn ang="0">
                  <a:pos x="91" y="85"/>
                </a:cxn>
                <a:cxn ang="0">
                  <a:pos x="84" y="92"/>
                </a:cxn>
                <a:cxn ang="0">
                  <a:pos x="77" y="96"/>
                </a:cxn>
                <a:cxn ang="0">
                  <a:pos x="69" y="98"/>
                </a:cxn>
                <a:cxn ang="0">
                  <a:pos x="68" y="81"/>
                </a:cxn>
                <a:cxn ang="0">
                  <a:pos x="65" y="73"/>
                </a:cxn>
                <a:cxn ang="0">
                  <a:pos x="64" y="70"/>
                </a:cxn>
                <a:cxn ang="0">
                  <a:pos x="62" y="68"/>
                </a:cxn>
                <a:cxn ang="0">
                  <a:pos x="51" y="68"/>
                </a:cxn>
                <a:cxn ang="0">
                  <a:pos x="49" y="71"/>
                </a:cxn>
                <a:cxn ang="0">
                  <a:pos x="45" y="74"/>
                </a:cxn>
                <a:cxn ang="0">
                  <a:pos x="40" y="86"/>
                </a:cxn>
                <a:cxn ang="0">
                  <a:pos x="34" y="108"/>
                </a:cxn>
                <a:cxn ang="0">
                  <a:pos x="20" y="106"/>
                </a:cxn>
                <a:cxn ang="0">
                  <a:pos x="15" y="106"/>
                </a:cxn>
                <a:cxn ang="0">
                  <a:pos x="11" y="108"/>
                </a:cxn>
              </a:cxnLst>
              <a:rect l="0" t="0" r="r" b="b"/>
              <a:pathLst>
                <a:path w="96" h="108">
                  <a:moveTo>
                    <a:pt x="11" y="108"/>
                  </a:moveTo>
                  <a:lnTo>
                    <a:pt x="4" y="97"/>
                  </a:lnTo>
                  <a:lnTo>
                    <a:pt x="1" y="85"/>
                  </a:lnTo>
                  <a:lnTo>
                    <a:pt x="0" y="73"/>
                  </a:lnTo>
                  <a:lnTo>
                    <a:pt x="0" y="57"/>
                  </a:lnTo>
                  <a:lnTo>
                    <a:pt x="9" y="50"/>
                  </a:lnTo>
                  <a:lnTo>
                    <a:pt x="14" y="47"/>
                  </a:lnTo>
                  <a:lnTo>
                    <a:pt x="22" y="46"/>
                  </a:lnTo>
                  <a:lnTo>
                    <a:pt x="32" y="34"/>
                  </a:lnTo>
                  <a:lnTo>
                    <a:pt x="42" y="21"/>
                  </a:lnTo>
                  <a:lnTo>
                    <a:pt x="62" y="0"/>
                  </a:lnTo>
                  <a:lnTo>
                    <a:pt x="71" y="3"/>
                  </a:lnTo>
                  <a:lnTo>
                    <a:pt x="80" y="5"/>
                  </a:lnTo>
                  <a:lnTo>
                    <a:pt x="81" y="13"/>
                  </a:lnTo>
                  <a:lnTo>
                    <a:pt x="83" y="19"/>
                  </a:lnTo>
                  <a:lnTo>
                    <a:pt x="86" y="24"/>
                  </a:lnTo>
                  <a:lnTo>
                    <a:pt x="92" y="28"/>
                  </a:lnTo>
                  <a:lnTo>
                    <a:pt x="94" y="55"/>
                  </a:lnTo>
                  <a:lnTo>
                    <a:pt x="96" y="80"/>
                  </a:lnTo>
                  <a:lnTo>
                    <a:pt x="91" y="85"/>
                  </a:lnTo>
                  <a:lnTo>
                    <a:pt x="84" y="92"/>
                  </a:lnTo>
                  <a:lnTo>
                    <a:pt x="77" y="96"/>
                  </a:lnTo>
                  <a:lnTo>
                    <a:pt x="69" y="98"/>
                  </a:lnTo>
                  <a:lnTo>
                    <a:pt x="68" y="81"/>
                  </a:lnTo>
                  <a:lnTo>
                    <a:pt x="65" y="73"/>
                  </a:lnTo>
                  <a:lnTo>
                    <a:pt x="64" y="70"/>
                  </a:lnTo>
                  <a:lnTo>
                    <a:pt x="62" y="68"/>
                  </a:lnTo>
                  <a:lnTo>
                    <a:pt x="51" y="68"/>
                  </a:lnTo>
                  <a:lnTo>
                    <a:pt x="49" y="71"/>
                  </a:lnTo>
                  <a:lnTo>
                    <a:pt x="45" y="74"/>
                  </a:lnTo>
                  <a:lnTo>
                    <a:pt x="40" y="86"/>
                  </a:lnTo>
                  <a:lnTo>
                    <a:pt x="34" y="108"/>
                  </a:lnTo>
                  <a:lnTo>
                    <a:pt x="20" y="106"/>
                  </a:lnTo>
                  <a:lnTo>
                    <a:pt x="15" y="106"/>
                  </a:lnTo>
                  <a:lnTo>
                    <a:pt x="11" y="108"/>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49" name="Freeform 60"/>
            <p:cNvSpPr>
              <a:spLocks/>
            </p:cNvSpPr>
            <p:nvPr/>
          </p:nvSpPr>
          <p:spPr bwMode="auto">
            <a:xfrm>
              <a:off x="479" y="295"/>
              <a:ext cx="9" cy="13"/>
            </a:xfrm>
            <a:custGeom>
              <a:avLst/>
              <a:gdLst/>
              <a:ahLst/>
              <a:cxnLst>
                <a:cxn ang="0">
                  <a:pos x="18" y="210"/>
                </a:cxn>
                <a:cxn ang="0">
                  <a:pos x="71" y="179"/>
                </a:cxn>
                <a:cxn ang="0">
                  <a:pos x="98" y="160"/>
                </a:cxn>
                <a:cxn ang="0">
                  <a:pos x="120" y="142"/>
                </a:cxn>
                <a:cxn ang="0">
                  <a:pos x="118" y="133"/>
                </a:cxn>
                <a:cxn ang="0">
                  <a:pos x="115" y="123"/>
                </a:cxn>
                <a:cxn ang="0">
                  <a:pos x="110" y="108"/>
                </a:cxn>
                <a:cxn ang="0">
                  <a:pos x="143" y="108"/>
                </a:cxn>
                <a:cxn ang="0">
                  <a:pos x="155" y="97"/>
                </a:cxn>
                <a:cxn ang="0">
                  <a:pos x="153" y="81"/>
                </a:cxn>
                <a:cxn ang="0">
                  <a:pos x="146" y="66"/>
                </a:cxn>
                <a:cxn ang="0">
                  <a:pos x="138" y="52"/>
                </a:cxn>
                <a:cxn ang="0">
                  <a:pos x="126" y="40"/>
                </a:cxn>
                <a:cxn ang="0">
                  <a:pos x="123" y="20"/>
                </a:cxn>
                <a:cxn ang="0">
                  <a:pos x="120" y="0"/>
                </a:cxn>
                <a:cxn ang="0">
                  <a:pos x="110" y="1"/>
                </a:cxn>
                <a:cxn ang="0">
                  <a:pos x="101" y="2"/>
                </a:cxn>
                <a:cxn ang="0">
                  <a:pos x="95" y="5"/>
                </a:cxn>
                <a:cxn ang="0">
                  <a:pos x="88" y="9"/>
                </a:cxn>
                <a:cxn ang="0">
                  <a:pos x="79" y="20"/>
                </a:cxn>
                <a:cxn ang="0">
                  <a:pos x="74" y="31"/>
                </a:cxn>
                <a:cxn ang="0">
                  <a:pos x="66" y="60"/>
                </a:cxn>
                <a:cxn ang="0">
                  <a:pos x="63" y="74"/>
                </a:cxn>
                <a:cxn ang="0">
                  <a:pos x="58" y="85"/>
                </a:cxn>
                <a:cxn ang="0">
                  <a:pos x="52" y="90"/>
                </a:cxn>
                <a:cxn ang="0">
                  <a:pos x="45" y="95"/>
                </a:cxn>
                <a:cxn ang="0">
                  <a:pos x="37" y="100"/>
                </a:cxn>
                <a:cxn ang="0">
                  <a:pos x="29" y="104"/>
                </a:cxn>
                <a:cxn ang="0">
                  <a:pos x="23" y="108"/>
                </a:cxn>
                <a:cxn ang="0">
                  <a:pos x="25" y="140"/>
                </a:cxn>
                <a:cxn ang="0">
                  <a:pos x="29" y="171"/>
                </a:cxn>
                <a:cxn ang="0">
                  <a:pos x="15" y="179"/>
                </a:cxn>
                <a:cxn ang="0">
                  <a:pos x="5" y="187"/>
                </a:cxn>
                <a:cxn ang="0">
                  <a:pos x="1" y="199"/>
                </a:cxn>
                <a:cxn ang="0">
                  <a:pos x="0" y="217"/>
                </a:cxn>
                <a:cxn ang="0">
                  <a:pos x="23" y="218"/>
                </a:cxn>
                <a:cxn ang="0">
                  <a:pos x="29" y="218"/>
                </a:cxn>
                <a:cxn ang="0">
                  <a:pos x="30" y="217"/>
                </a:cxn>
                <a:cxn ang="0">
                  <a:pos x="26" y="215"/>
                </a:cxn>
                <a:cxn ang="0">
                  <a:pos x="18" y="210"/>
                </a:cxn>
              </a:cxnLst>
              <a:rect l="0" t="0" r="r" b="b"/>
              <a:pathLst>
                <a:path w="155" h="218">
                  <a:moveTo>
                    <a:pt x="18" y="210"/>
                  </a:moveTo>
                  <a:lnTo>
                    <a:pt x="71" y="179"/>
                  </a:lnTo>
                  <a:lnTo>
                    <a:pt x="98" y="160"/>
                  </a:lnTo>
                  <a:lnTo>
                    <a:pt x="120" y="142"/>
                  </a:lnTo>
                  <a:lnTo>
                    <a:pt x="118" y="133"/>
                  </a:lnTo>
                  <a:lnTo>
                    <a:pt x="115" y="123"/>
                  </a:lnTo>
                  <a:lnTo>
                    <a:pt x="110" y="108"/>
                  </a:lnTo>
                  <a:lnTo>
                    <a:pt x="143" y="108"/>
                  </a:lnTo>
                  <a:lnTo>
                    <a:pt x="155" y="97"/>
                  </a:lnTo>
                  <a:lnTo>
                    <a:pt x="153" y="81"/>
                  </a:lnTo>
                  <a:lnTo>
                    <a:pt x="146" y="66"/>
                  </a:lnTo>
                  <a:lnTo>
                    <a:pt x="138" y="52"/>
                  </a:lnTo>
                  <a:lnTo>
                    <a:pt x="126" y="40"/>
                  </a:lnTo>
                  <a:lnTo>
                    <a:pt x="123" y="20"/>
                  </a:lnTo>
                  <a:lnTo>
                    <a:pt x="120" y="0"/>
                  </a:lnTo>
                  <a:lnTo>
                    <a:pt x="110" y="1"/>
                  </a:lnTo>
                  <a:lnTo>
                    <a:pt x="101" y="2"/>
                  </a:lnTo>
                  <a:lnTo>
                    <a:pt x="95" y="5"/>
                  </a:lnTo>
                  <a:lnTo>
                    <a:pt x="88" y="9"/>
                  </a:lnTo>
                  <a:lnTo>
                    <a:pt x="79" y="20"/>
                  </a:lnTo>
                  <a:lnTo>
                    <a:pt x="74" y="31"/>
                  </a:lnTo>
                  <a:lnTo>
                    <a:pt x="66" y="60"/>
                  </a:lnTo>
                  <a:lnTo>
                    <a:pt x="63" y="74"/>
                  </a:lnTo>
                  <a:lnTo>
                    <a:pt x="58" y="85"/>
                  </a:lnTo>
                  <a:lnTo>
                    <a:pt x="52" y="90"/>
                  </a:lnTo>
                  <a:lnTo>
                    <a:pt x="45" y="95"/>
                  </a:lnTo>
                  <a:lnTo>
                    <a:pt x="37" y="100"/>
                  </a:lnTo>
                  <a:lnTo>
                    <a:pt x="29" y="104"/>
                  </a:lnTo>
                  <a:lnTo>
                    <a:pt x="23" y="108"/>
                  </a:lnTo>
                  <a:lnTo>
                    <a:pt x="25" y="140"/>
                  </a:lnTo>
                  <a:lnTo>
                    <a:pt x="29" y="171"/>
                  </a:lnTo>
                  <a:lnTo>
                    <a:pt x="15" y="179"/>
                  </a:lnTo>
                  <a:lnTo>
                    <a:pt x="5" y="187"/>
                  </a:lnTo>
                  <a:lnTo>
                    <a:pt x="1" y="199"/>
                  </a:lnTo>
                  <a:lnTo>
                    <a:pt x="0" y="217"/>
                  </a:lnTo>
                  <a:lnTo>
                    <a:pt x="23" y="218"/>
                  </a:lnTo>
                  <a:lnTo>
                    <a:pt x="29" y="218"/>
                  </a:lnTo>
                  <a:lnTo>
                    <a:pt x="30" y="217"/>
                  </a:lnTo>
                  <a:lnTo>
                    <a:pt x="26" y="215"/>
                  </a:lnTo>
                  <a:lnTo>
                    <a:pt x="18" y="21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50" name="Freeform 61"/>
            <p:cNvSpPr>
              <a:spLocks/>
            </p:cNvSpPr>
            <p:nvPr/>
          </p:nvSpPr>
          <p:spPr bwMode="auto">
            <a:xfrm>
              <a:off x="444" y="229"/>
              <a:ext cx="13" cy="5"/>
            </a:xfrm>
            <a:custGeom>
              <a:avLst/>
              <a:gdLst/>
              <a:ahLst/>
              <a:cxnLst>
                <a:cxn ang="0">
                  <a:pos x="60" y="10"/>
                </a:cxn>
                <a:cxn ang="0">
                  <a:pos x="211" y="2"/>
                </a:cxn>
                <a:cxn ang="0">
                  <a:pos x="228" y="19"/>
                </a:cxn>
                <a:cxn ang="0">
                  <a:pos x="234" y="27"/>
                </a:cxn>
                <a:cxn ang="0">
                  <a:pos x="236" y="32"/>
                </a:cxn>
                <a:cxn ang="0">
                  <a:pos x="237" y="39"/>
                </a:cxn>
                <a:cxn ang="0">
                  <a:pos x="221" y="50"/>
                </a:cxn>
                <a:cxn ang="0">
                  <a:pos x="203" y="60"/>
                </a:cxn>
                <a:cxn ang="0">
                  <a:pos x="183" y="65"/>
                </a:cxn>
                <a:cxn ang="0">
                  <a:pos x="162" y="67"/>
                </a:cxn>
                <a:cxn ang="0">
                  <a:pos x="155" y="73"/>
                </a:cxn>
                <a:cxn ang="0">
                  <a:pos x="148" y="77"/>
                </a:cxn>
                <a:cxn ang="0">
                  <a:pos x="130" y="85"/>
                </a:cxn>
                <a:cxn ang="0">
                  <a:pos x="109" y="89"/>
                </a:cxn>
                <a:cxn ang="0">
                  <a:pos x="88" y="90"/>
                </a:cxn>
                <a:cxn ang="0">
                  <a:pos x="42" y="90"/>
                </a:cxn>
                <a:cxn ang="0">
                  <a:pos x="4" y="88"/>
                </a:cxn>
                <a:cxn ang="0">
                  <a:pos x="1" y="71"/>
                </a:cxn>
                <a:cxn ang="0">
                  <a:pos x="0" y="59"/>
                </a:cxn>
                <a:cxn ang="0">
                  <a:pos x="0" y="47"/>
                </a:cxn>
                <a:cxn ang="0">
                  <a:pos x="6" y="32"/>
                </a:cxn>
                <a:cxn ang="0">
                  <a:pos x="5" y="32"/>
                </a:cxn>
                <a:cxn ang="0">
                  <a:pos x="5" y="32"/>
                </a:cxn>
                <a:cxn ang="0">
                  <a:pos x="6" y="31"/>
                </a:cxn>
                <a:cxn ang="0">
                  <a:pos x="14" y="25"/>
                </a:cxn>
                <a:cxn ang="0">
                  <a:pos x="41" y="9"/>
                </a:cxn>
                <a:cxn ang="0">
                  <a:pos x="54" y="3"/>
                </a:cxn>
                <a:cxn ang="0">
                  <a:pos x="64" y="0"/>
                </a:cxn>
                <a:cxn ang="0">
                  <a:pos x="67" y="0"/>
                </a:cxn>
                <a:cxn ang="0">
                  <a:pos x="67" y="2"/>
                </a:cxn>
                <a:cxn ang="0">
                  <a:pos x="60" y="10"/>
                </a:cxn>
              </a:cxnLst>
              <a:rect l="0" t="0" r="r" b="b"/>
              <a:pathLst>
                <a:path w="237" h="90">
                  <a:moveTo>
                    <a:pt x="60" y="10"/>
                  </a:moveTo>
                  <a:lnTo>
                    <a:pt x="211" y="2"/>
                  </a:lnTo>
                  <a:lnTo>
                    <a:pt x="228" y="19"/>
                  </a:lnTo>
                  <a:lnTo>
                    <a:pt x="234" y="27"/>
                  </a:lnTo>
                  <a:lnTo>
                    <a:pt x="236" y="32"/>
                  </a:lnTo>
                  <a:lnTo>
                    <a:pt x="237" y="39"/>
                  </a:lnTo>
                  <a:lnTo>
                    <a:pt x="221" y="50"/>
                  </a:lnTo>
                  <a:lnTo>
                    <a:pt x="203" y="60"/>
                  </a:lnTo>
                  <a:lnTo>
                    <a:pt x="183" y="65"/>
                  </a:lnTo>
                  <a:lnTo>
                    <a:pt x="162" y="67"/>
                  </a:lnTo>
                  <a:lnTo>
                    <a:pt x="155" y="73"/>
                  </a:lnTo>
                  <a:lnTo>
                    <a:pt x="148" y="77"/>
                  </a:lnTo>
                  <a:lnTo>
                    <a:pt x="130" y="85"/>
                  </a:lnTo>
                  <a:lnTo>
                    <a:pt x="109" y="89"/>
                  </a:lnTo>
                  <a:lnTo>
                    <a:pt x="88" y="90"/>
                  </a:lnTo>
                  <a:lnTo>
                    <a:pt x="42" y="90"/>
                  </a:lnTo>
                  <a:lnTo>
                    <a:pt x="4" y="88"/>
                  </a:lnTo>
                  <a:lnTo>
                    <a:pt x="1" y="71"/>
                  </a:lnTo>
                  <a:lnTo>
                    <a:pt x="0" y="59"/>
                  </a:lnTo>
                  <a:lnTo>
                    <a:pt x="0" y="47"/>
                  </a:lnTo>
                  <a:lnTo>
                    <a:pt x="6" y="32"/>
                  </a:lnTo>
                  <a:lnTo>
                    <a:pt x="5" y="32"/>
                  </a:lnTo>
                  <a:lnTo>
                    <a:pt x="5" y="32"/>
                  </a:lnTo>
                  <a:lnTo>
                    <a:pt x="6" y="31"/>
                  </a:lnTo>
                  <a:lnTo>
                    <a:pt x="14" y="25"/>
                  </a:lnTo>
                  <a:lnTo>
                    <a:pt x="41" y="9"/>
                  </a:lnTo>
                  <a:lnTo>
                    <a:pt x="54" y="3"/>
                  </a:lnTo>
                  <a:lnTo>
                    <a:pt x="64" y="0"/>
                  </a:lnTo>
                  <a:lnTo>
                    <a:pt x="67" y="0"/>
                  </a:lnTo>
                  <a:lnTo>
                    <a:pt x="67" y="2"/>
                  </a:lnTo>
                  <a:lnTo>
                    <a:pt x="60" y="1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51" name="Freeform 62"/>
            <p:cNvSpPr>
              <a:spLocks/>
            </p:cNvSpPr>
            <p:nvPr/>
          </p:nvSpPr>
          <p:spPr bwMode="auto">
            <a:xfrm>
              <a:off x="436" y="231"/>
              <a:ext cx="11" cy="8"/>
            </a:xfrm>
            <a:custGeom>
              <a:avLst/>
              <a:gdLst/>
              <a:ahLst/>
              <a:cxnLst>
                <a:cxn ang="0">
                  <a:pos x="78" y="9"/>
                </a:cxn>
                <a:cxn ang="0">
                  <a:pos x="58" y="13"/>
                </a:cxn>
                <a:cxn ang="0">
                  <a:pos x="36" y="16"/>
                </a:cxn>
                <a:cxn ang="0">
                  <a:pos x="16" y="21"/>
                </a:cxn>
                <a:cxn ang="0">
                  <a:pos x="7" y="27"/>
                </a:cxn>
                <a:cxn ang="0">
                  <a:pos x="0" y="32"/>
                </a:cxn>
                <a:cxn ang="0">
                  <a:pos x="13" y="80"/>
                </a:cxn>
                <a:cxn ang="0">
                  <a:pos x="17" y="92"/>
                </a:cxn>
                <a:cxn ang="0">
                  <a:pos x="25" y="99"/>
                </a:cxn>
                <a:cxn ang="0">
                  <a:pos x="36" y="106"/>
                </a:cxn>
                <a:cxn ang="0">
                  <a:pos x="49" y="110"/>
                </a:cxn>
                <a:cxn ang="0">
                  <a:pos x="80" y="114"/>
                </a:cxn>
                <a:cxn ang="0">
                  <a:pos x="112" y="118"/>
                </a:cxn>
                <a:cxn ang="0">
                  <a:pos x="113" y="119"/>
                </a:cxn>
                <a:cxn ang="0">
                  <a:pos x="113" y="123"/>
                </a:cxn>
                <a:cxn ang="0">
                  <a:pos x="113" y="131"/>
                </a:cxn>
                <a:cxn ang="0">
                  <a:pos x="114" y="136"/>
                </a:cxn>
                <a:cxn ang="0">
                  <a:pos x="115" y="139"/>
                </a:cxn>
                <a:cxn ang="0">
                  <a:pos x="119" y="141"/>
                </a:cxn>
                <a:cxn ang="0">
                  <a:pos x="125" y="140"/>
                </a:cxn>
                <a:cxn ang="0">
                  <a:pos x="185" y="127"/>
                </a:cxn>
                <a:cxn ang="0">
                  <a:pos x="168" y="114"/>
                </a:cxn>
                <a:cxn ang="0">
                  <a:pos x="149" y="99"/>
                </a:cxn>
                <a:cxn ang="0">
                  <a:pos x="141" y="91"/>
                </a:cxn>
                <a:cxn ang="0">
                  <a:pos x="134" y="81"/>
                </a:cxn>
                <a:cxn ang="0">
                  <a:pos x="129" y="72"/>
                </a:cxn>
                <a:cxn ang="0">
                  <a:pos x="128" y="60"/>
                </a:cxn>
                <a:cxn ang="0">
                  <a:pos x="133" y="0"/>
                </a:cxn>
                <a:cxn ang="0">
                  <a:pos x="118" y="1"/>
                </a:cxn>
                <a:cxn ang="0">
                  <a:pos x="102" y="5"/>
                </a:cxn>
                <a:cxn ang="0">
                  <a:pos x="78" y="9"/>
                </a:cxn>
              </a:cxnLst>
              <a:rect l="0" t="0" r="r" b="b"/>
              <a:pathLst>
                <a:path w="185" h="141">
                  <a:moveTo>
                    <a:pt x="78" y="9"/>
                  </a:moveTo>
                  <a:lnTo>
                    <a:pt x="58" y="13"/>
                  </a:lnTo>
                  <a:lnTo>
                    <a:pt x="36" y="16"/>
                  </a:lnTo>
                  <a:lnTo>
                    <a:pt x="16" y="21"/>
                  </a:lnTo>
                  <a:lnTo>
                    <a:pt x="7" y="27"/>
                  </a:lnTo>
                  <a:lnTo>
                    <a:pt x="0" y="32"/>
                  </a:lnTo>
                  <a:lnTo>
                    <a:pt x="13" y="80"/>
                  </a:lnTo>
                  <a:lnTo>
                    <a:pt x="17" y="92"/>
                  </a:lnTo>
                  <a:lnTo>
                    <a:pt x="25" y="99"/>
                  </a:lnTo>
                  <a:lnTo>
                    <a:pt x="36" y="106"/>
                  </a:lnTo>
                  <a:lnTo>
                    <a:pt x="49" y="110"/>
                  </a:lnTo>
                  <a:lnTo>
                    <a:pt x="80" y="114"/>
                  </a:lnTo>
                  <a:lnTo>
                    <a:pt x="112" y="118"/>
                  </a:lnTo>
                  <a:lnTo>
                    <a:pt x="113" y="119"/>
                  </a:lnTo>
                  <a:lnTo>
                    <a:pt x="113" y="123"/>
                  </a:lnTo>
                  <a:lnTo>
                    <a:pt x="113" y="131"/>
                  </a:lnTo>
                  <a:lnTo>
                    <a:pt x="114" y="136"/>
                  </a:lnTo>
                  <a:lnTo>
                    <a:pt x="115" y="139"/>
                  </a:lnTo>
                  <a:lnTo>
                    <a:pt x="119" y="141"/>
                  </a:lnTo>
                  <a:lnTo>
                    <a:pt x="125" y="140"/>
                  </a:lnTo>
                  <a:lnTo>
                    <a:pt x="185" y="127"/>
                  </a:lnTo>
                  <a:lnTo>
                    <a:pt x="168" y="114"/>
                  </a:lnTo>
                  <a:lnTo>
                    <a:pt x="149" y="99"/>
                  </a:lnTo>
                  <a:lnTo>
                    <a:pt x="141" y="91"/>
                  </a:lnTo>
                  <a:lnTo>
                    <a:pt x="134" y="81"/>
                  </a:lnTo>
                  <a:lnTo>
                    <a:pt x="129" y="72"/>
                  </a:lnTo>
                  <a:lnTo>
                    <a:pt x="128" y="60"/>
                  </a:lnTo>
                  <a:lnTo>
                    <a:pt x="133" y="0"/>
                  </a:lnTo>
                  <a:lnTo>
                    <a:pt x="118" y="1"/>
                  </a:lnTo>
                  <a:lnTo>
                    <a:pt x="102" y="5"/>
                  </a:lnTo>
                  <a:lnTo>
                    <a:pt x="78" y="9"/>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52" name="Freeform 63"/>
            <p:cNvSpPr>
              <a:spLocks/>
            </p:cNvSpPr>
            <p:nvPr/>
          </p:nvSpPr>
          <p:spPr bwMode="auto">
            <a:xfrm>
              <a:off x="454" y="249"/>
              <a:ext cx="4" cy="4"/>
            </a:xfrm>
            <a:custGeom>
              <a:avLst/>
              <a:gdLst/>
              <a:ahLst/>
              <a:cxnLst>
                <a:cxn ang="0">
                  <a:pos x="41" y="0"/>
                </a:cxn>
                <a:cxn ang="0">
                  <a:pos x="46" y="10"/>
                </a:cxn>
                <a:cxn ang="0">
                  <a:pos x="56" y="19"/>
                </a:cxn>
                <a:cxn ang="0">
                  <a:pos x="76" y="37"/>
                </a:cxn>
                <a:cxn ang="0">
                  <a:pos x="62" y="68"/>
                </a:cxn>
                <a:cxn ang="0">
                  <a:pos x="39" y="66"/>
                </a:cxn>
                <a:cxn ang="0">
                  <a:pos x="28" y="61"/>
                </a:cxn>
                <a:cxn ang="0">
                  <a:pos x="20" y="53"/>
                </a:cxn>
                <a:cxn ang="0">
                  <a:pos x="5" y="35"/>
                </a:cxn>
                <a:cxn ang="0">
                  <a:pos x="1" y="20"/>
                </a:cxn>
                <a:cxn ang="0">
                  <a:pos x="0" y="12"/>
                </a:cxn>
                <a:cxn ang="0">
                  <a:pos x="1" y="8"/>
                </a:cxn>
                <a:cxn ang="0">
                  <a:pos x="3" y="5"/>
                </a:cxn>
                <a:cxn ang="0">
                  <a:pos x="5" y="3"/>
                </a:cxn>
                <a:cxn ang="0">
                  <a:pos x="11" y="2"/>
                </a:cxn>
                <a:cxn ang="0">
                  <a:pos x="21" y="2"/>
                </a:cxn>
                <a:cxn ang="0">
                  <a:pos x="33" y="2"/>
                </a:cxn>
                <a:cxn ang="0">
                  <a:pos x="41" y="0"/>
                </a:cxn>
              </a:cxnLst>
              <a:rect l="0" t="0" r="r" b="b"/>
              <a:pathLst>
                <a:path w="76" h="68">
                  <a:moveTo>
                    <a:pt x="41" y="0"/>
                  </a:moveTo>
                  <a:lnTo>
                    <a:pt x="46" y="10"/>
                  </a:lnTo>
                  <a:lnTo>
                    <a:pt x="56" y="19"/>
                  </a:lnTo>
                  <a:lnTo>
                    <a:pt x="76" y="37"/>
                  </a:lnTo>
                  <a:lnTo>
                    <a:pt x="62" y="68"/>
                  </a:lnTo>
                  <a:lnTo>
                    <a:pt x="39" y="66"/>
                  </a:lnTo>
                  <a:lnTo>
                    <a:pt x="28" y="61"/>
                  </a:lnTo>
                  <a:lnTo>
                    <a:pt x="20" y="53"/>
                  </a:lnTo>
                  <a:lnTo>
                    <a:pt x="5" y="35"/>
                  </a:lnTo>
                  <a:lnTo>
                    <a:pt x="1" y="20"/>
                  </a:lnTo>
                  <a:lnTo>
                    <a:pt x="0" y="12"/>
                  </a:lnTo>
                  <a:lnTo>
                    <a:pt x="1" y="8"/>
                  </a:lnTo>
                  <a:lnTo>
                    <a:pt x="3" y="5"/>
                  </a:lnTo>
                  <a:lnTo>
                    <a:pt x="5" y="3"/>
                  </a:lnTo>
                  <a:lnTo>
                    <a:pt x="11" y="2"/>
                  </a:lnTo>
                  <a:lnTo>
                    <a:pt x="21" y="2"/>
                  </a:lnTo>
                  <a:lnTo>
                    <a:pt x="33" y="2"/>
                  </a:lnTo>
                  <a:lnTo>
                    <a:pt x="41"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53" name="Freeform 64"/>
            <p:cNvSpPr>
              <a:spLocks/>
            </p:cNvSpPr>
            <p:nvPr/>
          </p:nvSpPr>
          <p:spPr bwMode="auto">
            <a:xfrm>
              <a:off x="450" y="254"/>
              <a:ext cx="3" cy="4"/>
            </a:xfrm>
            <a:custGeom>
              <a:avLst/>
              <a:gdLst/>
              <a:ahLst/>
              <a:cxnLst>
                <a:cxn ang="0">
                  <a:pos x="39" y="0"/>
                </a:cxn>
                <a:cxn ang="0">
                  <a:pos x="41" y="8"/>
                </a:cxn>
                <a:cxn ang="0">
                  <a:pos x="42" y="14"/>
                </a:cxn>
                <a:cxn ang="0">
                  <a:pos x="44" y="22"/>
                </a:cxn>
                <a:cxn ang="0">
                  <a:pos x="50" y="29"/>
                </a:cxn>
                <a:cxn ang="0">
                  <a:pos x="48" y="65"/>
                </a:cxn>
                <a:cxn ang="0">
                  <a:pos x="28" y="65"/>
                </a:cxn>
                <a:cxn ang="0">
                  <a:pos x="22" y="62"/>
                </a:cxn>
                <a:cxn ang="0">
                  <a:pos x="18" y="58"/>
                </a:cxn>
                <a:cxn ang="0">
                  <a:pos x="11" y="44"/>
                </a:cxn>
                <a:cxn ang="0">
                  <a:pos x="6" y="30"/>
                </a:cxn>
                <a:cxn ang="0">
                  <a:pos x="3" y="24"/>
                </a:cxn>
                <a:cxn ang="0">
                  <a:pos x="0" y="19"/>
                </a:cxn>
                <a:cxn ang="0">
                  <a:pos x="1" y="16"/>
                </a:cxn>
                <a:cxn ang="0">
                  <a:pos x="4" y="12"/>
                </a:cxn>
                <a:cxn ang="0">
                  <a:pos x="15" y="9"/>
                </a:cxn>
                <a:cxn ang="0">
                  <a:pos x="27" y="6"/>
                </a:cxn>
                <a:cxn ang="0">
                  <a:pos x="34" y="4"/>
                </a:cxn>
                <a:cxn ang="0">
                  <a:pos x="39" y="0"/>
                </a:cxn>
              </a:cxnLst>
              <a:rect l="0" t="0" r="r" b="b"/>
              <a:pathLst>
                <a:path w="50" h="65">
                  <a:moveTo>
                    <a:pt x="39" y="0"/>
                  </a:moveTo>
                  <a:lnTo>
                    <a:pt x="41" y="8"/>
                  </a:lnTo>
                  <a:lnTo>
                    <a:pt x="42" y="14"/>
                  </a:lnTo>
                  <a:lnTo>
                    <a:pt x="44" y="22"/>
                  </a:lnTo>
                  <a:lnTo>
                    <a:pt x="50" y="29"/>
                  </a:lnTo>
                  <a:lnTo>
                    <a:pt x="48" y="65"/>
                  </a:lnTo>
                  <a:lnTo>
                    <a:pt x="28" y="65"/>
                  </a:lnTo>
                  <a:lnTo>
                    <a:pt x="22" y="62"/>
                  </a:lnTo>
                  <a:lnTo>
                    <a:pt x="18" y="58"/>
                  </a:lnTo>
                  <a:lnTo>
                    <a:pt x="11" y="44"/>
                  </a:lnTo>
                  <a:lnTo>
                    <a:pt x="6" y="30"/>
                  </a:lnTo>
                  <a:lnTo>
                    <a:pt x="3" y="24"/>
                  </a:lnTo>
                  <a:lnTo>
                    <a:pt x="0" y="19"/>
                  </a:lnTo>
                  <a:lnTo>
                    <a:pt x="1" y="16"/>
                  </a:lnTo>
                  <a:lnTo>
                    <a:pt x="4" y="12"/>
                  </a:lnTo>
                  <a:lnTo>
                    <a:pt x="15" y="9"/>
                  </a:lnTo>
                  <a:lnTo>
                    <a:pt x="27" y="6"/>
                  </a:lnTo>
                  <a:lnTo>
                    <a:pt x="34" y="4"/>
                  </a:lnTo>
                  <a:lnTo>
                    <a:pt x="39"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54" name="Freeform 65"/>
            <p:cNvSpPr>
              <a:spLocks/>
            </p:cNvSpPr>
            <p:nvPr/>
          </p:nvSpPr>
          <p:spPr bwMode="auto">
            <a:xfrm>
              <a:off x="448" y="249"/>
              <a:ext cx="5" cy="4"/>
            </a:xfrm>
            <a:custGeom>
              <a:avLst/>
              <a:gdLst/>
              <a:ahLst/>
              <a:cxnLst>
                <a:cxn ang="0">
                  <a:pos x="48" y="0"/>
                </a:cxn>
                <a:cxn ang="0">
                  <a:pos x="50" y="3"/>
                </a:cxn>
                <a:cxn ang="0">
                  <a:pos x="53" y="7"/>
                </a:cxn>
                <a:cxn ang="0">
                  <a:pos x="61" y="9"/>
                </a:cxn>
                <a:cxn ang="0">
                  <a:pos x="71" y="11"/>
                </a:cxn>
                <a:cxn ang="0">
                  <a:pos x="75" y="13"/>
                </a:cxn>
                <a:cxn ang="0">
                  <a:pos x="80" y="16"/>
                </a:cxn>
                <a:cxn ang="0">
                  <a:pos x="75" y="46"/>
                </a:cxn>
                <a:cxn ang="0">
                  <a:pos x="53" y="48"/>
                </a:cxn>
                <a:cxn ang="0">
                  <a:pos x="50" y="79"/>
                </a:cxn>
                <a:cxn ang="0">
                  <a:pos x="7" y="79"/>
                </a:cxn>
                <a:cxn ang="0">
                  <a:pos x="1" y="77"/>
                </a:cxn>
                <a:cxn ang="0">
                  <a:pos x="0" y="74"/>
                </a:cxn>
                <a:cxn ang="0">
                  <a:pos x="3" y="67"/>
                </a:cxn>
                <a:cxn ang="0">
                  <a:pos x="7" y="58"/>
                </a:cxn>
                <a:cxn ang="0">
                  <a:pos x="7" y="53"/>
                </a:cxn>
                <a:cxn ang="0">
                  <a:pos x="4" y="49"/>
                </a:cxn>
                <a:cxn ang="0">
                  <a:pos x="4" y="47"/>
                </a:cxn>
                <a:cxn ang="0">
                  <a:pos x="7" y="46"/>
                </a:cxn>
                <a:cxn ang="0">
                  <a:pos x="13" y="43"/>
                </a:cxn>
                <a:cxn ang="0">
                  <a:pos x="20" y="40"/>
                </a:cxn>
                <a:cxn ang="0">
                  <a:pos x="23" y="37"/>
                </a:cxn>
                <a:cxn ang="0">
                  <a:pos x="28" y="33"/>
                </a:cxn>
                <a:cxn ang="0">
                  <a:pos x="37" y="15"/>
                </a:cxn>
                <a:cxn ang="0">
                  <a:pos x="48" y="0"/>
                </a:cxn>
              </a:cxnLst>
              <a:rect l="0" t="0" r="r" b="b"/>
              <a:pathLst>
                <a:path w="80" h="79">
                  <a:moveTo>
                    <a:pt x="48" y="0"/>
                  </a:moveTo>
                  <a:lnTo>
                    <a:pt x="50" y="3"/>
                  </a:lnTo>
                  <a:lnTo>
                    <a:pt x="53" y="7"/>
                  </a:lnTo>
                  <a:lnTo>
                    <a:pt x="61" y="9"/>
                  </a:lnTo>
                  <a:lnTo>
                    <a:pt x="71" y="11"/>
                  </a:lnTo>
                  <a:lnTo>
                    <a:pt x="75" y="13"/>
                  </a:lnTo>
                  <a:lnTo>
                    <a:pt x="80" y="16"/>
                  </a:lnTo>
                  <a:lnTo>
                    <a:pt x="75" y="46"/>
                  </a:lnTo>
                  <a:lnTo>
                    <a:pt x="53" y="48"/>
                  </a:lnTo>
                  <a:lnTo>
                    <a:pt x="50" y="79"/>
                  </a:lnTo>
                  <a:lnTo>
                    <a:pt x="7" y="79"/>
                  </a:lnTo>
                  <a:lnTo>
                    <a:pt x="1" y="77"/>
                  </a:lnTo>
                  <a:lnTo>
                    <a:pt x="0" y="74"/>
                  </a:lnTo>
                  <a:lnTo>
                    <a:pt x="3" y="67"/>
                  </a:lnTo>
                  <a:lnTo>
                    <a:pt x="7" y="58"/>
                  </a:lnTo>
                  <a:lnTo>
                    <a:pt x="7" y="53"/>
                  </a:lnTo>
                  <a:lnTo>
                    <a:pt x="4" y="49"/>
                  </a:lnTo>
                  <a:lnTo>
                    <a:pt x="4" y="47"/>
                  </a:lnTo>
                  <a:lnTo>
                    <a:pt x="7" y="46"/>
                  </a:lnTo>
                  <a:lnTo>
                    <a:pt x="13" y="43"/>
                  </a:lnTo>
                  <a:lnTo>
                    <a:pt x="20" y="40"/>
                  </a:lnTo>
                  <a:lnTo>
                    <a:pt x="23" y="37"/>
                  </a:lnTo>
                  <a:lnTo>
                    <a:pt x="28" y="33"/>
                  </a:lnTo>
                  <a:lnTo>
                    <a:pt x="37" y="15"/>
                  </a:lnTo>
                  <a:lnTo>
                    <a:pt x="48"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55" name="Freeform 66"/>
            <p:cNvSpPr>
              <a:spLocks/>
            </p:cNvSpPr>
            <p:nvPr/>
          </p:nvSpPr>
          <p:spPr bwMode="auto">
            <a:xfrm>
              <a:off x="451" y="224"/>
              <a:ext cx="4" cy="3"/>
            </a:xfrm>
            <a:custGeom>
              <a:avLst/>
              <a:gdLst/>
              <a:ahLst/>
              <a:cxnLst>
                <a:cxn ang="0">
                  <a:pos x="28" y="0"/>
                </a:cxn>
                <a:cxn ang="0">
                  <a:pos x="38" y="9"/>
                </a:cxn>
                <a:cxn ang="0">
                  <a:pos x="43" y="18"/>
                </a:cxn>
                <a:cxn ang="0">
                  <a:pos x="46" y="26"/>
                </a:cxn>
                <a:cxn ang="0">
                  <a:pos x="47" y="33"/>
                </a:cxn>
                <a:cxn ang="0">
                  <a:pos x="47" y="43"/>
                </a:cxn>
                <a:cxn ang="0">
                  <a:pos x="49" y="45"/>
                </a:cxn>
                <a:cxn ang="0">
                  <a:pos x="55" y="46"/>
                </a:cxn>
                <a:cxn ang="0">
                  <a:pos x="41" y="52"/>
                </a:cxn>
                <a:cxn ang="0">
                  <a:pos x="27" y="55"/>
                </a:cxn>
                <a:cxn ang="0">
                  <a:pos x="20" y="55"/>
                </a:cxn>
                <a:cxn ang="0">
                  <a:pos x="13" y="53"/>
                </a:cxn>
                <a:cxn ang="0">
                  <a:pos x="6" y="49"/>
                </a:cxn>
                <a:cxn ang="0">
                  <a:pos x="0" y="44"/>
                </a:cxn>
                <a:cxn ang="0">
                  <a:pos x="11" y="19"/>
                </a:cxn>
                <a:cxn ang="0">
                  <a:pos x="20" y="4"/>
                </a:cxn>
                <a:cxn ang="0">
                  <a:pos x="24" y="0"/>
                </a:cxn>
                <a:cxn ang="0">
                  <a:pos x="28" y="0"/>
                </a:cxn>
              </a:cxnLst>
              <a:rect l="0" t="0" r="r" b="b"/>
              <a:pathLst>
                <a:path w="55" h="55">
                  <a:moveTo>
                    <a:pt x="28" y="0"/>
                  </a:moveTo>
                  <a:lnTo>
                    <a:pt x="38" y="9"/>
                  </a:lnTo>
                  <a:lnTo>
                    <a:pt x="43" y="18"/>
                  </a:lnTo>
                  <a:lnTo>
                    <a:pt x="46" y="26"/>
                  </a:lnTo>
                  <a:lnTo>
                    <a:pt x="47" y="33"/>
                  </a:lnTo>
                  <a:lnTo>
                    <a:pt x="47" y="43"/>
                  </a:lnTo>
                  <a:lnTo>
                    <a:pt x="49" y="45"/>
                  </a:lnTo>
                  <a:lnTo>
                    <a:pt x="55" y="46"/>
                  </a:lnTo>
                  <a:lnTo>
                    <a:pt x="41" y="52"/>
                  </a:lnTo>
                  <a:lnTo>
                    <a:pt x="27" y="55"/>
                  </a:lnTo>
                  <a:lnTo>
                    <a:pt x="20" y="55"/>
                  </a:lnTo>
                  <a:lnTo>
                    <a:pt x="13" y="53"/>
                  </a:lnTo>
                  <a:lnTo>
                    <a:pt x="6" y="49"/>
                  </a:lnTo>
                  <a:lnTo>
                    <a:pt x="0" y="44"/>
                  </a:lnTo>
                  <a:lnTo>
                    <a:pt x="11" y="19"/>
                  </a:lnTo>
                  <a:lnTo>
                    <a:pt x="20" y="4"/>
                  </a:lnTo>
                  <a:lnTo>
                    <a:pt x="24" y="0"/>
                  </a:lnTo>
                  <a:lnTo>
                    <a:pt x="28"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56" name="Freeform 67"/>
            <p:cNvSpPr>
              <a:spLocks/>
            </p:cNvSpPr>
            <p:nvPr/>
          </p:nvSpPr>
          <p:spPr bwMode="auto">
            <a:xfrm>
              <a:off x="456" y="245"/>
              <a:ext cx="63" cy="86"/>
            </a:xfrm>
            <a:custGeom>
              <a:avLst/>
              <a:gdLst/>
              <a:ahLst/>
              <a:cxnLst>
                <a:cxn ang="0">
                  <a:pos x="451" y="695"/>
                </a:cxn>
                <a:cxn ang="0">
                  <a:pos x="411" y="640"/>
                </a:cxn>
                <a:cxn ang="0">
                  <a:pos x="353" y="590"/>
                </a:cxn>
                <a:cxn ang="0">
                  <a:pos x="217" y="517"/>
                </a:cxn>
                <a:cxn ang="0">
                  <a:pos x="155" y="438"/>
                </a:cxn>
                <a:cxn ang="0">
                  <a:pos x="4" y="281"/>
                </a:cxn>
                <a:cxn ang="0">
                  <a:pos x="88" y="318"/>
                </a:cxn>
                <a:cxn ang="0">
                  <a:pos x="163" y="395"/>
                </a:cxn>
                <a:cxn ang="0">
                  <a:pos x="186" y="425"/>
                </a:cxn>
                <a:cxn ang="0">
                  <a:pos x="320" y="468"/>
                </a:cxn>
                <a:cxn ang="0">
                  <a:pos x="422" y="495"/>
                </a:cxn>
                <a:cxn ang="0">
                  <a:pos x="397" y="415"/>
                </a:cxn>
                <a:cxn ang="0">
                  <a:pos x="343" y="264"/>
                </a:cxn>
                <a:cxn ang="0">
                  <a:pos x="278" y="187"/>
                </a:cxn>
                <a:cxn ang="0">
                  <a:pos x="296" y="122"/>
                </a:cxn>
                <a:cxn ang="0">
                  <a:pos x="324" y="82"/>
                </a:cxn>
                <a:cxn ang="0">
                  <a:pos x="406" y="51"/>
                </a:cxn>
                <a:cxn ang="0">
                  <a:pos x="506" y="73"/>
                </a:cxn>
                <a:cxn ang="0">
                  <a:pos x="518" y="45"/>
                </a:cxn>
                <a:cxn ang="0">
                  <a:pos x="558" y="1"/>
                </a:cxn>
                <a:cxn ang="0">
                  <a:pos x="593" y="43"/>
                </a:cxn>
                <a:cxn ang="0">
                  <a:pos x="735" y="313"/>
                </a:cxn>
                <a:cxn ang="0">
                  <a:pos x="731" y="378"/>
                </a:cxn>
                <a:cxn ang="0">
                  <a:pos x="859" y="496"/>
                </a:cxn>
                <a:cxn ang="0">
                  <a:pos x="935" y="586"/>
                </a:cxn>
                <a:cxn ang="0">
                  <a:pos x="1018" y="714"/>
                </a:cxn>
                <a:cxn ang="0">
                  <a:pos x="1073" y="829"/>
                </a:cxn>
                <a:cxn ang="0">
                  <a:pos x="1049" y="861"/>
                </a:cxn>
                <a:cxn ang="0">
                  <a:pos x="991" y="909"/>
                </a:cxn>
                <a:cxn ang="0">
                  <a:pos x="1012" y="918"/>
                </a:cxn>
                <a:cxn ang="0">
                  <a:pos x="936" y="941"/>
                </a:cxn>
                <a:cxn ang="0">
                  <a:pos x="803" y="797"/>
                </a:cxn>
                <a:cxn ang="0">
                  <a:pos x="669" y="723"/>
                </a:cxn>
                <a:cxn ang="0">
                  <a:pos x="613" y="668"/>
                </a:cxn>
                <a:cxn ang="0">
                  <a:pos x="558" y="598"/>
                </a:cxn>
                <a:cxn ang="0">
                  <a:pos x="537" y="558"/>
                </a:cxn>
                <a:cxn ang="0">
                  <a:pos x="525" y="499"/>
                </a:cxn>
                <a:cxn ang="0">
                  <a:pos x="490" y="456"/>
                </a:cxn>
                <a:cxn ang="0">
                  <a:pos x="435" y="478"/>
                </a:cxn>
                <a:cxn ang="0">
                  <a:pos x="461" y="589"/>
                </a:cxn>
                <a:cxn ang="0">
                  <a:pos x="517" y="687"/>
                </a:cxn>
                <a:cxn ang="0">
                  <a:pos x="556" y="755"/>
                </a:cxn>
                <a:cxn ang="0">
                  <a:pos x="585" y="813"/>
                </a:cxn>
                <a:cxn ang="0">
                  <a:pos x="658" y="872"/>
                </a:cxn>
                <a:cxn ang="0">
                  <a:pos x="694" y="967"/>
                </a:cxn>
                <a:cxn ang="0">
                  <a:pos x="773" y="1041"/>
                </a:cxn>
                <a:cxn ang="0">
                  <a:pos x="722" y="978"/>
                </a:cxn>
                <a:cxn ang="0">
                  <a:pos x="748" y="922"/>
                </a:cxn>
                <a:cxn ang="0">
                  <a:pos x="814" y="1014"/>
                </a:cxn>
                <a:cxn ang="0">
                  <a:pos x="857" y="1145"/>
                </a:cxn>
                <a:cxn ang="0">
                  <a:pos x="872" y="1283"/>
                </a:cxn>
                <a:cxn ang="0">
                  <a:pos x="785" y="1412"/>
                </a:cxn>
                <a:cxn ang="0">
                  <a:pos x="751" y="1475"/>
                </a:cxn>
                <a:cxn ang="0">
                  <a:pos x="670" y="1412"/>
                </a:cxn>
                <a:cxn ang="0">
                  <a:pos x="642" y="1387"/>
                </a:cxn>
                <a:cxn ang="0">
                  <a:pos x="736" y="1286"/>
                </a:cxn>
                <a:cxn ang="0">
                  <a:pos x="741" y="1178"/>
                </a:cxn>
                <a:cxn ang="0">
                  <a:pos x="602" y="1086"/>
                </a:cxn>
                <a:cxn ang="0">
                  <a:pos x="655" y="939"/>
                </a:cxn>
                <a:cxn ang="0">
                  <a:pos x="590" y="866"/>
                </a:cxn>
                <a:cxn ang="0">
                  <a:pos x="476" y="731"/>
                </a:cxn>
              </a:cxnLst>
              <a:rect l="0" t="0" r="r" b="b"/>
              <a:pathLst>
                <a:path w="1074" h="1475">
                  <a:moveTo>
                    <a:pt x="476" y="728"/>
                  </a:moveTo>
                  <a:lnTo>
                    <a:pt x="469" y="727"/>
                  </a:lnTo>
                  <a:lnTo>
                    <a:pt x="464" y="725"/>
                  </a:lnTo>
                  <a:lnTo>
                    <a:pt x="452" y="715"/>
                  </a:lnTo>
                  <a:lnTo>
                    <a:pt x="452" y="699"/>
                  </a:lnTo>
                  <a:lnTo>
                    <a:pt x="451" y="695"/>
                  </a:lnTo>
                  <a:lnTo>
                    <a:pt x="448" y="694"/>
                  </a:lnTo>
                  <a:lnTo>
                    <a:pt x="441" y="689"/>
                  </a:lnTo>
                  <a:lnTo>
                    <a:pt x="424" y="674"/>
                  </a:lnTo>
                  <a:lnTo>
                    <a:pt x="417" y="666"/>
                  </a:lnTo>
                  <a:lnTo>
                    <a:pt x="413" y="659"/>
                  </a:lnTo>
                  <a:lnTo>
                    <a:pt x="411" y="640"/>
                  </a:lnTo>
                  <a:lnTo>
                    <a:pt x="401" y="631"/>
                  </a:lnTo>
                  <a:lnTo>
                    <a:pt x="391" y="619"/>
                  </a:lnTo>
                  <a:lnTo>
                    <a:pt x="382" y="607"/>
                  </a:lnTo>
                  <a:lnTo>
                    <a:pt x="376" y="603"/>
                  </a:lnTo>
                  <a:lnTo>
                    <a:pt x="368" y="599"/>
                  </a:lnTo>
                  <a:lnTo>
                    <a:pt x="353" y="590"/>
                  </a:lnTo>
                  <a:lnTo>
                    <a:pt x="332" y="582"/>
                  </a:lnTo>
                  <a:lnTo>
                    <a:pt x="307" y="572"/>
                  </a:lnTo>
                  <a:lnTo>
                    <a:pt x="279" y="558"/>
                  </a:lnTo>
                  <a:lnTo>
                    <a:pt x="248" y="540"/>
                  </a:lnTo>
                  <a:lnTo>
                    <a:pt x="233" y="528"/>
                  </a:lnTo>
                  <a:lnTo>
                    <a:pt x="217" y="517"/>
                  </a:lnTo>
                  <a:lnTo>
                    <a:pt x="202" y="502"/>
                  </a:lnTo>
                  <a:lnTo>
                    <a:pt x="187" y="485"/>
                  </a:lnTo>
                  <a:lnTo>
                    <a:pt x="173" y="467"/>
                  </a:lnTo>
                  <a:lnTo>
                    <a:pt x="160" y="446"/>
                  </a:lnTo>
                  <a:lnTo>
                    <a:pt x="159" y="443"/>
                  </a:lnTo>
                  <a:lnTo>
                    <a:pt x="155" y="438"/>
                  </a:lnTo>
                  <a:lnTo>
                    <a:pt x="138" y="419"/>
                  </a:lnTo>
                  <a:lnTo>
                    <a:pt x="82" y="367"/>
                  </a:lnTo>
                  <a:lnTo>
                    <a:pt x="26" y="316"/>
                  </a:lnTo>
                  <a:lnTo>
                    <a:pt x="7" y="298"/>
                  </a:lnTo>
                  <a:lnTo>
                    <a:pt x="0" y="289"/>
                  </a:lnTo>
                  <a:lnTo>
                    <a:pt x="4" y="281"/>
                  </a:lnTo>
                  <a:lnTo>
                    <a:pt x="12" y="277"/>
                  </a:lnTo>
                  <a:lnTo>
                    <a:pt x="22" y="277"/>
                  </a:lnTo>
                  <a:lnTo>
                    <a:pt x="33" y="280"/>
                  </a:lnTo>
                  <a:lnTo>
                    <a:pt x="46" y="286"/>
                  </a:lnTo>
                  <a:lnTo>
                    <a:pt x="60" y="296"/>
                  </a:lnTo>
                  <a:lnTo>
                    <a:pt x="88" y="318"/>
                  </a:lnTo>
                  <a:lnTo>
                    <a:pt x="117" y="343"/>
                  </a:lnTo>
                  <a:lnTo>
                    <a:pt x="140" y="367"/>
                  </a:lnTo>
                  <a:lnTo>
                    <a:pt x="156" y="386"/>
                  </a:lnTo>
                  <a:lnTo>
                    <a:pt x="159" y="393"/>
                  </a:lnTo>
                  <a:lnTo>
                    <a:pt x="160" y="396"/>
                  </a:lnTo>
                  <a:lnTo>
                    <a:pt x="163" y="395"/>
                  </a:lnTo>
                  <a:lnTo>
                    <a:pt x="166" y="398"/>
                  </a:lnTo>
                  <a:lnTo>
                    <a:pt x="170" y="412"/>
                  </a:lnTo>
                  <a:lnTo>
                    <a:pt x="176" y="426"/>
                  </a:lnTo>
                  <a:lnTo>
                    <a:pt x="179" y="430"/>
                  </a:lnTo>
                  <a:lnTo>
                    <a:pt x="183" y="430"/>
                  </a:lnTo>
                  <a:lnTo>
                    <a:pt x="186" y="425"/>
                  </a:lnTo>
                  <a:lnTo>
                    <a:pt x="194" y="423"/>
                  </a:lnTo>
                  <a:lnTo>
                    <a:pt x="203" y="424"/>
                  </a:lnTo>
                  <a:lnTo>
                    <a:pt x="216" y="426"/>
                  </a:lnTo>
                  <a:lnTo>
                    <a:pt x="246" y="437"/>
                  </a:lnTo>
                  <a:lnTo>
                    <a:pt x="282" y="452"/>
                  </a:lnTo>
                  <a:lnTo>
                    <a:pt x="320" y="468"/>
                  </a:lnTo>
                  <a:lnTo>
                    <a:pt x="357" y="483"/>
                  </a:lnTo>
                  <a:lnTo>
                    <a:pt x="390" y="495"/>
                  </a:lnTo>
                  <a:lnTo>
                    <a:pt x="405" y="497"/>
                  </a:lnTo>
                  <a:lnTo>
                    <a:pt x="418" y="498"/>
                  </a:lnTo>
                  <a:lnTo>
                    <a:pt x="420" y="497"/>
                  </a:lnTo>
                  <a:lnTo>
                    <a:pt x="422" y="495"/>
                  </a:lnTo>
                  <a:lnTo>
                    <a:pt x="422" y="486"/>
                  </a:lnTo>
                  <a:lnTo>
                    <a:pt x="419" y="475"/>
                  </a:lnTo>
                  <a:lnTo>
                    <a:pt x="413" y="461"/>
                  </a:lnTo>
                  <a:lnTo>
                    <a:pt x="402" y="434"/>
                  </a:lnTo>
                  <a:lnTo>
                    <a:pt x="398" y="422"/>
                  </a:lnTo>
                  <a:lnTo>
                    <a:pt x="397" y="415"/>
                  </a:lnTo>
                  <a:lnTo>
                    <a:pt x="373" y="383"/>
                  </a:lnTo>
                  <a:lnTo>
                    <a:pt x="372" y="352"/>
                  </a:lnTo>
                  <a:lnTo>
                    <a:pt x="375" y="343"/>
                  </a:lnTo>
                  <a:lnTo>
                    <a:pt x="381" y="332"/>
                  </a:lnTo>
                  <a:lnTo>
                    <a:pt x="353" y="283"/>
                  </a:lnTo>
                  <a:lnTo>
                    <a:pt x="343" y="264"/>
                  </a:lnTo>
                  <a:lnTo>
                    <a:pt x="340" y="254"/>
                  </a:lnTo>
                  <a:lnTo>
                    <a:pt x="339" y="244"/>
                  </a:lnTo>
                  <a:lnTo>
                    <a:pt x="335" y="239"/>
                  </a:lnTo>
                  <a:lnTo>
                    <a:pt x="325" y="228"/>
                  </a:lnTo>
                  <a:lnTo>
                    <a:pt x="277" y="182"/>
                  </a:lnTo>
                  <a:lnTo>
                    <a:pt x="278" y="187"/>
                  </a:lnTo>
                  <a:lnTo>
                    <a:pt x="279" y="188"/>
                  </a:lnTo>
                  <a:lnTo>
                    <a:pt x="281" y="187"/>
                  </a:lnTo>
                  <a:lnTo>
                    <a:pt x="283" y="184"/>
                  </a:lnTo>
                  <a:lnTo>
                    <a:pt x="290" y="155"/>
                  </a:lnTo>
                  <a:lnTo>
                    <a:pt x="296" y="126"/>
                  </a:lnTo>
                  <a:lnTo>
                    <a:pt x="296" y="122"/>
                  </a:lnTo>
                  <a:lnTo>
                    <a:pt x="294" y="130"/>
                  </a:lnTo>
                  <a:lnTo>
                    <a:pt x="297" y="121"/>
                  </a:lnTo>
                  <a:lnTo>
                    <a:pt x="302" y="113"/>
                  </a:lnTo>
                  <a:lnTo>
                    <a:pt x="316" y="97"/>
                  </a:lnTo>
                  <a:lnTo>
                    <a:pt x="321" y="89"/>
                  </a:lnTo>
                  <a:lnTo>
                    <a:pt x="324" y="82"/>
                  </a:lnTo>
                  <a:lnTo>
                    <a:pt x="323" y="75"/>
                  </a:lnTo>
                  <a:lnTo>
                    <a:pt x="318" y="67"/>
                  </a:lnTo>
                  <a:lnTo>
                    <a:pt x="341" y="66"/>
                  </a:lnTo>
                  <a:lnTo>
                    <a:pt x="363" y="62"/>
                  </a:lnTo>
                  <a:lnTo>
                    <a:pt x="384" y="56"/>
                  </a:lnTo>
                  <a:lnTo>
                    <a:pt x="406" y="51"/>
                  </a:lnTo>
                  <a:lnTo>
                    <a:pt x="429" y="49"/>
                  </a:lnTo>
                  <a:lnTo>
                    <a:pt x="452" y="50"/>
                  </a:lnTo>
                  <a:lnTo>
                    <a:pt x="465" y="54"/>
                  </a:lnTo>
                  <a:lnTo>
                    <a:pt x="478" y="58"/>
                  </a:lnTo>
                  <a:lnTo>
                    <a:pt x="491" y="64"/>
                  </a:lnTo>
                  <a:lnTo>
                    <a:pt x="506" y="73"/>
                  </a:lnTo>
                  <a:lnTo>
                    <a:pt x="508" y="71"/>
                  </a:lnTo>
                  <a:lnTo>
                    <a:pt x="511" y="69"/>
                  </a:lnTo>
                  <a:lnTo>
                    <a:pt x="517" y="61"/>
                  </a:lnTo>
                  <a:lnTo>
                    <a:pt x="520" y="51"/>
                  </a:lnTo>
                  <a:lnTo>
                    <a:pt x="519" y="48"/>
                  </a:lnTo>
                  <a:lnTo>
                    <a:pt x="518" y="45"/>
                  </a:lnTo>
                  <a:lnTo>
                    <a:pt x="514" y="44"/>
                  </a:lnTo>
                  <a:lnTo>
                    <a:pt x="516" y="41"/>
                  </a:lnTo>
                  <a:lnTo>
                    <a:pt x="526" y="30"/>
                  </a:lnTo>
                  <a:lnTo>
                    <a:pt x="543" y="17"/>
                  </a:lnTo>
                  <a:lnTo>
                    <a:pt x="552" y="4"/>
                  </a:lnTo>
                  <a:lnTo>
                    <a:pt x="558" y="1"/>
                  </a:lnTo>
                  <a:lnTo>
                    <a:pt x="561" y="0"/>
                  </a:lnTo>
                  <a:lnTo>
                    <a:pt x="565" y="0"/>
                  </a:lnTo>
                  <a:lnTo>
                    <a:pt x="568" y="1"/>
                  </a:lnTo>
                  <a:lnTo>
                    <a:pt x="574" y="8"/>
                  </a:lnTo>
                  <a:lnTo>
                    <a:pt x="586" y="30"/>
                  </a:lnTo>
                  <a:lnTo>
                    <a:pt x="593" y="43"/>
                  </a:lnTo>
                  <a:lnTo>
                    <a:pt x="602" y="55"/>
                  </a:lnTo>
                  <a:lnTo>
                    <a:pt x="603" y="124"/>
                  </a:lnTo>
                  <a:lnTo>
                    <a:pt x="663" y="188"/>
                  </a:lnTo>
                  <a:lnTo>
                    <a:pt x="681" y="256"/>
                  </a:lnTo>
                  <a:lnTo>
                    <a:pt x="736" y="301"/>
                  </a:lnTo>
                  <a:lnTo>
                    <a:pt x="735" y="313"/>
                  </a:lnTo>
                  <a:lnTo>
                    <a:pt x="733" y="319"/>
                  </a:lnTo>
                  <a:lnTo>
                    <a:pt x="728" y="322"/>
                  </a:lnTo>
                  <a:lnTo>
                    <a:pt x="720" y="325"/>
                  </a:lnTo>
                  <a:lnTo>
                    <a:pt x="728" y="365"/>
                  </a:lnTo>
                  <a:lnTo>
                    <a:pt x="730" y="377"/>
                  </a:lnTo>
                  <a:lnTo>
                    <a:pt x="731" y="378"/>
                  </a:lnTo>
                  <a:lnTo>
                    <a:pt x="733" y="379"/>
                  </a:lnTo>
                  <a:lnTo>
                    <a:pt x="738" y="381"/>
                  </a:lnTo>
                  <a:lnTo>
                    <a:pt x="746" y="386"/>
                  </a:lnTo>
                  <a:lnTo>
                    <a:pt x="779" y="426"/>
                  </a:lnTo>
                  <a:lnTo>
                    <a:pt x="852" y="476"/>
                  </a:lnTo>
                  <a:lnTo>
                    <a:pt x="859" y="496"/>
                  </a:lnTo>
                  <a:lnTo>
                    <a:pt x="867" y="515"/>
                  </a:lnTo>
                  <a:lnTo>
                    <a:pt x="877" y="533"/>
                  </a:lnTo>
                  <a:lnTo>
                    <a:pt x="889" y="548"/>
                  </a:lnTo>
                  <a:lnTo>
                    <a:pt x="903" y="563"/>
                  </a:lnTo>
                  <a:lnTo>
                    <a:pt x="917" y="576"/>
                  </a:lnTo>
                  <a:lnTo>
                    <a:pt x="935" y="586"/>
                  </a:lnTo>
                  <a:lnTo>
                    <a:pt x="955" y="595"/>
                  </a:lnTo>
                  <a:lnTo>
                    <a:pt x="985" y="640"/>
                  </a:lnTo>
                  <a:lnTo>
                    <a:pt x="988" y="661"/>
                  </a:lnTo>
                  <a:lnTo>
                    <a:pt x="995" y="680"/>
                  </a:lnTo>
                  <a:lnTo>
                    <a:pt x="1006" y="697"/>
                  </a:lnTo>
                  <a:lnTo>
                    <a:pt x="1018" y="714"/>
                  </a:lnTo>
                  <a:lnTo>
                    <a:pt x="1046" y="745"/>
                  </a:lnTo>
                  <a:lnTo>
                    <a:pt x="1058" y="762"/>
                  </a:lnTo>
                  <a:lnTo>
                    <a:pt x="1071" y="779"/>
                  </a:lnTo>
                  <a:lnTo>
                    <a:pt x="1073" y="796"/>
                  </a:lnTo>
                  <a:lnTo>
                    <a:pt x="1074" y="813"/>
                  </a:lnTo>
                  <a:lnTo>
                    <a:pt x="1073" y="829"/>
                  </a:lnTo>
                  <a:lnTo>
                    <a:pt x="1071" y="846"/>
                  </a:lnTo>
                  <a:lnTo>
                    <a:pt x="1068" y="855"/>
                  </a:lnTo>
                  <a:lnTo>
                    <a:pt x="1064" y="859"/>
                  </a:lnTo>
                  <a:lnTo>
                    <a:pt x="1059" y="860"/>
                  </a:lnTo>
                  <a:lnTo>
                    <a:pt x="1054" y="860"/>
                  </a:lnTo>
                  <a:lnTo>
                    <a:pt x="1049" y="861"/>
                  </a:lnTo>
                  <a:lnTo>
                    <a:pt x="1045" y="863"/>
                  </a:lnTo>
                  <a:lnTo>
                    <a:pt x="1041" y="868"/>
                  </a:lnTo>
                  <a:lnTo>
                    <a:pt x="1037" y="879"/>
                  </a:lnTo>
                  <a:lnTo>
                    <a:pt x="1005" y="898"/>
                  </a:lnTo>
                  <a:lnTo>
                    <a:pt x="991" y="907"/>
                  </a:lnTo>
                  <a:lnTo>
                    <a:pt x="991" y="909"/>
                  </a:lnTo>
                  <a:lnTo>
                    <a:pt x="992" y="911"/>
                  </a:lnTo>
                  <a:lnTo>
                    <a:pt x="1001" y="909"/>
                  </a:lnTo>
                  <a:lnTo>
                    <a:pt x="1010" y="911"/>
                  </a:lnTo>
                  <a:lnTo>
                    <a:pt x="1013" y="912"/>
                  </a:lnTo>
                  <a:lnTo>
                    <a:pt x="1014" y="914"/>
                  </a:lnTo>
                  <a:lnTo>
                    <a:pt x="1012" y="918"/>
                  </a:lnTo>
                  <a:lnTo>
                    <a:pt x="1006" y="923"/>
                  </a:lnTo>
                  <a:lnTo>
                    <a:pt x="980" y="943"/>
                  </a:lnTo>
                  <a:lnTo>
                    <a:pt x="957" y="947"/>
                  </a:lnTo>
                  <a:lnTo>
                    <a:pt x="949" y="947"/>
                  </a:lnTo>
                  <a:lnTo>
                    <a:pt x="942" y="945"/>
                  </a:lnTo>
                  <a:lnTo>
                    <a:pt x="936" y="941"/>
                  </a:lnTo>
                  <a:lnTo>
                    <a:pt x="931" y="936"/>
                  </a:lnTo>
                  <a:lnTo>
                    <a:pt x="927" y="926"/>
                  </a:lnTo>
                  <a:lnTo>
                    <a:pt x="924" y="916"/>
                  </a:lnTo>
                  <a:lnTo>
                    <a:pt x="868" y="866"/>
                  </a:lnTo>
                  <a:lnTo>
                    <a:pt x="823" y="804"/>
                  </a:lnTo>
                  <a:lnTo>
                    <a:pt x="803" y="797"/>
                  </a:lnTo>
                  <a:lnTo>
                    <a:pt x="785" y="787"/>
                  </a:lnTo>
                  <a:lnTo>
                    <a:pt x="750" y="765"/>
                  </a:lnTo>
                  <a:lnTo>
                    <a:pt x="714" y="743"/>
                  </a:lnTo>
                  <a:lnTo>
                    <a:pt x="695" y="734"/>
                  </a:lnTo>
                  <a:lnTo>
                    <a:pt x="674" y="726"/>
                  </a:lnTo>
                  <a:lnTo>
                    <a:pt x="669" y="723"/>
                  </a:lnTo>
                  <a:lnTo>
                    <a:pt x="664" y="718"/>
                  </a:lnTo>
                  <a:lnTo>
                    <a:pt x="658" y="707"/>
                  </a:lnTo>
                  <a:lnTo>
                    <a:pt x="649" y="684"/>
                  </a:lnTo>
                  <a:lnTo>
                    <a:pt x="643" y="678"/>
                  </a:lnTo>
                  <a:lnTo>
                    <a:pt x="634" y="675"/>
                  </a:lnTo>
                  <a:lnTo>
                    <a:pt x="613" y="668"/>
                  </a:lnTo>
                  <a:lnTo>
                    <a:pt x="568" y="625"/>
                  </a:lnTo>
                  <a:lnTo>
                    <a:pt x="554" y="602"/>
                  </a:lnTo>
                  <a:lnTo>
                    <a:pt x="553" y="599"/>
                  </a:lnTo>
                  <a:lnTo>
                    <a:pt x="554" y="599"/>
                  </a:lnTo>
                  <a:lnTo>
                    <a:pt x="557" y="599"/>
                  </a:lnTo>
                  <a:lnTo>
                    <a:pt x="558" y="598"/>
                  </a:lnTo>
                  <a:lnTo>
                    <a:pt x="558" y="593"/>
                  </a:lnTo>
                  <a:lnTo>
                    <a:pt x="554" y="581"/>
                  </a:lnTo>
                  <a:lnTo>
                    <a:pt x="549" y="581"/>
                  </a:lnTo>
                  <a:lnTo>
                    <a:pt x="545" y="579"/>
                  </a:lnTo>
                  <a:lnTo>
                    <a:pt x="541" y="573"/>
                  </a:lnTo>
                  <a:lnTo>
                    <a:pt x="537" y="558"/>
                  </a:lnTo>
                  <a:lnTo>
                    <a:pt x="529" y="556"/>
                  </a:lnTo>
                  <a:lnTo>
                    <a:pt x="525" y="552"/>
                  </a:lnTo>
                  <a:lnTo>
                    <a:pt x="522" y="545"/>
                  </a:lnTo>
                  <a:lnTo>
                    <a:pt x="522" y="537"/>
                  </a:lnTo>
                  <a:lnTo>
                    <a:pt x="523" y="519"/>
                  </a:lnTo>
                  <a:lnTo>
                    <a:pt x="525" y="499"/>
                  </a:lnTo>
                  <a:lnTo>
                    <a:pt x="525" y="489"/>
                  </a:lnTo>
                  <a:lnTo>
                    <a:pt x="523" y="480"/>
                  </a:lnTo>
                  <a:lnTo>
                    <a:pt x="519" y="472"/>
                  </a:lnTo>
                  <a:lnTo>
                    <a:pt x="512" y="465"/>
                  </a:lnTo>
                  <a:lnTo>
                    <a:pt x="504" y="460"/>
                  </a:lnTo>
                  <a:lnTo>
                    <a:pt x="490" y="456"/>
                  </a:lnTo>
                  <a:lnTo>
                    <a:pt x="473" y="455"/>
                  </a:lnTo>
                  <a:lnTo>
                    <a:pt x="452" y="457"/>
                  </a:lnTo>
                  <a:lnTo>
                    <a:pt x="445" y="460"/>
                  </a:lnTo>
                  <a:lnTo>
                    <a:pt x="441" y="465"/>
                  </a:lnTo>
                  <a:lnTo>
                    <a:pt x="437" y="470"/>
                  </a:lnTo>
                  <a:lnTo>
                    <a:pt x="435" y="478"/>
                  </a:lnTo>
                  <a:lnTo>
                    <a:pt x="432" y="494"/>
                  </a:lnTo>
                  <a:lnTo>
                    <a:pt x="432" y="509"/>
                  </a:lnTo>
                  <a:lnTo>
                    <a:pt x="444" y="530"/>
                  </a:lnTo>
                  <a:lnTo>
                    <a:pt x="450" y="541"/>
                  </a:lnTo>
                  <a:lnTo>
                    <a:pt x="455" y="556"/>
                  </a:lnTo>
                  <a:lnTo>
                    <a:pt x="461" y="589"/>
                  </a:lnTo>
                  <a:lnTo>
                    <a:pt x="466" y="597"/>
                  </a:lnTo>
                  <a:lnTo>
                    <a:pt x="474" y="609"/>
                  </a:lnTo>
                  <a:lnTo>
                    <a:pt x="490" y="643"/>
                  </a:lnTo>
                  <a:lnTo>
                    <a:pt x="509" y="686"/>
                  </a:lnTo>
                  <a:lnTo>
                    <a:pt x="513" y="685"/>
                  </a:lnTo>
                  <a:lnTo>
                    <a:pt x="517" y="687"/>
                  </a:lnTo>
                  <a:lnTo>
                    <a:pt x="524" y="695"/>
                  </a:lnTo>
                  <a:lnTo>
                    <a:pt x="530" y="705"/>
                  </a:lnTo>
                  <a:lnTo>
                    <a:pt x="539" y="716"/>
                  </a:lnTo>
                  <a:lnTo>
                    <a:pt x="539" y="738"/>
                  </a:lnTo>
                  <a:lnTo>
                    <a:pt x="551" y="749"/>
                  </a:lnTo>
                  <a:lnTo>
                    <a:pt x="556" y="755"/>
                  </a:lnTo>
                  <a:lnTo>
                    <a:pt x="557" y="761"/>
                  </a:lnTo>
                  <a:lnTo>
                    <a:pt x="597" y="761"/>
                  </a:lnTo>
                  <a:lnTo>
                    <a:pt x="594" y="775"/>
                  </a:lnTo>
                  <a:lnTo>
                    <a:pt x="590" y="787"/>
                  </a:lnTo>
                  <a:lnTo>
                    <a:pt x="586" y="800"/>
                  </a:lnTo>
                  <a:lnTo>
                    <a:pt x="585" y="813"/>
                  </a:lnTo>
                  <a:lnTo>
                    <a:pt x="603" y="815"/>
                  </a:lnTo>
                  <a:lnTo>
                    <a:pt x="621" y="821"/>
                  </a:lnTo>
                  <a:lnTo>
                    <a:pt x="639" y="829"/>
                  </a:lnTo>
                  <a:lnTo>
                    <a:pt x="653" y="841"/>
                  </a:lnTo>
                  <a:lnTo>
                    <a:pt x="654" y="858"/>
                  </a:lnTo>
                  <a:lnTo>
                    <a:pt x="658" y="872"/>
                  </a:lnTo>
                  <a:lnTo>
                    <a:pt x="665" y="885"/>
                  </a:lnTo>
                  <a:lnTo>
                    <a:pt x="677" y="898"/>
                  </a:lnTo>
                  <a:lnTo>
                    <a:pt x="678" y="909"/>
                  </a:lnTo>
                  <a:lnTo>
                    <a:pt x="680" y="921"/>
                  </a:lnTo>
                  <a:lnTo>
                    <a:pt x="687" y="944"/>
                  </a:lnTo>
                  <a:lnTo>
                    <a:pt x="694" y="967"/>
                  </a:lnTo>
                  <a:lnTo>
                    <a:pt x="698" y="979"/>
                  </a:lnTo>
                  <a:lnTo>
                    <a:pt x="699" y="990"/>
                  </a:lnTo>
                  <a:lnTo>
                    <a:pt x="718" y="1000"/>
                  </a:lnTo>
                  <a:lnTo>
                    <a:pt x="738" y="1014"/>
                  </a:lnTo>
                  <a:lnTo>
                    <a:pt x="756" y="1027"/>
                  </a:lnTo>
                  <a:lnTo>
                    <a:pt x="773" y="1041"/>
                  </a:lnTo>
                  <a:lnTo>
                    <a:pt x="771" y="1031"/>
                  </a:lnTo>
                  <a:lnTo>
                    <a:pt x="768" y="1021"/>
                  </a:lnTo>
                  <a:lnTo>
                    <a:pt x="763" y="1012"/>
                  </a:lnTo>
                  <a:lnTo>
                    <a:pt x="755" y="1003"/>
                  </a:lnTo>
                  <a:lnTo>
                    <a:pt x="740" y="988"/>
                  </a:lnTo>
                  <a:lnTo>
                    <a:pt x="722" y="978"/>
                  </a:lnTo>
                  <a:lnTo>
                    <a:pt x="723" y="964"/>
                  </a:lnTo>
                  <a:lnTo>
                    <a:pt x="725" y="951"/>
                  </a:lnTo>
                  <a:lnTo>
                    <a:pt x="728" y="927"/>
                  </a:lnTo>
                  <a:lnTo>
                    <a:pt x="735" y="926"/>
                  </a:lnTo>
                  <a:lnTo>
                    <a:pt x="742" y="924"/>
                  </a:lnTo>
                  <a:lnTo>
                    <a:pt x="748" y="922"/>
                  </a:lnTo>
                  <a:lnTo>
                    <a:pt x="755" y="921"/>
                  </a:lnTo>
                  <a:lnTo>
                    <a:pt x="770" y="940"/>
                  </a:lnTo>
                  <a:lnTo>
                    <a:pt x="784" y="961"/>
                  </a:lnTo>
                  <a:lnTo>
                    <a:pt x="798" y="982"/>
                  </a:lnTo>
                  <a:lnTo>
                    <a:pt x="813" y="1001"/>
                  </a:lnTo>
                  <a:lnTo>
                    <a:pt x="814" y="1014"/>
                  </a:lnTo>
                  <a:lnTo>
                    <a:pt x="817" y="1028"/>
                  </a:lnTo>
                  <a:lnTo>
                    <a:pt x="829" y="1062"/>
                  </a:lnTo>
                  <a:lnTo>
                    <a:pt x="845" y="1095"/>
                  </a:lnTo>
                  <a:lnTo>
                    <a:pt x="852" y="1107"/>
                  </a:lnTo>
                  <a:lnTo>
                    <a:pt x="860" y="1116"/>
                  </a:lnTo>
                  <a:lnTo>
                    <a:pt x="857" y="1145"/>
                  </a:lnTo>
                  <a:lnTo>
                    <a:pt x="853" y="1173"/>
                  </a:lnTo>
                  <a:lnTo>
                    <a:pt x="849" y="1201"/>
                  </a:lnTo>
                  <a:lnTo>
                    <a:pt x="848" y="1230"/>
                  </a:lnTo>
                  <a:lnTo>
                    <a:pt x="875" y="1258"/>
                  </a:lnTo>
                  <a:lnTo>
                    <a:pt x="874" y="1271"/>
                  </a:lnTo>
                  <a:lnTo>
                    <a:pt x="872" y="1283"/>
                  </a:lnTo>
                  <a:lnTo>
                    <a:pt x="864" y="1307"/>
                  </a:lnTo>
                  <a:lnTo>
                    <a:pt x="852" y="1331"/>
                  </a:lnTo>
                  <a:lnTo>
                    <a:pt x="836" y="1350"/>
                  </a:lnTo>
                  <a:lnTo>
                    <a:pt x="836" y="1418"/>
                  </a:lnTo>
                  <a:lnTo>
                    <a:pt x="813" y="1441"/>
                  </a:lnTo>
                  <a:lnTo>
                    <a:pt x="785" y="1412"/>
                  </a:lnTo>
                  <a:lnTo>
                    <a:pt x="782" y="1430"/>
                  </a:lnTo>
                  <a:lnTo>
                    <a:pt x="778" y="1450"/>
                  </a:lnTo>
                  <a:lnTo>
                    <a:pt x="774" y="1460"/>
                  </a:lnTo>
                  <a:lnTo>
                    <a:pt x="769" y="1467"/>
                  </a:lnTo>
                  <a:lnTo>
                    <a:pt x="762" y="1473"/>
                  </a:lnTo>
                  <a:lnTo>
                    <a:pt x="751" y="1475"/>
                  </a:lnTo>
                  <a:lnTo>
                    <a:pt x="745" y="1373"/>
                  </a:lnTo>
                  <a:lnTo>
                    <a:pt x="738" y="1374"/>
                  </a:lnTo>
                  <a:lnTo>
                    <a:pt x="731" y="1377"/>
                  </a:lnTo>
                  <a:lnTo>
                    <a:pt x="716" y="1387"/>
                  </a:lnTo>
                  <a:lnTo>
                    <a:pt x="693" y="1412"/>
                  </a:lnTo>
                  <a:lnTo>
                    <a:pt x="670" y="1412"/>
                  </a:lnTo>
                  <a:lnTo>
                    <a:pt x="651" y="1394"/>
                  </a:lnTo>
                  <a:lnTo>
                    <a:pt x="644" y="1384"/>
                  </a:lnTo>
                  <a:lnTo>
                    <a:pt x="642" y="1379"/>
                  </a:lnTo>
                  <a:lnTo>
                    <a:pt x="642" y="1373"/>
                  </a:lnTo>
                  <a:lnTo>
                    <a:pt x="640" y="1383"/>
                  </a:lnTo>
                  <a:lnTo>
                    <a:pt x="642" y="1387"/>
                  </a:lnTo>
                  <a:lnTo>
                    <a:pt x="647" y="1390"/>
                  </a:lnTo>
                  <a:lnTo>
                    <a:pt x="659" y="1390"/>
                  </a:lnTo>
                  <a:lnTo>
                    <a:pt x="688" y="1361"/>
                  </a:lnTo>
                  <a:lnTo>
                    <a:pt x="696" y="1345"/>
                  </a:lnTo>
                  <a:lnTo>
                    <a:pt x="708" y="1326"/>
                  </a:lnTo>
                  <a:lnTo>
                    <a:pt x="736" y="1286"/>
                  </a:lnTo>
                  <a:lnTo>
                    <a:pt x="750" y="1265"/>
                  </a:lnTo>
                  <a:lnTo>
                    <a:pt x="762" y="1244"/>
                  </a:lnTo>
                  <a:lnTo>
                    <a:pt x="770" y="1225"/>
                  </a:lnTo>
                  <a:lnTo>
                    <a:pt x="772" y="1216"/>
                  </a:lnTo>
                  <a:lnTo>
                    <a:pt x="773" y="1206"/>
                  </a:lnTo>
                  <a:lnTo>
                    <a:pt x="741" y="1178"/>
                  </a:lnTo>
                  <a:lnTo>
                    <a:pt x="707" y="1150"/>
                  </a:lnTo>
                  <a:lnTo>
                    <a:pt x="673" y="1122"/>
                  </a:lnTo>
                  <a:lnTo>
                    <a:pt x="642" y="1093"/>
                  </a:lnTo>
                  <a:lnTo>
                    <a:pt x="622" y="1090"/>
                  </a:lnTo>
                  <a:lnTo>
                    <a:pt x="611" y="1087"/>
                  </a:lnTo>
                  <a:lnTo>
                    <a:pt x="602" y="1086"/>
                  </a:lnTo>
                  <a:lnTo>
                    <a:pt x="593" y="1075"/>
                  </a:lnTo>
                  <a:lnTo>
                    <a:pt x="591" y="1067"/>
                  </a:lnTo>
                  <a:lnTo>
                    <a:pt x="590" y="1059"/>
                  </a:lnTo>
                  <a:lnTo>
                    <a:pt x="670" y="978"/>
                  </a:lnTo>
                  <a:lnTo>
                    <a:pt x="670" y="944"/>
                  </a:lnTo>
                  <a:lnTo>
                    <a:pt x="655" y="939"/>
                  </a:lnTo>
                  <a:lnTo>
                    <a:pt x="639" y="932"/>
                  </a:lnTo>
                  <a:lnTo>
                    <a:pt x="622" y="922"/>
                  </a:lnTo>
                  <a:lnTo>
                    <a:pt x="608" y="909"/>
                  </a:lnTo>
                  <a:lnTo>
                    <a:pt x="605" y="896"/>
                  </a:lnTo>
                  <a:lnTo>
                    <a:pt x="599" y="881"/>
                  </a:lnTo>
                  <a:lnTo>
                    <a:pt x="590" y="866"/>
                  </a:lnTo>
                  <a:lnTo>
                    <a:pt x="585" y="853"/>
                  </a:lnTo>
                  <a:lnTo>
                    <a:pt x="557" y="822"/>
                  </a:lnTo>
                  <a:lnTo>
                    <a:pt x="519" y="781"/>
                  </a:lnTo>
                  <a:lnTo>
                    <a:pt x="486" y="745"/>
                  </a:lnTo>
                  <a:lnTo>
                    <a:pt x="478" y="734"/>
                  </a:lnTo>
                  <a:lnTo>
                    <a:pt x="476" y="731"/>
                  </a:lnTo>
                  <a:lnTo>
                    <a:pt x="476" y="728"/>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57" name="Freeform 68"/>
            <p:cNvSpPr>
              <a:spLocks/>
            </p:cNvSpPr>
            <p:nvPr/>
          </p:nvSpPr>
          <p:spPr bwMode="auto">
            <a:xfrm>
              <a:off x="367" y="307"/>
              <a:ext cx="65" cy="43"/>
            </a:xfrm>
            <a:custGeom>
              <a:avLst/>
              <a:gdLst/>
              <a:ahLst/>
              <a:cxnLst>
                <a:cxn ang="0">
                  <a:pos x="1070" y="47"/>
                </a:cxn>
                <a:cxn ang="0">
                  <a:pos x="1074" y="113"/>
                </a:cxn>
                <a:cxn ang="0">
                  <a:pos x="1054" y="196"/>
                </a:cxn>
                <a:cxn ang="0">
                  <a:pos x="945" y="273"/>
                </a:cxn>
                <a:cxn ang="0">
                  <a:pos x="855" y="369"/>
                </a:cxn>
                <a:cxn ang="0">
                  <a:pos x="877" y="441"/>
                </a:cxn>
                <a:cxn ang="0">
                  <a:pos x="882" y="470"/>
                </a:cxn>
                <a:cxn ang="0">
                  <a:pos x="879" y="533"/>
                </a:cxn>
                <a:cxn ang="0">
                  <a:pos x="851" y="553"/>
                </a:cxn>
                <a:cxn ang="0">
                  <a:pos x="837" y="495"/>
                </a:cxn>
                <a:cxn ang="0">
                  <a:pos x="797" y="432"/>
                </a:cxn>
                <a:cxn ang="0">
                  <a:pos x="712" y="415"/>
                </a:cxn>
                <a:cxn ang="0">
                  <a:pos x="682" y="480"/>
                </a:cxn>
                <a:cxn ang="0">
                  <a:pos x="678" y="527"/>
                </a:cxn>
                <a:cxn ang="0">
                  <a:pos x="756" y="530"/>
                </a:cxn>
                <a:cxn ang="0">
                  <a:pos x="783" y="572"/>
                </a:cxn>
                <a:cxn ang="0">
                  <a:pos x="757" y="626"/>
                </a:cxn>
                <a:cxn ang="0">
                  <a:pos x="762" y="641"/>
                </a:cxn>
                <a:cxn ang="0">
                  <a:pos x="726" y="703"/>
                </a:cxn>
                <a:cxn ang="0">
                  <a:pos x="717" y="690"/>
                </a:cxn>
                <a:cxn ang="0">
                  <a:pos x="680" y="711"/>
                </a:cxn>
                <a:cxn ang="0">
                  <a:pos x="622" y="716"/>
                </a:cxn>
                <a:cxn ang="0">
                  <a:pos x="572" y="720"/>
                </a:cxn>
                <a:cxn ang="0">
                  <a:pos x="531" y="675"/>
                </a:cxn>
                <a:cxn ang="0">
                  <a:pos x="466" y="636"/>
                </a:cxn>
                <a:cxn ang="0">
                  <a:pos x="431" y="614"/>
                </a:cxn>
                <a:cxn ang="0">
                  <a:pos x="415" y="630"/>
                </a:cxn>
                <a:cxn ang="0">
                  <a:pos x="371" y="602"/>
                </a:cxn>
                <a:cxn ang="0">
                  <a:pos x="312" y="585"/>
                </a:cxn>
                <a:cxn ang="0">
                  <a:pos x="305" y="474"/>
                </a:cxn>
                <a:cxn ang="0">
                  <a:pos x="271" y="399"/>
                </a:cxn>
                <a:cxn ang="0">
                  <a:pos x="196" y="411"/>
                </a:cxn>
                <a:cxn ang="0">
                  <a:pos x="211" y="438"/>
                </a:cxn>
                <a:cxn ang="0">
                  <a:pos x="206" y="472"/>
                </a:cxn>
                <a:cxn ang="0">
                  <a:pos x="164" y="533"/>
                </a:cxn>
                <a:cxn ang="0">
                  <a:pos x="53" y="595"/>
                </a:cxn>
                <a:cxn ang="0">
                  <a:pos x="0" y="657"/>
                </a:cxn>
                <a:cxn ang="0">
                  <a:pos x="42" y="533"/>
                </a:cxn>
                <a:cxn ang="0">
                  <a:pos x="105" y="412"/>
                </a:cxn>
                <a:cxn ang="0">
                  <a:pos x="167" y="278"/>
                </a:cxn>
                <a:cxn ang="0">
                  <a:pos x="238" y="180"/>
                </a:cxn>
                <a:cxn ang="0">
                  <a:pos x="265" y="194"/>
                </a:cxn>
                <a:cxn ang="0">
                  <a:pos x="348" y="162"/>
                </a:cxn>
                <a:cxn ang="0">
                  <a:pos x="374" y="73"/>
                </a:cxn>
                <a:cxn ang="0">
                  <a:pos x="410" y="76"/>
                </a:cxn>
                <a:cxn ang="0">
                  <a:pos x="450" y="72"/>
                </a:cxn>
                <a:cxn ang="0">
                  <a:pos x="522" y="51"/>
                </a:cxn>
                <a:cxn ang="0">
                  <a:pos x="621" y="71"/>
                </a:cxn>
                <a:cxn ang="0">
                  <a:pos x="653" y="115"/>
                </a:cxn>
                <a:cxn ang="0">
                  <a:pos x="739" y="152"/>
                </a:cxn>
                <a:cxn ang="0">
                  <a:pos x="757" y="135"/>
                </a:cxn>
                <a:cxn ang="0">
                  <a:pos x="838" y="128"/>
                </a:cxn>
                <a:cxn ang="0">
                  <a:pos x="916" y="75"/>
                </a:cxn>
                <a:cxn ang="0">
                  <a:pos x="964" y="38"/>
                </a:cxn>
                <a:cxn ang="0">
                  <a:pos x="1035" y="26"/>
                </a:cxn>
                <a:cxn ang="0">
                  <a:pos x="1103" y="2"/>
                </a:cxn>
              </a:cxnLst>
              <a:rect l="0" t="0" r="r" b="b"/>
              <a:pathLst>
                <a:path w="1103" h="729">
                  <a:moveTo>
                    <a:pt x="1103" y="2"/>
                  </a:moveTo>
                  <a:lnTo>
                    <a:pt x="1097" y="11"/>
                  </a:lnTo>
                  <a:lnTo>
                    <a:pt x="1090" y="18"/>
                  </a:lnTo>
                  <a:lnTo>
                    <a:pt x="1076" y="31"/>
                  </a:lnTo>
                  <a:lnTo>
                    <a:pt x="1071" y="38"/>
                  </a:lnTo>
                  <a:lnTo>
                    <a:pt x="1070" y="47"/>
                  </a:lnTo>
                  <a:lnTo>
                    <a:pt x="1072" y="56"/>
                  </a:lnTo>
                  <a:lnTo>
                    <a:pt x="1079" y="68"/>
                  </a:lnTo>
                  <a:lnTo>
                    <a:pt x="1076" y="89"/>
                  </a:lnTo>
                  <a:lnTo>
                    <a:pt x="1075" y="101"/>
                  </a:lnTo>
                  <a:lnTo>
                    <a:pt x="1077" y="110"/>
                  </a:lnTo>
                  <a:lnTo>
                    <a:pt x="1074" y="113"/>
                  </a:lnTo>
                  <a:lnTo>
                    <a:pt x="1070" y="113"/>
                  </a:lnTo>
                  <a:lnTo>
                    <a:pt x="1065" y="113"/>
                  </a:lnTo>
                  <a:lnTo>
                    <a:pt x="1061" y="115"/>
                  </a:lnTo>
                  <a:lnTo>
                    <a:pt x="1054" y="174"/>
                  </a:lnTo>
                  <a:lnTo>
                    <a:pt x="1074" y="177"/>
                  </a:lnTo>
                  <a:lnTo>
                    <a:pt x="1054" y="196"/>
                  </a:lnTo>
                  <a:lnTo>
                    <a:pt x="1024" y="211"/>
                  </a:lnTo>
                  <a:lnTo>
                    <a:pt x="995" y="227"/>
                  </a:lnTo>
                  <a:lnTo>
                    <a:pt x="981" y="236"/>
                  </a:lnTo>
                  <a:lnTo>
                    <a:pt x="968" y="247"/>
                  </a:lnTo>
                  <a:lnTo>
                    <a:pt x="956" y="259"/>
                  </a:lnTo>
                  <a:lnTo>
                    <a:pt x="945" y="273"/>
                  </a:lnTo>
                  <a:lnTo>
                    <a:pt x="890" y="290"/>
                  </a:lnTo>
                  <a:lnTo>
                    <a:pt x="875" y="305"/>
                  </a:lnTo>
                  <a:lnTo>
                    <a:pt x="862" y="320"/>
                  </a:lnTo>
                  <a:lnTo>
                    <a:pt x="862" y="335"/>
                  </a:lnTo>
                  <a:lnTo>
                    <a:pt x="860" y="351"/>
                  </a:lnTo>
                  <a:lnTo>
                    <a:pt x="855" y="369"/>
                  </a:lnTo>
                  <a:lnTo>
                    <a:pt x="848" y="385"/>
                  </a:lnTo>
                  <a:lnTo>
                    <a:pt x="849" y="396"/>
                  </a:lnTo>
                  <a:lnTo>
                    <a:pt x="853" y="407"/>
                  </a:lnTo>
                  <a:lnTo>
                    <a:pt x="857" y="416"/>
                  </a:lnTo>
                  <a:lnTo>
                    <a:pt x="863" y="425"/>
                  </a:lnTo>
                  <a:lnTo>
                    <a:pt x="877" y="441"/>
                  </a:lnTo>
                  <a:lnTo>
                    <a:pt x="890" y="458"/>
                  </a:lnTo>
                  <a:lnTo>
                    <a:pt x="891" y="468"/>
                  </a:lnTo>
                  <a:lnTo>
                    <a:pt x="894" y="478"/>
                  </a:lnTo>
                  <a:lnTo>
                    <a:pt x="889" y="472"/>
                  </a:lnTo>
                  <a:lnTo>
                    <a:pt x="885" y="469"/>
                  </a:lnTo>
                  <a:lnTo>
                    <a:pt x="882" y="470"/>
                  </a:lnTo>
                  <a:lnTo>
                    <a:pt x="880" y="474"/>
                  </a:lnTo>
                  <a:lnTo>
                    <a:pt x="878" y="488"/>
                  </a:lnTo>
                  <a:lnTo>
                    <a:pt x="877" y="505"/>
                  </a:lnTo>
                  <a:lnTo>
                    <a:pt x="878" y="534"/>
                  </a:lnTo>
                  <a:lnTo>
                    <a:pt x="878" y="521"/>
                  </a:lnTo>
                  <a:lnTo>
                    <a:pt x="879" y="533"/>
                  </a:lnTo>
                  <a:lnTo>
                    <a:pt x="881" y="539"/>
                  </a:lnTo>
                  <a:lnTo>
                    <a:pt x="884" y="542"/>
                  </a:lnTo>
                  <a:lnTo>
                    <a:pt x="885" y="544"/>
                  </a:lnTo>
                  <a:lnTo>
                    <a:pt x="881" y="545"/>
                  </a:lnTo>
                  <a:lnTo>
                    <a:pt x="859" y="555"/>
                  </a:lnTo>
                  <a:lnTo>
                    <a:pt x="851" y="553"/>
                  </a:lnTo>
                  <a:lnTo>
                    <a:pt x="842" y="547"/>
                  </a:lnTo>
                  <a:lnTo>
                    <a:pt x="835" y="538"/>
                  </a:lnTo>
                  <a:lnTo>
                    <a:pt x="830" y="528"/>
                  </a:lnTo>
                  <a:lnTo>
                    <a:pt x="842" y="502"/>
                  </a:lnTo>
                  <a:lnTo>
                    <a:pt x="840" y="498"/>
                  </a:lnTo>
                  <a:lnTo>
                    <a:pt x="837" y="495"/>
                  </a:lnTo>
                  <a:lnTo>
                    <a:pt x="830" y="490"/>
                  </a:lnTo>
                  <a:lnTo>
                    <a:pt x="820" y="486"/>
                  </a:lnTo>
                  <a:lnTo>
                    <a:pt x="812" y="478"/>
                  </a:lnTo>
                  <a:lnTo>
                    <a:pt x="811" y="445"/>
                  </a:lnTo>
                  <a:lnTo>
                    <a:pt x="804" y="436"/>
                  </a:lnTo>
                  <a:lnTo>
                    <a:pt x="797" y="432"/>
                  </a:lnTo>
                  <a:lnTo>
                    <a:pt x="788" y="429"/>
                  </a:lnTo>
                  <a:lnTo>
                    <a:pt x="778" y="427"/>
                  </a:lnTo>
                  <a:lnTo>
                    <a:pt x="757" y="424"/>
                  </a:lnTo>
                  <a:lnTo>
                    <a:pt x="748" y="420"/>
                  </a:lnTo>
                  <a:lnTo>
                    <a:pt x="739" y="415"/>
                  </a:lnTo>
                  <a:lnTo>
                    <a:pt x="712" y="415"/>
                  </a:lnTo>
                  <a:lnTo>
                    <a:pt x="707" y="417"/>
                  </a:lnTo>
                  <a:lnTo>
                    <a:pt x="702" y="422"/>
                  </a:lnTo>
                  <a:lnTo>
                    <a:pt x="696" y="437"/>
                  </a:lnTo>
                  <a:lnTo>
                    <a:pt x="686" y="466"/>
                  </a:lnTo>
                  <a:lnTo>
                    <a:pt x="682" y="475"/>
                  </a:lnTo>
                  <a:lnTo>
                    <a:pt x="682" y="480"/>
                  </a:lnTo>
                  <a:lnTo>
                    <a:pt x="685" y="484"/>
                  </a:lnTo>
                  <a:lnTo>
                    <a:pt x="680" y="488"/>
                  </a:lnTo>
                  <a:lnTo>
                    <a:pt x="661" y="510"/>
                  </a:lnTo>
                  <a:lnTo>
                    <a:pt x="663" y="518"/>
                  </a:lnTo>
                  <a:lnTo>
                    <a:pt x="670" y="524"/>
                  </a:lnTo>
                  <a:lnTo>
                    <a:pt x="678" y="527"/>
                  </a:lnTo>
                  <a:lnTo>
                    <a:pt x="690" y="528"/>
                  </a:lnTo>
                  <a:lnTo>
                    <a:pt x="711" y="528"/>
                  </a:lnTo>
                  <a:lnTo>
                    <a:pt x="727" y="528"/>
                  </a:lnTo>
                  <a:lnTo>
                    <a:pt x="751" y="518"/>
                  </a:lnTo>
                  <a:lnTo>
                    <a:pt x="752" y="526"/>
                  </a:lnTo>
                  <a:lnTo>
                    <a:pt x="756" y="530"/>
                  </a:lnTo>
                  <a:lnTo>
                    <a:pt x="761" y="534"/>
                  </a:lnTo>
                  <a:lnTo>
                    <a:pt x="768" y="536"/>
                  </a:lnTo>
                  <a:lnTo>
                    <a:pt x="777" y="552"/>
                  </a:lnTo>
                  <a:lnTo>
                    <a:pt x="786" y="564"/>
                  </a:lnTo>
                  <a:lnTo>
                    <a:pt x="791" y="569"/>
                  </a:lnTo>
                  <a:lnTo>
                    <a:pt x="783" y="572"/>
                  </a:lnTo>
                  <a:lnTo>
                    <a:pt x="778" y="577"/>
                  </a:lnTo>
                  <a:lnTo>
                    <a:pt x="771" y="591"/>
                  </a:lnTo>
                  <a:lnTo>
                    <a:pt x="764" y="608"/>
                  </a:lnTo>
                  <a:lnTo>
                    <a:pt x="760" y="615"/>
                  </a:lnTo>
                  <a:lnTo>
                    <a:pt x="755" y="622"/>
                  </a:lnTo>
                  <a:lnTo>
                    <a:pt x="757" y="626"/>
                  </a:lnTo>
                  <a:lnTo>
                    <a:pt x="762" y="626"/>
                  </a:lnTo>
                  <a:lnTo>
                    <a:pt x="769" y="626"/>
                  </a:lnTo>
                  <a:lnTo>
                    <a:pt x="775" y="627"/>
                  </a:lnTo>
                  <a:lnTo>
                    <a:pt x="773" y="632"/>
                  </a:lnTo>
                  <a:lnTo>
                    <a:pt x="770" y="636"/>
                  </a:lnTo>
                  <a:lnTo>
                    <a:pt x="762" y="641"/>
                  </a:lnTo>
                  <a:lnTo>
                    <a:pt x="754" y="647"/>
                  </a:lnTo>
                  <a:lnTo>
                    <a:pt x="747" y="653"/>
                  </a:lnTo>
                  <a:lnTo>
                    <a:pt x="739" y="686"/>
                  </a:lnTo>
                  <a:lnTo>
                    <a:pt x="735" y="691"/>
                  </a:lnTo>
                  <a:lnTo>
                    <a:pt x="730" y="696"/>
                  </a:lnTo>
                  <a:lnTo>
                    <a:pt x="726" y="703"/>
                  </a:lnTo>
                  <a:lnTo>
                    <a:pt x="727" y="711"/>
                  </a:lnTo>
                  <a:lnTo>
                    <a:pt x="722" y="708"/>
                  </a:lnTo>
                  <a:lnTo>
                    <a:pt x="722" y="704"/>
                  </a:lnTo>
                  <a:lnTo>
                    <a:pt x="723" y="697"/>
                  </a:lnTo>
                  <a:lnTo>
                    <a:pt x="722" y="691"/>
                  </a:lnTo>
                  <a:lnTo>
                    <a:pt x="717" y="690"/>
                  </a:lnTo>
                  <a:lnTo>
                    <a:pt x="714" y="692"/>
                  </a:lnTo>
                  <a:lnTo>
                    <a:pt x="707" y="699"/>
                  </a:lnTo>
                  <a:lnTo>
                    <a:pt x="699" y="707"/>
                  </a:lnTo>
                  <a:lnTo>
                    <a:pt x="695" y="710"/>
                  </a:lnTo>
                  <a:lnTo>
                    <a:pt x="690" y="711"/>
                  </a:lnTo>
                  <a:lnTo>
                    <a:pt x="680" y="711"/>
                  </a:lnTo>
                  <a:lnTo>
                    <a:pt x="672" y="710"/>
                  </a:lnTo>
                  <a:lnTo>
                    <a:pt x="656" y="705"/>
                  </a:lnTo>
                  <a:lnTo>
                    <a:pt x="649" y="704"/>
                  </a:lnTo>
                  <a:lnTo>
                    <a:pt x="640" y="705"/>
                  </a:lnTo>
                  <a:lnTo>
                    <a:pt x="632" y="709"/>
                  </a:lnTo>
                  <a:lnTo>
                    <a:pt x="622" y="716"/>
                  </a:lnTo>
                  <a:lnTo>
                    <a:pt x="604" y="719"/>
                  </a:lnTo>
                  <a:lnTo>
                    <a:pt x="592" y="724"/>
                  </a:lnTo>
                  <a:lnTo>
                    <a:pt x="588" y="727"/>
                  </a:lnTo>
                  <a:lnTo>
                    <a:pt x="587" y="729"/>
                  </a:lnTo>
                  <a:lnTo>
                    <a:pt x="578" y="726"/>
                  </a:lnTo>
                  <a:lnTo>
                    <a:pt x="572" y="720"/>
                  </a:lnTo>
                  <a:lnTo>
                    <a:pt x="567" y="713"/>
                  </a:lnTo>
                  <a:lnTo>
                    <a:pt x="562" y="704"/>
                  </a:lnTo>
                  <a:lnTo>
                    <a:pt x="558" y="694"/>
                  </a:lnTo>
                  <a:lnTo>
                    <a:pt x="551" y="687"/>
                  </a:lnTo>
                  <a:lnTo>
                    <a:pt x="541" y="680"/>
                  </a:lnTo>
                  <a:lnTo>
                    <a:pt x="531" y="675"/>
                  </a:lnTo>
                  <a:lnTo>
                    <a:pt x="508" y="668"/>
                  </a:lnTo>
                  <a:lnTo>
                    <a:pt x="486" y="659"/>
                  </a:lnTo>
                  <a:lnTo>
                    <a:pt x="484" y="651"/>
                  </a:lnTo>
                  <a:lnTo>
                    <a:pt x="479" y="645"/>
                  </a:lnTo>
                  <a:lnTo>
                    <a:pt x="473" y="639"/>
                  </a:lnTo>
                  <a:lnTo>
                    <a:pt x="466" y="636"/>
                  </a:lnTo>
                  <a:lnTo>
                    <a:pt x="449" y="633"/>
                  </a:lnTo>
                  <a:lnTo>
                    <a:pt x="435" y="634"/>
                  </a:lnTo>
                  <a:lnTo>
                    <a:pt x="455" y="622"/>
                  </a:lnTo>
                  <a:lnTo>
                    <a:pt x="450" y="619"/>
                  </a:lnTo>
                  <a:lnTo>
                    <a:pt x="445" y="617"/>
                  </a:lnTo>
                  <a:lnTo>
                    <a:pt x="431" y="614"/>
                  </a:lnTo>
                  <a:lnTo>
                    <a:pt x="417" y="615"/>
                  </a:lnTo>
                  <a:lnTo>
                    <a:pt x="404" y="617"/>
                  </a:lnTo>
                  <a:lnTo>
                    <a:pt x="403" y="621"/>
                  </a:lnTo>
                  <a:lnTo>
                    <a:pt x="404" y="625"/>
                  </a:lnTo>
                  <a:lnTo>
                    <a:pt x="409" y="628"/>
                  </a:lnTo>
                  <a:lnTo>
                    <a:pt x="415" y="630"/>
                  </a:lnTo>
                  <a:lnTo>
                    <a:pt x="418" y="632"/>
                  </a:lnTo>
                  <a:lnTo>
                    <a:pt x="419" y="634"/>
                  </a:lnTo>
                  <a:lnTo>
                    <a:pt x="391" y="624"/>
                  </a:lnTo>
                  <a:lnTo>
                    <a:pt x="385" y="617"/>
                  </a:lnTo>
                  <a:lnTo>
                    <a:pt x="377" y="611"/>
                  </a:lnTo>
                  <a:lnTo>
                    <a:pt x="371" y="602"/>
                  </a:lnTo>
                  <a:lnTo>
                    <a:pt x="365" y="591"/>
                  </a:lnTo>
                  <a:lnTo>
                    <a:pt x="359" y="588"/>
                  </a:lnTo>
                  <a:lnTo>
                    <a:pt x="354" y="586"/>
                  </a:lnTo>
                  <a:lnTo>
                    <a:pt x="340" y="585"/>
                  </a:lnTo>
                  <a:lnTo>
                    <a:pt x="326" y="586"/>
                  </a:lnTo>
                  <a:lnTo>
                    <a:pt x="312" y="585"/>
                  </a:lnTo>
                  <a:lnTo>
                    <a:pt x="311" y="584"/>
                  </a:lnTo>
                  <a:lnTo>
                    <a:pt x="310" y="579"/>
                  </a:lnTo>
                  <a:lnTo>
                    <a:pt x="310" y="566"/>
                  </a:lnTo>
                  <a:lnTo>
                    <a:pt x="311" y="547"/>
                  </a:lnTo>
                  <a:lnTo>
                    <a:pt x="300" y="478"/>
                  </a:lnTo>
                  <a:lnTo>
                    <a:pt x="305" y="474"/>
                  </a:lnTo>
                  <a:lnTo>
                    <a:pt x="312" y="470"/>
                  </a:lnTo>
                  <a:lnTo>
                    <a:pt x="292" y="415"/>
                  </a:lnTo>
                  <a:lnTo>
                    <a:pt x="290" y="413"/>
                  </a:lnTo>
                  <a:lnTo>
                    <a:pt x="286" y="411"/>
                  </a:lnTo>
                  <a:lnTo>
                    <a:pt x="276" y="407"/>
                  </a:lnTo>
                  <a:lnTo>
                    <a:pt x="271" y="399"/>
                  </a:lnTo>
                  <a:lnTo>
                    <a:pt x="264" y="393"/>
                  </a:lnTo>
                  <a:lnTo>
                    <a:pt x="245" y="379"/>
                  </a:lnTo>
                  <a:lnTo>
                    <a:pt x="233" y="387"/>
                  </a:lnTo>
                  <a:lnTo>
                    <a:pt x="221" y="396"/>
                  </a:lnTo>
                  <a:lnTo>
                    <a:pt x="207" y="406"/>
                  </a:lnTo>
                  <a:lnTo>
                    <a:pt x="196" y="411"/>
                  </a:lnTo>
                  <a:lnTo>
                    <a:pt x="194" y="415"/>
                  </a:lnTo>
                  <a:lnTo>
                    <a:pt x="195" y="418"/>
                  </a:lnTo>
                  <a:lnTo>
                    <a:pt x="201" y="425"/>
                  </a:lnTo>
                  <a:lnTo>
                    <a:pt x="207" y="431"/>
                  </a:lnTo>
                  <a:lnTo>
                    <a:pt x="210" y="434"/>
                  </a:lnTo>
                  <a:lnTo>
                    <a:pt x="211" y="438"/>
                  </a:lnTo>
                  <a:lnTo>
                    <a:pt x="210" y="445"/>
                  </a:lnTo>
                  <a:lnTo>
                    <a:pt x="207" y="449"/>
                  </a:lnTo>
                  <a:lnTo>
                    <a:pt x="204" y="453"/>
                  </a:lnTo>
                  <a:lnTo>
                    <a:pt x="201" y="458"/>
                  </a:lnTo>
                  <a:lnTo>
                    <a:pt x="202" y="467"/>
                  </a:lnTo>
                  <a:lnTo>
                    <a:pt x="206" y="472"/>
                  </a:lnTo>
                  <a:lnTo>
                    <a:pt x="211" y="474"/>
                  </a:lnTo>
                  <a:lnTo>
                    <a:pt x="219" y="476"/>
                  </a:lnTo>
                  <a:lnTo>
                    <a:pt x="213" y="482"/>
                  </a:lnTo>
                  <a:lnTo>
                    <a:pt x="207" y="491"/>
                  </a:lnTo>
                  <a:lnTo>
                    <a:pt x="181" y="511"/>
                  </a:lnTo>
                  <a:lnTo>
                    <a:pt x="164" y="533"/>
                  </a:lnTo>
                  <a:lnTo>
                    <a:pt x="153" y="540"/>
                  </a:lnTo>
                  <a:lnTo>
                    <a:pt x="136" y="549"/>
                  </a:lnTo>
                  <a:lnTo>
                    <a:pt x="120" y="558"/>
                  </a:lnTo>
                  <a:lnTo>
                    <a:pt x="113" y="564"/>
                  </a:lnTo>
                  <a:lnTo>
                    <a:pt x="111" y="569"/>
                  </a:lnTo>
                  <a:lnTo>
                    <a:pt x="53" y="595"/>
                  </a:lnTo>
                  <a:lnTo>
                    <a:pt x="47" y="606"/>
                  </a:lnTo>
                  <a:lnTo>
                    <a:pt x="36" y="629"/>
                  </a:lnTo>
                  <a:lnTo>
                    <a:pt x="24" y="653"/>
                  </a:lnTo>
                  <a:lnTo>
                    <a:pt x="20" y="661"/>
                  </a:lnTo>
                  <a:lnTo>
                    <a:pt x="16" y="665"/>
                  </a:lnTo>
                  <a:lnTo>
                    <a:pt x="0" y="657"/>
                  </a:lnTo>
                  <a:lnTo>
                    <a:pt x="2" y="640"/>
                  </a:lnTo>
                  <a:lnTo>
                    <a:pt x="8" y="622"/>
                  </a:lnTo>
                  <a:lnTo>
                    <a:pt x="16" y="602"/>
                  </a:lnTo>
                  <a:lnTo>
                    <a:pt x="24" y="579"/>
                  </a:lnTo>
                  <a:lnTo>
                    <a:pt x="30" y="558"/>
                  </a:lnTo>
                  <a:lnTo>
                    <a:pt x="42" y="533"/>
                  </a:lnTo>
                  <a:lnTo>
                    <a:pt x="60" y="506"/>
                  </a:lnTo>
                  <a:lnTo>
                    <a:pt x="83" y="476"/>
                  </a:lnTo>
                  <a:lnTo>
                    <a:pt x="109" y="440"/>
                  </a:lnTo>
                  <a:lnTo>
                    <a:pt x="110" y="432"/>
                  </a:lnTo>
                  <a:lnTo>
                    <a:pt x="108" y="422"/>
                  </a:lnTo>
                  <a:lnTo>
                    <a:pt x="105" y="412"/>
                  </a:lnTo>
                  <a:lnTo>
                    <a:pt x="104" y="401"/>
                  </a:lnTo>
                  <a:lnTo>
                    <a:pt x="140" y="357"/>
                  </a:lnTo>
                  <a:lnTo>
                    <a:pt x="141" y="308"/>
                  </a:lnTo>
                  <a:lnTo>
                    <a:pt x="152" y="297"/>
                  </a:lnTo>
                  <a:lnTo>
                    <a:pt x="163" y="285"/>
                  </a:lnTo>
                  <a:lnTo>
                    <a:pt x="167" y="278"/>
                  </a:lnTo>
                  <a:lnTo>
                    <a:pt x="171" y="270"/>
                  </a:lnTo>
                  <a:lnTo>
                    <a:pt x="173" y="261"/>
                  </a:lnTo>
                  <a:lnTo>
                    <a:pt x="174" y="251"/>
                  </a:lnTo>
                  <a:lnTo>
                    <a:pt x="216" y="191"/>
                  </a:lnTo>
                  <a:lnTo>
                    <a:pt x="226" y="187"/>
                  </a:lnTo>
                  <a:lnTo>
                    <a:pt x="238" y="180"/>
                  </a:lnTo>
                  <a:lnTo>
                    <a:pt x="252" y="176"/>
                  </a:lnTo>
                  <a:lnTo>
                    <a:pt x="257" y="176"/>
                  </a:lnTo>
                  <a:lnTo>
                    <a:pt x="263" y="177"/>
                  </a:lnTo>
                  <a:lnTo>
                    <a:pt x="262" y="185"/>
                  </a:lnTo>
                  <a:lnTo>
                    <a:pt x="263" y="189"/>
                  </a:lnTo>
                  <a:lnTo>
                    <a:pt x="265" y="194"/>
                  </a:lnTo>
                  <a:lnTo>
                    <a:pt x="294" y="177"/>
                  </a:lnTo>
                  <a:lnTo>
                    <a:pt x="308" y="177"/>
                  </a:lnTo>
                  <a:lnTo>
                    <a:pt x="322" y="176"/>
                  </a:lnTo>
                  <a:lnTo>
                    <a:pt x="335" y="172"/>
                  </a:lnTo>
                  <a:lnTo>
                    <a:pt x="342" y="168"/>
                  </a:lnTo>
                  <a:lnTo>
                    <a:pt x="348" y="162"/>
                  </a:lnTo>
                  <a:lnTo>
                    <a:pt x="350" y="132"/>
                  </a:lnTo>
                  <a:lnTo>
                    <a:pt x="347" y="125"/>
                  </a:lnTo>
                  <a:lnTo>
                    <a:pt x="339" y="117"/>
                  </a:lnTo>
                  <a:lnTo>
                    <a:pt x="351" y="102"/>
                  </a:lnTo>
                  <a:lnTo>
                    <a:pt x="364" y="88"/>
                  </a:lnTo>
                  <a:lnTo>
                    <a:pt x="374" y="73"/>
                  </a:lnTo>
                  <a:lnTo>
                    <a:pt x="378" y="66"/>
                  </a:lnTo>
                  <a:lnTo>
                    <a:pt x="383" y="56"/>
                  </a:lnTo>
                  <a:lnTo>
                    <a:pt x="385" y="61"/>
                  </a:lnTo>
                  <a:lnTo>
                    <a:pt x="390" y="67"/>
                  </a:lnTo>
                  <a:lnTo>
                    <a:pt x="399" y="74"/>
                  </a:lnTo>
                  <a:lnTo>
                    <a:pt x="410" y="76"/>
                  </a:lnTo>
                  <a:lnTo>
                    <a:pt x="416" y="79"/>
                  </a:lnTo>
                  <a:lnTo>
                    <a:pt x="423" y="82"/>
                  </a:lnTo>
                  <a:lnTo>
                    <a:pt x="435" y="81"/>
                  </a:lnTo>
                  <a:lnTo>
                    <a:pt x="439" y="78"/>
                  </a:lnTo>
                  <a:lnTo>
                    <a:pt x="445" y="75"/>
                  </a:lnTo>
                  <a:lnTo>
                    <a:pt x="450" y="72"/>
                  </a:lnTo>
                  <a:lnTo>
                    <a:pt x="451" y="70"/>
                  </a:lnTo>
                  <a:lnTo>
                    <a:pt x="451" y="68"/>
                  </a:lnTo>
                  <a:lnTo>
                    <a:pt x="459" y="70"/>
                  </a:lnTo>
                  <a:lnTo>
                    <a:pt x="471" y="75"/>
                  </a:lnTo>
                  <a:lnTo>
                    <a:pt x="507" y="53"/>
                  </a:lnTo>
                  <a:lnTo>
                    <a:pt x="522" y="51"/>
                  </a:lnTo>
                  <a:lnTo>
                    <a:pt x="539" y="50"/>
                  </a:lnTo>
                  <a:lnTo>
                    <a:pt x="556" y="50"/>
                  </a:lnTo>
                  <a:lnTo>
                    <a:pt x="574" y="52"/>
                  </a:lnTo>
                  <a:lnTo>
                    <a:pt x="591" y="56"/>
                  </a:lnTo>
                  <a:lnTo>
                    <a:pt x="607" y="62"/>
                  </a:lnTo>
                  <a:lnTo>
                    <a:pt x="621" y="71"/>
                  </a:lnTo>
                  <a:lnTo>
                    <a:pt x="634" y="82"/>
                  </a:lnTo>
                  <a:lnTo>
                    <a:pt x="641" y="90"/>
                  </a:lnTo>
                  <a:lnTo>
                    <a:pt x="645" y="94"/>
                  </a:lnTo>
                  <a:lnTo>
                    <a:pt x="648" y="100"/>
                  </a:lnTo>
                  <a:lnTo>
                    <a:pt x="648" y="109"/>
                  </a:lnTo>
                  <a:lnTo>
                    <a:pt x="653" y="115"/>
                  </a:lnTo>
                  <a:lnTo>
                    <a:pt x="666" y="130"/>
                  </a:lnTo>
                  <a:lnTo>
                    <a:pt x="672" y="129"/>
                  </a:lnTo>
                  <a:lnTo>
                    <a:pt x="676" y="128"/>
                  </a:lnTo>
                  <a:lnTo>
                    <a:pt x="678" y="130"/>
                  </a:lnTo>
                  <a:lnTo>
                    <a:pt x="683" y="136"/>
                  </a:lnTo>
                  <a:lnTo>
                    <a:pt x="739" y="152"/>
                  </a:lnTo>
                  <a:lnTo>
                    <a:pt x="742" y="149"/>
                  </a:lnTo>
                  <a:lnTo>
                    <a:pt x="742" y="143"/>
                  </a:lnTo>
                  <a:lnTo>
                    <a:pt x="741" y="138"/>
                  </a:lnTo>
                  <a:lnTo>
                    <a:pt x="741" y="132"/>
                  </a:lnTo>
                  <a:lnTo>
                    <a:pt x="750" y="133"/>
                  </a:lnTo>
                  <a:lnTo>
                    <a:pt x="757" y="135"/>
                  </a:lnTo>
                  <a:lnTo>
                    <a:pt x="766" y="136"/>
                  </a:lnTo>
                  <a:lnTo>
                    <a:pt x="781" y="137"/>
                  </a:lnTo>
                  <a:lnTo>
                    <a:pt x="782" y="149"/>
                  </a:lnTo>
                  <a:lnTo>
                    <a:pt x="814" y="149"/>
                  </a:lnTo>
                  <a:lnTo>
                    <a:pt x="829" y="136"/>
                  </a:lnTo>
                  <a:lnTo>
                    <a:pt x="838" y="128"/>
                  </a:lnTo>
                  <a:lnTo>
                    <a:pt x="845" y="118"/>
                  </a:lnTo>
                  <a:lnTo>
                    <a:pt x="851" y="114"/>
                  </a:lnTo>
                  <a:lnTo>
                    <a:pt x="860" y="108"/>
                  </a:lnTo>
                  <a:lnTo>
                    <a:pt x="908" y="86"/>
                  </a:lnTo>
                  <a:lnTo>
                    <a:pt x="912" y="82"/>
                  </a:lnTo>
                  <a:lnTo>
                    <a:pt x="916" y="75"/>
                  </a:lnTo>
                  <a:lnTo>
                    <a:pt x="919" y="66"/>
                  </a:lnTo>
                  <a:lnTo>
                    <a:pt x="921" y="56"/>
                  </a:lnTo>
                  <a:lnTo>
                    <a:pt x="939" y="30"/>
                  </a:lnTo>
                  <a:lnTo>
                    <a:pt x="948" y="31"/>
                  </a:lnTo>
                  <a:lnTo>
                    <a:pt x="954" y="34"/>
                  </a:lnTo>
                  <a:lnTo>
                    <a:pt x="964" y="38"/>
                  </a:lnTo>
                  <a:lnTo>
                    <a:pt x="981" y="41"/>
                  </a:lnTo>
                  <a:lnTo>
                    <a:pt x="990" y="40"/>
                  </a:lnTo>
                  <a:lnTo>
                    <a:pt x="996" y="37"/>
                  </a:lnTo>
                  <a:lnTo>
                    <a:pt x="1003" y="32"/>
                  </a:lnTo>
                  <a:lnTo>
                    <a:pt x="1013" y="26"/>
                  </a:lnTo>
                  <a:lnTo>
                    <a:pt x="1035" y="26"/>
                  </a:lnTo>
                  <a:lnTo>
                    <a:pt x="1054" y="22"/>
                  </a:lnTo>
                  <a:lnTo>
                    <a:pt x="1070" y="17"/>
                  </a:lnTo>
                  <a:lnTo>
                    <a:pt x="1082" y="11"/>
                  </a:lnTo>
                  <a:lnTo>
                    <a:pt x="1098" y="1"/>
                  </a:lnTo>
                  <a:lnTo>
                    <a:pt x="1102" y="0"/>
                  </a:lnTo>
                  <a:lnTo>
                    <a:pt x="1103" y="2"/>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58" name="Freeform 69"/>
            <p:cNvSpPr>
              <a:spLocks/>
            </p:cNvSpPr>
            <p:nvPr/>
          </p:nvSpPr>
          <p:spPr bwMode="auto">
            <a:xfrm>
              <a:off x="432" y="308"/>
              <a:ext cx="0" cy="0"/>
            </a:xfrm>
            <a:custGeom>
              <a:avLst/>
              <a:gdLst/>
              <a:ahLst/>
              <a:cxnLst>
                <a:cxn ang="0">
                  <a:pos x="5" y="4"/>
                </a:cxn>
                <a:cxn ang="0">
                  <a:pos x="5" y="0"/>
                </a:cxn>
                <a:cxn ang="0">
                  <a:pos x="0" y="0"/>
                </a:cxn>
                <a:cxn ang="0">
                  <a:pos x="5" y="4"/>
                </a:cxn>
              </a:cxnLst>
              <a:rect l="0" t="0" r="r" b="b"/>
              <a:pathLst>
                <a:path w="5" h="4">
                  <a:moveTo>
                    <a:pt x="5" y="4"/>
                  </a:moveTo>
                  <a:lnTo>
                    <a:pt x="5" y="0"/>
                  </a:lnTo>
                  <a:lnTo>
                    <a:pt x="0" y="0"/>
                  </a:lnTo>
                  <a:lnTo>
                    <a:pt x="5" y="4"/>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59" name="Freeform 70"/>
            <p:cNvSpPr>
              <a:spLocks/>
            </p:cNvSpPr>
            <p:nvPr/>
          </p:nvSpPr>
          <p:spPr bwMode="auto">
            <a:xfrm>
              <a:off x="432" y="316"/>
              <a:ext cx="0" cy="1"/>
            </a:xfrm>
            <a:custGeom>
              <a:avLst/>
              <a:gdLst/>
              <a:ahLst/>
              <a:cxnLst>
                <a:cxn ang="0">
                  <a:pos x="2" y="2"/>
                </a:cxn>
                <a:cxn ang="0">
                  <a:pos x="2" y="1"/>
                </a:cxn>
                <a:cxn ang="0">
                  <a:pos x="0" y="0"/>
                </a:cxn>
                <a:cxn ang="0">
                  <a:pos x="2" y="2"/>
                </a:cxn>
              </a:cxnLst>
              <a:rect l="0" t="0" r="r" b="b"/>
              <a:pathLst>
                <a:path w="2" h="2">
                  <a:moveTo>
                    <a:pt x="2" y="2"/>
                  </a:moveTo>
                  <a:lnTo>
                    <a:pt x="2" y="1"/>
                  </a:lnTo>
                  <a:lnTo>
                    <a:pt x="0" y="0"/>
                  </a:lnTo>
                  <a:lnTo>
                    <a:pt x="2" y="2"/>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60" name="Freeform 71"/>
            <p:cNvSpPr>
              <a:spLocks/>
            </p:cNvSpPr>
            <p:nvPr/>
          </p:nvSpPr>
          <p:spPr bwMode="auto">
            <a:xfrm>
              <a:off x="415" y="375"/>
              <a:ext cx="70" cy="57"/>
            </a:xfrm>
            <a:custGeom>
              <a:avLst/>
              <a:gdLst/>
              <a:ahLst/>
              <a:cxnLst>
                <a:cxn ang="0">
                  <a:pos x="1047" y="83"/>
                </a:cxn>
                <a:cxn ang="0">
                  <a:pos x="1072" y="30"/>
                </a:cxn>
                <a:cxn ang="0">
                  <a:pos x="1084" y="35"/>
                </a:cxn>
                <a:cxn ang="0">
                  <a:pos x="1128" y="36"/>
                </a:cxn>
                <a:cxn ang="0">
                  <a:pos x="1144" y="138"/>
                </a:cxn>
                <a:cxn ang="0">
                  <a:pos x="1131" y="147"/>
                </a:cxn>
                <a:cxn ang="0">
                  <a:pos x="1143" y="187"/>
                </a:cxn>
                <a:cxn ang="0">
                  <a:pos x="1150" y="358"/>
                </a:cxn>
                <a:cxn ang="0">
                  <a:pos x="1189" y="402"/>
                </a:cxn>
                <a:cxn ang="0">
                  <a:pos x="1154" y="496"/>
                </a:cxn>
                <a:cxn ang="0">
                  <a:pos x="1134" y="628"/>
                </a:cxn>
                <a:cxn ang="0">
                  <a:pos x="1126" y="682"/>
                </a:cxn>
                <a:cxn ang="0">
                  <a:pos x="1136" y="702"/>
                </a:cxn>
                <a:cxn ang="0">
                  <a:pos x="1102" y="739"/>
                </a:cxn>
                <a:cxn ang="0">
                  <a:pos x="1056" y="795"/>
                </a:cxn>
                <a:cxn ang="0">
                  <a:pos x="997" y="847"/>
                </a:cxn>
                <a:cxn ang="0">
                  <a:pos x="908" y="890"/>
                </a:cxn>
                <a:cxn ang="0">
                  <a:pos x="845" y="910"/>
                </a:cxn>
                <a:cxn ang="0">
                  <a:pos x="793" y="959"/>
                </a:cxn>
                <a:cxn ang="0">
                  <a:pos x="765" y="957"/>
                </a:cxn>
                <a:cxn ang="0">
                  <a:pos x="729" y="895"/>
                </a:cxn>
                <a:cxn ang="0">
                  <a:pos x="703" y="874"/>
                </a:cxn>
                <a:cxn ang="0">
                  <a:pos x="644" y="833"/>
                </a:cxn>
                <a:cxn ang="0">
                  <a:pos x="554" y="705"/>
                </a:cxn>
                <a:cxn ang="0">
                  <a:pos x="522" y="591"/>
                </a:cxn>
                <a:cxn ang="0">
                  <a:pos x="485" y="522"/>
                </a:cxn>
                <a:cxn ang="0">
                  <a:pos x="449" y="487"/>
                </a:cxn>
                <a:cxn ang="0">
                  <a:pos x="370" y="466"/>
                </a:cxn>
                <a:cxn ang="0">
                  <a:pos x="296" y="455"/>
                </a:cxn>
                <a:cxn ang="0">
                  <a:pos x="255" y="463"/>
                </a:cxn>
                <a:cxn ang="0">
                  <a:pos x="192" y="489"/>
                </a:cxn>
                <a:cxn ang="0">
                  <a:pos x="119" y="473"/>
                </a:cxn>
                <a:cxn ang="0">
                  <a:pos x="28" y="396"/>
                </a:cxn>
                <a:cxn ang="0">
                  <a:pos x="0" y="334"/>
                </a:cxn>
                <a:cxn ang="0">
                  <a:pos x="2" y="227"/>
                </a:cxn>
                <a:cxn ang="0">
                  <a:pos x="28" y="181"/>
                </a:cxn>
                <a:cxn ang="0">
                  <a:pos x="122" y="99"/>
                </a:cxn>
                <a:cxn ang="0">
                  <a:pos x="128" y="68"/>
                </a:cxn>
                <a:cxn ang="0">
                  <a:pos x="183" y="84"/>
                </a:cxn>
                <a:cxn ang="0">
                  <a:pos x="220" y="73"/>
                </a:cxn>
                <a:cxn ang="0">
                  <a:pos x="259" y="66"/>
                </a:cxn>
                <a:cxn ang="0">
                  <a:pos x="293" y="49"/>
                </a:cxn>
                <a:cxn ang="0">
                  <a:pos x="327" y="22"/>
                </a:cxn>
                <a:cxn ang="0">
                  <a:pos x="376" y="4"/>
                </a:cxn>
                <a:cxn ang="0">
                  <a:pos x="421" y="10"/>
                </a:cxn>
                <a:cxn ang="0">
                  <a:pos x="454" y="56"/>
                </a:cxn>
                <a:cxn ang="0">
                  <a:pos x="564" y="25"/>
                </a:cxn>
                <a:cxn ang="0">
                  <a:pos x="639" y="3"/>
                </a:cxn>
                <a:cxn ang="0">
                  <a:pos x="690" y="15"/>
                </a:cxn>
                <a:cxn ang="0">
                  <a:pos x="715" y="38"/>
                </a:cxn>
                <a:cxn ang="0">
                  <a:pos x="778" y="40"/>
                </a:cxn>
                <a:cxn ang="0">
                  <a:pos x="854" y="58"/>
                </a:cxn>
                <a:cxn ang="0">
                  <a:pos x="934" y="82"/>
                </a:cxn>
                <a:cxn ang="0">
                  <a:pos x="977" y="84"/>
                </a:cxn>
                <a:cxn ang="0">
                  <a:pos x="996" y="88"/>
                </a:cxn>
              </a:cxnLst>
              <a:rect l="0" t="0" r="r" b="b"/>
              <a:pathLst>
                <a:path w="1189" h="965">
                  <a:moveTo>
                    <a:pt x="1018" y="81"/>
                  </a:moveTo>
                  <a:lnTo>
                    <a:pt x="1026" y="84"/>
                  </a:lnTo>
                  <a:lnTo>
                    <a:pt x="1040" y="85"/>
                  </a:lnTo>
                  <a:lnTo>
                    <a:pt x="1047" y="83"/>
                  </a:lnTo>
                  <a:lnTo>
                    <a:pt x="1053" y="79"/>
                  </a:lnTo>
                  <a:lnTo>
                    <a:pt x="1056" y="73"/>
                  </a:lnTo>
                  <a:lnTo>
                    <a:pt x="1056" y="63"/>
                  </a:lnTo>
                  <a:lnTo>
                    <a:pt x="1072" y="30"/>
                  </a:lnTo>
                  <a:lnTo>
                    <a:pt x="1073" y="33"/>
                  </a:lnTo>
                  <a:lnTo>
                    <a:pt x="1076" y="36"/>
                  </a:lnTo>
                  <a:lnTo>
                    <a:pt x="1079" y="36"/>
                  </a:lnTo>
                  <a:lnTo>
                    <a:pt x="1084" y="35"/>
                  </a:lnTo>
                  <a:lnTo>
                    <a:pt x="1102" y="26"/>
                  </a:lnTo>
                  <a:lnTo>
                    <a:pt x="1119" y="35"/>
                  </a:lnTo>
                  <a:lnTo>
                    <a:pt x="1124" y="36"/>
                  </a:lnTo>
                  <a:lnTo>
                    <a:pt x="1128" y="36"/>
                  </a:lnTo>
                  <a:lnTo>
                    <a:pt x="1131" y="33"/>
                  </a:lnTo>
                  <a:lnTo>
                    <a:pt x="1132" y="30"/>
                  </a:lnTo>
                  <a:lnTo>
                    <a:pt x="1148" y="63"/>
                  </a:lnTo>
                  <a:lnTo>
                    <a:pt x="1144" y="138"/>
                  </a:lnTo>
                  <a:lnTo>
                    <a:pt x="1134" y="136"/>
                  </a:lnTo>
                  <a:lnTo>
                    <a:pt x="1129" y="138"/>
                  </a:lnTo>
                  <a:lnTo>
                    <a:pt x="1129" y="142"/>
                  </a:lnTo>
                  <a:lnTo>
                    <a:pt x="1131" y="147"/>
                  </a:lnTo>
                  <a:lnTo>
                    <a:pt x="1140" y="161"/>
                  </a:lnTo>
                  <a:lnTo>
                    <a:pt x="1148" y="169"/>
                  </a:lnTo>
                  <a:lnTo>
                    <a:pt x="1147" y="182"/>
                  </a:lnTo>
                  <a:lnTo>
                    <a:pt x="1143" y="187"/>
                  </a:lnTo>
                  <a:lnTo>
                    <a:pt x="1128" y="196"/>
                  </a:lnTo>
                  <a:lnTo>
                    <a:pt x="1104" y="239"/>
                  </a:lnTo>
                  <a:lnTo>
                    <a:pt x="1102" y="268"/>
                  </a:lnTo>
                  <a:lnTo>
                    <a:pt x="1150" y="358"/>
                  </a:lnTo>
                  <a:lnTo>
                    <a:pt x="1159" y="369"/>
                  </a:lnTo>
                  <a:lnTo>
                    <a:pt x="1169" y="378"/>
                  </a:lnTo>
                  <a:lnTo>
                    <a:pt x="1178" y="387"/>
                  </a:lnTo>
                  <a:lnTo>
                    <a:pt x="1189" y="402"/>
                  </a:lnTo>
                  <a:lnTo>
                    <a:pt x="1189" y="446"/>
                  </a:lnTo>
                  <a:lnTo>
                    <a:pt x="1181" y="458"/>
                  </a:lnTo>
                  <a:lnTo>
                    <a:pt x="1172" y="471"/>
                  </a:lnTo>
                  <a:lnTo>
                    <a:pt x="1154" y="496"/>
                  </a:lnTo>
                  <a:lnTo>
                    <a:pt x="1148" y="626"/>
                  </a:lnTo>
                  <a:lnTo>
                    <a:pt x="1142" y="625"/>
                  </a:lnTo>
                  <a:lnTo>
                    <a:pt x="1137" y="626"/>
                  </a:lnTo>
                  <a:lnTo>
                    <a:pt x="1134" y="628"/>
                  </a:lnTo>
                  <a:lnTo>
                    <a:pt x="1131" y="633"/>
                  </a:lnTo>
                  <a:lnTo>
                    <a:pt x="1127" y="644"/>
                  </a:lnTo>
                  <a:lnTo>
                    <a:pt x="1126" y="657"/>
                  </a:lnTo>
                  <a:lnTo>
                    <a:pt x="1126" y="682"/>
                  </a:lnTo>
                  <a:lnTo>
                    <a:pt x="1128" y="688"/>
                  </a:lnTo>
                  <a:lnTo>
                    <a:pt x="1148" y="690"/>
                  </a:lnTo>
                  <a:lnTo>
                    <a:pt x="1141" y="695"/>
                  </a:lnTo>
                  <a:lnTo>
                    <a:pt x="1136" y="702"/>
                  </a:lnTo>
                  <a:lnTo>
                    <a:pt x="1127" y="716"/>
                  </a:lnTo>
                  <a:lnTo>
                    <a:pt x="1117" y="731"/>
                  </a:lnTo>
                  <a:lnTo>
                    <a:pt x="1111" y="736"/>
                  </a:lnTo>
                  <a:lnTo>
                    <a:pt x="1102" y="739"/>
                  </a:lnTo>
                  <a:lnTo>
                    <a:pt x="1083" y="763"/>
                  </a:lnTo>
                  <a:lnTo>
                    <a:pt x="1073" y="775"/>
                  </a:lnTo>
                  <a:lnTo>
                    <a:pt x="1066" y="782"/>
                  </a:lnTo>
                  <a:lnTo>
                    <a:pt x="1056" y="795"/>
                  </a:lnTo>
                  <a:lnTo>
                    <a:pt x="1044" y="811"/>
                  </a:lnTo>
                  <a:lnTo>
                    <a:pt x="1030" y="824"/>
                  </a:lnTo>
                  <a:lnTo>
                    <a:pt x="1014" y="836"/>
                  </a:lnTo>
                  <a:lnTo>
                    <a:pt x="997" y="847"/>
                  </a:lnTo>
                  <a:lnTo>
                    <a:pt x="977" y="859"/>
                  </a:lnTo>
                  <a:lnTo>
                    <a:pt x="955" y="871"/>
                  </a:lnTo>
                  <a:lnTo>
                    <a:pt x="931" y="881"/>
                  </a:lnTo>
                  <a:lnTo>
                    <a:pt x="908" y="890"/>
                  </a:lnTo>
                  <a:lnTo>
                    <a:pt x="868" y="902"/>
                  </a:lnTo>
                  <a:lnTo>
                    <a:pt x="855" y="904"/>
                  </a:lnTo>
                  <a:lnTo>
                    <a:pt x="851" y="904"/>
                  </a:lnTo>
                  <a:lnTo>
                    <a:pt x="845" y="910"/>
                  </a:lnTo>
                  <a:lnTo>
                    <a:pt x="836" y="918"/>
                  </a:lnTo>
                  <a:lnTo>
                    <a:pt x="815" y="939"/>
                  </a:lnTo>
                  <a:lnTo>
                    <a:pt x="804" y="951"/>
                  </a:lnTo>
                  <a:lnTo>
                    <a:pt x="793" y="959"/>
                  </a:lnTo>
                  <a:lnTo>
                    <a:pt x="784" y="964"/>
                  </a:lnTo>
                  <a:lnTo>
                    <a:pt x="778" y="965"/>
                  </a:lnTo>
                  <a:lnTo>
                    <a:pt x="775" y="964"/>
                  </a:lnTo>
                  <a:lnTo>
                    <a:pt x="765" y="957"/>
                  </a:lnTo>
                  <a:lnTo>
                    <a:pt x="757" y="945"/>
                  </a:lnTo>
                  <a:lnTo>
                    <a:pt x="745" y="919"/>
                  </a:lnTo>
                  <a:lnTo>
                    <a:pt x="737" y="906"/>
                  </a:lnTo>
                  <a:lnTo>
                    <a:pt x="729" y="895"/>
                  </a:lnTo>
                  <a:lnTo>
                    <a:pt x="719" y="886"/>
                  </a:lnTo>
                  <a:lnTo>
                    <a:pt x="713" y="883"/>
                  </a:lnTo>
                  <a:lnTo>
                    <a:pt x="706" y="882"/>
                  </a:lnTo>
                  <a:lnTo>
                    <a:pt x="703" y="874"/>
                  </a:lnTo>
                  <a:lnTo>
                    <a:pt x="694" y="865"/>
                  </a:lnTo>
                  <a:lnTo>
                    <a:pt x="683" y="856"/>
                  </a:lnTo>
                  <a:lnTo>
                    <a:pt x="670" y="846"/>
                  </a:lnTo>
                  <a:lnTo>
                    <a:pt x="644" y="833"/>
                  </a:lnTo>
                  <a:lnTo>
                    <a:pt x="630" y="825"/>
                  </a:lnTo>
                  <a:lnTo>
                    <a:pt x="557" y="747"/>
                  </a:lnTo>
                  <a:lnTo>
                    <a:pt x="555" y="719"/>
                  </a:lnTo>
                  <a:lnTo>
                    <a:pt x="554" y="705"/>
                  </a:lnTo>
                  <a:lnTo>
                    <a:pt x="555" y="701"/>
                  </a:lnTo>
                  <a:lnTo>
                    <a:pt x="557" y="697"/>
                  </a:lnTo>
                  <a:lnTo>
                    <a:pt x="569" y="684"/>
                  </a:lnTo>
                  <a:lnTo>
                    <a:pt x="522" y="591"/>
                  </a:lnTo>
                  <a:lnTo>
                    <a:pt x="479" y="546"/>
                  </a:lnTo>
                  <a:lnTo>
                    <a:pt x="484" y="538"/>
                  </a:lnTo>
                  <a:lnTo>
                    <a:pt x="486" y="531"/>
                  </a:lnTo>
                  <a:lnTo>
                    <a:pt x="485" y="522"/>
                  </a:lnTo>
                  <a:lnTo>
                    <a:pt x="481" y="515"/>
                  </a:lnTo>
                  <a:lnTo>
                    <a:pt x="475" y="507"/>
                  </a:lnTo>
                  <a:lnTo>
                    <a:pt x="468" y="500"/>
                  </a:lnTo>
                  <a:lnTo>
                    <a:pt x="449" y="487"/>
                  </a:lnTo>
                  <a:lnTo>
                    <a:pt x="429" y="477"/>
                  </a:lnTo>
                  <a:lnTo>
                    <a:pt x="410" y="468"/>
                  </a:lnTo>
                  <a:lnTo>
                    <a:pt x="387" y="461"/>
                  </a:lnTo>
                  <a:lnTo>
                    <a:pt x="370" y="466"/>
                  </a:lnTo>
                  <a:lnTo>
                    <a:pt x="360" y="469"/>
                  </a:lnTo>
                  <a:lnTo>
                    <a:pt x="353" y="474"/>
                  </a:lnTo>
                  <a:lnTo>
                    <a:pt x="314" y="460"/>
                  </a:lnTo>
                  <a:lnTo>
                    <a:pt x="296" y="455"/>
                  </a:lnTo>
                  <a:lnTo>
                    <a:pt x="288" y="455"/>
                  </a:lnTo>
                  <a:lnTo>
                    <a:pt x="281" y="455"/>
                  </a:lnTo>
                  <a:lnTo>
                    <a:pt x="268" y="458"/>
                  </a:lnTo>
                  <a:lnTo>
                    <a:pt x="255" y="463"/>
                  </a:lnTo>
                  <a:lnTo>
                    <a:pt x="244" y="474"/>
                  </a:lnTo>
                  <a:lnTo>
                    <a:pt x="232" y="487"/>
                  </a:lnTo>
                  <a:lnTo>
                    <a:pt x="212" y="489"/>
                  </a:lnTo>
                  <a:lnTo>
                    <a:pt x="192" y="489"/>
                  </a:lnTo>
                  <a:lnTo>
                    <a:pt x="172" y="487"/>
                  </a:lnTo>
                  <a:lnTo>
                    <a:pt x="153" y="483"/>
                  </a:lnTo>
                  <a:lnTo>
                    <a:pt x="135" y="479"/>
                  </a:lnTo>
                  <a:lnTo>
                    <a:pt x="119" y="473"/>
                  </a:lnTo>
                  <a:lnTo>
                    <a:pt x="88" y="457"/>
                  </a:lnTo>
                  <a:lnTo>
                    <a:pt x="54" y="426"/>
                  </a:lnTo>
                  <a:lnTo>
                    <a:pt x="41" y="411"/>
                  </a:lnTo>
                  <a:lnTo>
                    <a:pt x="28" y="396"/>
                  </a:lnTo>
                  <a:lnTo>
                    <a:pt x="19" y="381"/>
                  </a:lnTo>
                  <a:lnTo>
                    <a:pt x="10" y="366"/>
                  </a:lnTo>
                  <a:lnTo>
                    <a:pt x="4" y="351"/>
                  </a:lnTo>
                  <a:lnTo>
                    <a:pt x="0" y="334"/>
                  </a:lnTo>
                  <a:lnTo>
                    <a:pt x="6" y="295"/>
                  </a:lnTo>
                  <a:lnTo>
                    <a:pt x="11" y="261"/>
                  </a:lnTo>
                  <a:lnTo>
                    <a:pt x="4" y="243"/>
                  </a:lnTo>
                  <a:lnTo>
                    <a:pt x="2" y="227"/>
                  </a:lnTo>
                  <a:lnTo>
                    <a:pt x="4" y="214"/>
                  </a:lnTo>
                  <a:lnTo>
                    <a:pt x="9" y="201"/>
                  </a:lnTo>
                  <a:lnTo>
                    <a:pt x="18" y="190"/>
                  </a:lnTo>
                  <a:lnTo>
                    <a:pt x="28" y="181"/>
                  </a:lnTo>
                  <a:lnTo>
                    <a:pt x="53" y="163"/>
                  </a:lnTo>
                  <a:lnTo>
                    <a:pt x="105" y="110"/>
                  </a:lnTo>
                  <a:lnTo>
                    <a:pt x="113" y="107"/>
                  </a:lnTo>
                  <a:lnTo>
                    <a:pt x="122" y="99"/>
                  </a:lnTo>
                  <a:lnTo>
                    <a:pt x="125" y="94"/>
                  </a:lnTo>
                  <a:lnTo>
                    <a:pt x="127" y="86"/>
                  </a:lnTo>
                  <a:lnTo>
                    <a:pt x="128" y="79"/>
                  </a:lnTo>
                  <a:lnTo>
                    <a:pt x="128" y="68"/>
                  </a:lnTo>
                  <a:lnTo>
                    <a:pt x="138" y="72"/>
                  </a:lnTo>
                  <a:lnTo>
                    <a:pt x="155" y="79"/>
                  </a:lnTo>
                  <a:lnTo>
                    <a:pt x="175" y="84"/>
                  </a:lnTo>
                  <a:lnTo>
                    <a:pt x="183" y="84"/>
                  </a:lnTo>
                  <a:lnTo>
                    <a:pt x="189" y="82"/>
                  </a:lnTo>
                  <a:lnTo>
                    <a:pt x="195" y="82"/>
                  </a:lnTo>
                  <a:lnTo>
                    <a:pt x="204" y="80"/>
                  </a:lnTo>
                  <a:lnTo>
                    <a:pt x="220" y="73"/>
                  </a:lnTo>
                  <a:lnTo>
                    <a:pt x="232" y="66"/>
                  </a:lnTo>
                  <a:lnTo>
                    <a:pt x="236" y="65"/>
                  </a:lnTo>
                  <a:lnTo>
                    <a:pt x="240" y="66"/>
                  </a:lnTo>
                  <a:lnTo>
                    <a:pt x="259" y="66"/>
                  </a:lnTo>
                  <a:lnTo>
                    <a:pt x="270" y="64"/>
                  </a:lnTo>
                  <a:lnTo>
                    <a:pt x="281" y="62"/>
                  </a:lnTo>
                  <a:lnTo>
                    <a:pt x="286" y="59"/>
                  </a:lnTo>
                  <a:lnTo>
                    <a:pt x="293" y="49"/>
                  </a:lnTo>
                  <a:lnTo>
                    <a:pt x="306" y="39"/>
                  </a:lnTo>
                  <a:lnTo>
                    <a:pt x="327" y="22"/>
                  </a:lnTo>
                  <a:lnTo>
                    <a:pt x="330" y="20"/>
                  </a:lnTo>
                  <a:lnTo>
                    <a:pt x="327" y="22"/>
                  </a:lnTo>
                  <a:lnTo>
                    <a:pt x="347" y="19"/>
                  </a:lnTo>
                  <a:lnTo>
                    <a:pt x="357" y="15"/>
                  </a:lnTo>
                  <a:lnTo>
                    <a:pt x="368" y="8"/>
                  </a:lnTo>
                  <a:lnTo>
                    <a:pt x="376" y="4"/>
                  </a:lnTo>
                  <a:lnTo>
                    <a:pt x="385" y="2"/>
                  </a:lnTo>
                  <a:lnTo>
                    <a:pt x="394" y="2"/>
                  </a:lnTo>
                  <a:lnTo>
                    <a:pt x="404" y="3"/>
                  </a:lnTo>
                  <a:lnTo>
                    <a:pt x="421" y="10"/>
                  </a:lnTo>
                  <a:lnTo>
                    <a:pt x="434" y="20"/>
                  </a:lnTo>
                  <a:lnTo>
                    <a:pt x="435" y="30"/>
                  </a:lnTo>
                  <a:lnTo>
                    <a:pt x="434" y="32"/>
                  </a:lnTo>
                  <a:lnTo>
                    <a:pt x="454" y="56"/>
                  </a:lnTo>
                  <a:lnTo>
                    <a:pt x="547" y="45"/>
                  </a:lnTo>
                  <a:lnTo>
                    <a:pt x="550" y="38"/>
                  </a:lnTo>
                  <a:lnTo>
                    <a:pt x="556" y="30"/>
                  </a:lnTo>
                  <a:lnTo>
                    <a:pt x="564" y="25"/>
                  </a:lnTo>
                  <a:lnTo>
                    <a:pt x="573" y="20"/>
                  </a:lnTo>
                  <a:lnTo>
                    <a:pt x="594" y="12"/>
                  </a:lnTo>
                  <a:lnTo>
                    <a:pt x="617" y="6"/>
                  </a:lnTo>
                  <a:lnTo>
                    <a:pt x="639" y="3"/>
                  </a:lnTo>
                  <a:lnTo>
                    <a:pt x="659" y="1"/>
                  </a:lnTo>
                  <a:lnTo>
                    <a:pt x="678" y="0"/>
                  </a:lnTo>
                  <a:lnTo>
                    <a:pt x="683" y="8"/>
                  </a:lnTo>
                  <a:lnTo>
                    <a:pt x="690" y="15"/>
                  </a:lnTo>
                  <a:lnTo>
                    <a:pt x="698" y="23"/>
                  </a:lnTo>
                  <a:lnTo>
                    <a:pt x="705" y="35"/>
                  </a:lnTo>
                  <a:lnTo>
                    <a:pt x="709" y="37"/>
                  </a:lnTo>
                  <a:lnTo>
                    <a:pt x="715" y="38"/>
                  </a:lnTo>
                  <a:lnTo>
                    <a:pt x="733" y="37"/>
                  </a:lnTo>
                  <a:lnTo>
                    <a:pt x="751" y="36"/>
                  </a:lnTo>
                  <a:lnTo>
                    <a:pt x="765" y="35"/>
                  </a:lnTo>
                  <a:lnTo>
                    <a:pt x="778" y="40"/>
                  </a:lnTo>
                  <a:lnTo>
                    <a:pt x="793" y="44"/>
                  </a:lnTo>
                  <a:lnTo>
                    <a:pt x="824" y="50"/>
                  </a:lnTo>
                  <a:lnTo>
                    <a:pt x="839" y="54"/>
                  </a:lnTo>
                  <a:lnTo>
                    <a:pt x="854" y="58"/>
                  </a:lnTo>
                  <a:lnTo>
                    <a:pt x="869" y="64"/>
                  </a:lnTo>
                  <a:lnTo>
                    <a:pt x="882" y="74"/>
                  </a:lnTo>
                  <a:lnTo>
                    <a:pt x="909" y="78"/>
                  </a:lnTo>
                  <a:lnTo>
                    <a:pt x="934" y="82"/>
                  </a:lnTo>
                  <a:lnTo>
                    <a:pt x="957" y="84"/>
                  </a:lnTo>
                  <a:lnTo>
                    <a:pt x="967" y="83"/>
                  </a:lnTo>
                  <a:lnTo>
                    <a:pt x="976" y="79"/>
                  </a:lnTo>
                  <a:lnTo>
                    <a:pt x="977" y="84"/>
                  </a:lnTo>
                  <a:lnTo>
                    <a:pt x="979" y="86"/>
                  </a:lnTo>
                  <a:lnTo>
                    <a:pt x="983" y="87"/>
                  </a:lnTo>
                  <a:lnTo>
                    <a:pt x="989" y="88"/>
                  </a:lnTo>
                  <a:lnTo>
                    <a:pt x="996" y="88"/>
                  </a:lnTo>
                  <a:lnTo>
                    <a:pt x="1006" y="85"/>
                  </a:lnTo>
                  <a:lnTo>
                    <a:pt x="1018" y="81"/>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61" name="Freeform 72"/>
            <p:cNvSpPr>
              <a:spLocks/>
            </p:cNvSpPr>
            <p:nvPr/>
          </p:nvSpPr>
          <p:spPr bwMode="auto">
            <a:xfrm>
              <a:off x="435" y="376"/>
              <a:ext cx="0" cy="0"/>
            </a:xfrm>
            <a:custGeom>
              <a:avLst/>
              <a:gdLst/>
              <a:ahLst/>
              <a:cxnLst>
                <a:cxn ang="0">
                  <a:pos x="0" y="2"/>
                </a:cxn>
                <a:cxn ang="0">
                  <a:pos x="3" y="0"/>
                </a:cxn>
                <a:cxn ang="0">
                  <a:pos x="0" y="2"/>
                </a:cxn>
                <a:cxn ang="0">
                  <a:pos x="0" y="2"/>
                </a:cxn>
              </a:cxnLst>
              <a:rect l="0" t="0" r="r" b="b"/>
              <a:pathLst>
                <a:path w="3" h="2">
                  <a:moveTo>
                    <a:pt x="0" y="2"/>
                  </a:moveTo>
                  <a:lnTo>
                    <a:pt x="3" y="0"/>
                  </a:lnTo>
                  <a:lnTo>
                    <a:pt x="0" y="2"/>
                  </a:lnTo>
                  <a:lnTo>
                    <a:pt x="0" y="2"/>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62" name="Freeform 73"/>
            <p:cNvSpPr>
              <a:spLocks/>
            </p:cNvSpPr>
            <p:nvPr/>
          </p:nvSpPr>
          <p:spPr bwMode="auto">
            <a:xfrm>
              <a:off x="422" y="305"/>
              <a:ext cx="73" cy="74"/>
            </a:xfrm>
            <a:custGeom>
              <a:avLst/>
              <a:gdLst/>
              <a:ahLst/>
              <a:cxnLst>
                <a:cxn ang="0">
                  <a:pos x="788" y="161"/>
                </a:cxn>
                <a:cxn ang="0">
                  <a:pos x="815" y="80"/>
                </a:cxn>
                <a:cxn ang="0">
                  <a:pos x="864" y="13"/>
                </a:cxn>
                <a:cxn ang="0">
                  <a:pos x="900" y="38"/>
                </a:cxn>
                <a:cxn ang="0">
                  <a:pos x="1104" y="179"/>
                </a:cxn>
                <a:cxn ang="0">
                  <a:pos x="1180" y="243"/>
                </a:cxn>
                <a:cxn ang="0">
                  <a:pos x="1188" y="296"/>
                </a:cxn>
                <a:cxn ang="0">
                  <a:pos x="1079" y="475"/>
                </a:cxn>
                <a:cxn ang="0">
                  <a:pos x="1184" y="691"/>
                </a:cxn>
                <a:cxn ang="0">
                  <a:pos x="1103" y="820"/>
                </a:cxn>
                <a:cxn ang="0">
                  <a:pos x="997" y="825"/>
                </a:cxn>
                <a:cxn ang="0">
                  <a:pos x="861" y="969"/>
                </a:cxn>
                <a:cxn ang="0">
                  <a:pos x="812" y="1023"/>
                </a:cxn>
                <a:cxn ang="0">
                  <a:pos x="819" y="1055"/>
                </a:cxn>
                <a:cxn ang="0">
                  <a:pos x="883" y="987"/>
                </a:cxn>
                <a:cxn ang="0">
                  <a:pos x="951" y="1014"/>
                </a:cxn>
                <a:cxn ang="0">
                  <a:pos x="925" y="1238"/>
                </a:cxn>
                <a:cxn ang="0">
                  <a:pos x="721" y="1224"/>
                </a:cxn>
                <a:cxn ang="0">
                  <a:pos x="578" y="1131"/>
                </a:cxn>
                <a:cxn ang="0">
                  <a:pos x="554" y="1098"/>
                </a:cxn>
                <a:cxn ang="0">
                  <a:pos x="506" y="1136"/>
                </a:cxn>
                <a:cxn ang="0">
                  <a:pos x="477" y="1091"/>
                </a:cxn>
                <a:cxn ang="0">
                  <a:pos x="525" y="1019"/>
                </a:cxn>
                <a:cxn ang="0">
                  <a:pos x="506" y="972"/>
                </a:cxn>
                <a:cxn ang="0">
                  <a:pos x="453" y="1070"/>
                </a:cxn>
                <a:cxn ang="0">
                  <a:pos x="414" y="1099"/>
                </a:cxn>
                <a:cxn ang="0">
                  <a:pos x="429" y="1123"/>
                </a:cxn>
                <a:cxn ang="0">
                  <a:pos x="462" y="1174"/>
                </a:cxn>
                <a:cxn ang="0">
                  <a:pos x="442" y="1179"/>
                </a:cxn>
                <a:cxn ang="0">
                  <a:pos x="248" y="1152"/>
                </a:cxn>
                <a:cxn ang="0">
                  <a:pos x="187" y="1190"/>
                </a:cxn>
                <a:cxn ang="0">
                  <a:pos x="111" y="1240"/>
                </a:cxn>
                <a:cxn ang="0">
                  <a:pos x="8" y="1255"/>
                </a:cxn>
                <a:cxn ang="0">
                  <a:pos x="54" y="1150"/>
                </a:cxn>
                <a:cxn ang="0">
                  <a:pos x="154" y="1076"/>
                </a:cxn>
                <a:cxn ang="0">
                  <a:pos x="177" y="1024"/>
                </a:cxn>
                <a:cxn ang="0">
                  <a:pos x="246" y="957"/>
                </a:cxn>
                <a:cxn ang="0">
                  <a:pos x="295" y="833"/>
                </a:cxn>
                <a:cxn ang="0">
                  <a:pos x="292" y="869"/>
                </a:cxn>
                <a:cxn ang="0">
                  <a:pos x="261" y="907"/>
                </a:cxn>
                <a:cxn ang="0">
                  <a:pos x="186" y="898"/>
                </a:cxn>
                <a:cxn ang="0">
                  <a:pos x="325" y="704"/>
                </a:cxn>
                <a:cxn ang="0">
                  <a:pos x="354" y="493"/>
                </a:cxn>
                <a:cxn ang="0">
                  <a:pos x="353" y="389"/>
                </a:cxn>
                <a:cxn ang="0">
                  <a:pos x="284" y="299"/>
                </a:cxn>
                <a:cxn ang="0">
                  <a:pos x="243" y="270"/>
                </a:cxn>
                <a:cxn ang="0">
                  <a:pos x="191" y="156"/>
                </a:cxn>
                <a:cxn ang="0">
                  <a:pos x="192" y="53"/>
                </a:cxn>
                <a:cxn ang="0">
                  <a:pos x="329" y="106"/>
                </a:cxn>
                <a:cxn ang="0">
                  <a:pos x="388" y="142"/>
                </a:cxn>
                <a:cxn ang="0">
                  <a:pos x="473" y="99"/>
                </a:cxn>
                <a:cxn ang="0">
                  <a:pos x="467" y="40"/>
                </a:cxn>
                <a:cxn ang="0">
                  <a:pos x="507" y="47"/>
                </a:cxn>
                <a:cxn ang="0">
                  <a:pos x="571" y="33"/>
                </a:cxn>
                <a:cxn ang="0">
                  <a:pos x="610" y="66"/>
                </a:cxn>
                <a:cxn ang="0">
                  <a:pos x="750" y="62"/>
                </a:cxn>
                <a:cxn ang="0">
                  <a:pos x="729" y="75"/>
                </a:cxn>
              </a:cxnLst>
              <a:rect l="0" t="0" r="r" b="b"/>
              <a:pathLst>
                <a:path w="1236" h="1272">
                  <a:moveTo>
                    <a:pt x="720" y="77"/>
                  </a:moveTo>
                  <a:lnTo>
                    <a:pt x="714" y="82"/>
                  </a:lnTo>
                  <a:lnTo>
                    <a:pt x="712" y="86"/>
                  </a:lnTo>
                  <a:lnTo>
                    <a:pt x="712" y="92"/>
                  </a:lnTo>
                  <a:lnTo>
                    <a:pt x="714" y="97"/>
                  </a:lnTo>
                  <a:lnTo>
                    <a:pt x="722" y="105"/>
                  </a:lnTo>
                  <a:lnTo>
                    <a:pt x="733" y="111"/>
                  </a:lnTo>
                  <a:lnTo>
                    <a:pt x="788" y="161"/>
                  </a:lnTo>
                  <a:lnTo>
                    <a:pt x="813" y="106"/>
                  </a:lnTo>
                  <a:lnTo>
                    <a:pt x="811" y="104"/>
                  </a:lnTo>
                  <a:lnTo>
                    <a:pt x="809" y="102"/>
                  </a:lnTo>
                  <a:lnTo>
                    <a:pt x="804" y="102"/>
                  </a:lnTo>
                  <a:lnTo>
                    <a:pt x="798" y="103"/>
                  </a:lnTo>
                  <a:lnTo>
                    <a:pt x="793" y="101"/>
                  </a:lnTo>
                  <a:lnTo>
                    <a:pt x="804" y="92"/>
                  </a:lnTo>
                  <a:lnTo>
                    <a:pt x="815" y="80"/>
                  </a:lnTo>
                  <a:lnTo>
                    <a:pt x="828" y="70"/>
                  </a:lnTo>
                  <a:lnTo>
                    <a:pt x="843" y="60"/>
                  </a:lnTo>
                  <a:lnTo>
                    <a:pt x="848" y="51"/>
                  </a:lnTo>
                  <a:lnTo>
                    <a:pt x="851" y="45"/>
                  </a:lnTo>
                  <a:lnTo>
                    <a:pt x="856" y="42"/>
                  </a:lnTo>
                  <a:lnTo>
                    <a:pt x="865" y="37"/>
                  </a:lnTo>
                  <a:lnTo>
                    <a:pt x="865" y="22"/>
                  </a:lnTo>
                  <a:lnTo>
                    <a:pt x="864" y="13"/>
                  </a:lnTo>
                  <a:lnTo>
                    <a:pt x="864" y="1"/>
                  </a:lnTo>
                  <a:lnTo>
                    <a:pt x="866" y="0"/>
                  </a:lnTo>
                  <a:lnTo>
                    <a:pt x="872" y="0"/>
                  </a:lnTo>
                  <a:lnTo>
                    <a:pt x="895" y="2"/>
                  </a:lnTo>
                  <a:lnTo>
                    <a:pt x="897" y="5"/>
                  </a:lnTo>
                  <a:lnTo>
                    <a:pt x="899" y="9"/>
                  </a:lnTo>
                  <a:lnTo>
                    <a:pt x="900" y="18"/>
                  </a:lnTo>
                  <a:lnTo>
                    <a:pt x="900" y="38"/>
                  </a:lnTo>
                  <a:lnTo>
                    <a:pt x="1012" y="100"/>
                  </a:lnTo>
                  <a:lnTo>
                    <a:pt x="1020" y="133"/>
                  </a:lnTo>
                  <a:lnTo>
                    <a:pt x="1030" y="141"/>
                  </a:lnTo>
                  <a:lnTo>
                    <a:pt x="1038" y="151"/>
                  </a:lnTo>
                  <a:lnTo>
                    <a:pt x="1056" y="170"/>
                  </a:lnTo>
                  <a:lnTo>
                    <a:pt x="1095" y="181"/>
                  </a:lnTo>
                  <a:lnTo>
                    <a:pt x="1100" y="180"/>
                  </a:lnTo>
                  <a:lnTo>
                    <a:pt x="1104" y="179"/>
                  </a:lnTo>
                  <a:lnTo>
                    <a:pt x="1111" y="173"/>
                  </a:lnTo>
                  <a:lnTo>
                    <a:pt x="1115" y="165"/>
                  </a:lnTo>
                  <a:lnTo>
                    <a:pt x="1121" y="159"/>
                  </a:lnTo>
                  <a:lnTo>
                    <a:pt x="1195" y="184"/>
                  </a:lnTo>
                  <a:lnTo>
                    <a:pt x="1173" y="239"/>
                  </a:lnTo>
                  <a:lnTo>
                    <a:pt x="1174" y="241"/>
                  </a:lnTo>
                  <a:lnTo>
                    <a:pt x="1175" y="243"/>
                  </a:lnTo>
                  <a:lnTo>
                    <a:pt x="1180" y="243"/>
                  </a:lnTo>
                  <a:lnTo>
                    <a:pt x="1186" y="242"/>
                  </a:lnTo>
                  <a:lnTo>
                    <a:pt x="1193" y="243"/>
                  </a:lnTo>
                  <a:lnTo>
                    <a:pt x="1187" y="254"/>
                  </a:lnTo>
                  <a:lnTo>
                    <a:pt x="1186" y="265"/>
                  </a:lnTo>
                  <a:lnTo>
                    <a:pt x="1186" y="276"/>
                  </a:lnTo>
                  <a:lnTo>
                    <a:pt x="1186" y="287"/>
                  </a:lnTo>
                  <a:lnTo>
                    <a:pt x="1186" y="293"/>
                  </a:lnTo>
                  <a:lnTo>
                    <a:pt x="1188" y="296"/>
                  </a:lnTo>
                  <a:lnTo>
                    <a:pt x="1195" y="298"/>
                  </a:lnTo>
                  <a:lnTo>
                    <a:pt x="1202" y="300"/>
                  </a:lnTo>
                  <a:lnTo>
                    <a:pt x="1212" y="302"/>
                  </a:lnTo>
                  <a:lnTo>
                    <a:pt x="1236" y="350"/>
                  </a:lnTo>
                  <a:lnTo>
                    <a:pt x="1159" y="376"/>
                  </a:lnTo>
                  <a:lnTo>
                    <a:pt x="1157" y="422"/>
                  </a:lnTo>
                  <a:lnTo>
                    <a:pt x="1088" y="455"/>
                  </a:lnTo>
                  <a:lnTo>
                    <a:pt x="1079" y="475"/>
                  </a:lnTo>
                  <a:lnTo>
                    <a:pt x="1071" y="493"/>
                  </a:lnTo>
                  <a:lnTo>
                    <a:pt x="1070" y="500"/>
                  </a:lnTo>
                  <a:lnTo>
                    <a:pt x="1072" y="508"/>
                  </a:lnTo>
                  <a:lnTo>
                    <a:pt x="1077" y="513"/>
                  </a:lnTo>
                  <a:lnTo>
                    <a:pt x="1087" y="518"/>
                  </a:lnTo>
                  <a:lnTo>
                    <a:pt x="1127" y="572"/>
                  </a:lnTo>
                  <a:lnTo>
                    <a:pt x="1127" y="617"/>
                  </a:lnTo>
                  <a:lnTo>
                    <a:pt x="1184" y="691"/>
                  </a:lnTo>
                  <a:lnTo>
                    <a:pt x="1226" y="730"/>
                  </a:lnTo>
                  <a:lnTo>
                    <a:pt x="1219" y="731"/>
                  </a:lnTo>
                  <a:lnTo>
                    <a:pt x="1212" y="734"/>
                  </a:lnTo>
                  <a:lnTo>
                    <a:pt x="1196" y="745"/>
                  </a:lnTo>
                  <a:lnTo>
                    <a:pt x="1158" y="779"/>
                  </a:lnTo>
                  <a:lnTo>
                    <a:pt x="1137" y="798"/>
                  </a:lnTo>
                  <a:lnTo>
                    <a:pt x="1115" y="814"/>
                  </a:lnTo>
                  <a:lnTo>
                    <a:pt x="1103" y="820"/>
                  </a:lnTo>
                  <a:lnTo>
                    <a:pt x="1092" y="824"/>
                  </a:lnTo>
                  <a:lnTo>
                    <a:pt x="1080" y="828"/>
                  </a:lnTo>
                  <a:lnTo>
                    <a:pt x="1068" y="829"/>
                  </a:lnTo>
                  <a:lnTo>
                    <a:pt x="1046" y="820"/>
                  </a:lnTo>
                  <a:lnTo>
                    <a:pt x="1038" y="815"/>
                  </a:lnTo>
                  <a:lnTo>
                    <a:pt x="1031" y="808"/>
                  </a:lnTo>
                  <a:lnTo>
                    <a:pt x="1005" y="820"/>
                  </a:lnTo>
                  <a:lnTo>
                    <a:pt x="997" y="825"/>
                  </a:lnTo>
                  <a:lnTo>
                    <a:pt x="998" y="828"/>
                  </a:lnTo>
                  <a:lnTo>
                    <a:pt x="1000" y="831"/>
                  </a:lnTo>
                  <a:lnTo>
                    <a:pt x="1007" y="842"/>
                  </a:lnTo>
                  <a:lnTo>
                    <a:pt x="980" y="844"/>
                  </a:lnTo>
                  <a:lnTo>
                    <a:pt x="930" y="931"/>
                  </a:lnTo>
                  <a:lnTo>
                    <a:pt x="904" y="944"/>
                  </a:lnTo>
                  <a:lnTo>
                    <a:pt x="875" y="960"/>
                  </a:lnTo>
                  <a:lnTo>
                    <a:pt x="861" y="969"/>
                  </a:lnTo>
                  <a:lnTo>
                    <a:pt x="849" y="979"/>
                  </a:lnTo>
                  <a:lnTo>
                    <a:pt x="840" y="992"/>
                  </a:lnTo>
                  <a:lnTo>
                    <a:pt x="837" y="998"/>
                  </a:lnTo>
                  <a:lnTo>
                    <a:pt x="836" y="1005"/>
                  </a:lnTo>
                  <a:lnTo>
                    <a:pt x="832" y="1013"/>
                  </a:lnTo>
                  <a:lnTo>
                    <a:pt x="826" y="1018"/>
                  </a:lnTo>
                  <a:lnTo>
                    <a:pt x="819" y="1021"/>
                  </a:lnTo>
                  <a:lnTo>
                    <a:pt x="812" y="1023"/>
                  </a:lnTo>
                  <a:lnTo>
                    <a:pt x="796" y="1028"/>
                  </a:lnTo>
                  <a:lnTo>
                    <a:pt x="789" y="1032"/>
                  </a:lnTo>
                  <a:lnTo>
                    <a:pt x="783" y="1037"/>
                  </a:lnTo>
                  <a:lnTo>
                    <a:pt x="784" y="1044"/>
                  </a:lnTo>
                  <a:lnTo>
                    <a:pt x="789" y="1050"/>
                  </a:lnTo>
                  <a:lnTo>
                    <a:pt x="795" y="1053"/>
                  </a:lnTo>
                  <a:lnTo>
                    <a:pt x="802" y="1054"/>
                  </a:lnTo>
                  <a:lnTo>
                    <a:pt x="819" y="1055"/>
                  </a:lnTo>
                  <a:lnTo>
                    <a:pt x="836" y="1056"/>
                  </a:lnTo>
                  <a:lnTo>
                    <a:pt x="849" y="1053"/>
                  </a:lnTo>
                  <a:lnTo>
                    <a:pt x="859" y="1048"/>
                  </a:lnTo>
                  <a:lnTo>
                    <a:pt x="866" y="1040"/>
                  </a:lnTo>
                  <a:lnTo>
                    <a:pt x="873" y="1032"/>
                  </a:lnTo>
                  <a:lnTo>
                    <a:pt x="877" y="1021"/>
                  </a:lnTo>
                  <a:lnTo>
                    <a:pt x="880" y="1011"/>
                  </a:lnTo>
                  <a:lnTo>
                    <a:pt x="883" y="987"/>
                  </a:lnTo>
                  <a:lnTo>
                    <a:pt x="889" y="979"/>
                  </a:lnTo>
                  <a:lnTo>
                    <a:pt x="894" y="975"/>
                  </a:lnTo>
                  <a:lnTo>
                    <a:pt x="899" y="975"/>
                  </a:lnTo>
                  <a:lnTo>
                    <a:pt x="904" y="976"/>
                  </a:lnTo>
                  <a:lnTo>
                    <a:pt x="909" y="980"/>
                  </a:lnTo>
                  <a:lnTo>
                    <a:pt x="912" y="984"/>
                  </a:lnTo>
                  <a:lnTo>
                    <a:pt x="915" y="993"/>
                  </a:lnTo>
                  <a:lnTo>
                    <a:pt x="951" y="1014"/>
                  </a:lnTo>
                  <a:lnTo>
                    <a:pt x="961" y="1022"/>
                  </a:lnTo>
                  <a:lnTo>
                    <a:pt x="966" y="1032"/>
                  </a:lnTo>
                  <a:lnTo>
                    <a:pt x="970" y="1046"/>
                  </a:lnTo>
                  <a:lnTo>
                    <a:pt x="970" y="1062"/>
                  </a:lnTo>
                  <a:lnTo>
                    <a:pt x="969" y="1119"/>
                  </a:lnTo>
                  <a:lnTo>
                    <a:pt x="954" y="1149"/>
                  </a:lnTo>
                  <a:lnTo>
                    <a:pt x="943" y="1176"/>
                  </a:lnTo>
                  <a:lnTo>
                    <a:pt x="925" y="1238"/>
                  </a:lnTo>
                  <a:lnTo>
                    <a:pt x="922" y="1246"/>
                  </a:lnTo>
                  <a:lnTo>
                    <a:pt x="916" y="1254"/>
                  </a:lnTo>
                  <a:lnTo>
                    <a:pt x="903" y="1272"/>
                  </a:lnTo>
                  <a:lnTo>
                    <a:pt x="872" y="1258"/>
                  </a:lnTo>
                  <a:lnTo>
                    <a:pt x="841" y="1247"/>
                  </a:lnTo>
                  <a:lnTo>
                    <a:pt x="811" y="1238"/>
                  </a:lnTo>
                  <a:lnTo>
                    <a:pt x="781" y="1232"/>
                  </a:lnTo>
                  <a:lnTo>
                    <a:pt x="721" y="1224"/>
                  </a:lnTo>
                  <a:lnTo>
                    <a:pt x="661" y="1217"/>
                  </a:lnTo>
                  <a:lnTo>
                    <a:pt x="616" y="1181"/>
                  </a:lnTo>
                  <a:lnTo>
                    <a:pt x="599" y="1169"/>
                  </a:lnTo>
                  <a:lnTo>
                    <a:pt x="586" y="1156"/>
                  </a:lnTo>
                  <a:lnTo>
                    <a:pt x="581" y="1153"/>
                  </a:lnTo>
                  <a:lnTo>
                    <a:pt x="580" y="1149"/>
                  </a:lnTo>
                  <a:lnTo>
                    <a:pt x="579" y="1139"/>
                  </a:lnTo>
                  <a:lnTo>
                    <a:pt x="578" y="1131"/>
                  </a:lnTo>
                  <a:lnTo>
                    <a:pt x="577" y="1128"/>
                  </a:lnTo>
                  <a:lnTo>
                    <a:pt x="574" y="1124"/>
                  </a:lnTo>
                  <a:lnTo>
                    <a:pt x="565" y="1120"/>
                  </a:lnTo>
                  <a:lnTo>
                    <a:pt x="559" y="1117"/>
                  </a:lnTo>
                  <a:lnTo>
                    <a:pt x="557" y="1113"/>
                  </a:lnTo>
                  <a:lnTo>
                    <a:pt x="556" y="1110"/>
                  </a:lnTo>
                  <a:lnTo>
                    <a:pt x="556" y="1102"/>
                  </a:lnTo>
                  <a:lnTo>
                    <a:pt x="554" y="1098"/>
                  </a:lnTo>
                  <a:lnTo>
                    <a:pt x="550" y="1095"/>
                  </a:lnTo>
                  <a:lnTo>
                    <a:pt x="538" y="1096"/>
                  </a:lnTo>
                  <a:lnTo>
                    <a:pt x="531" y="1097"/>
                  </a:lnTo>
                  <a:lnTo>
                    <a:pt x="526" y="1100"/>
                  </a:lnTo>
                  <a:lnTo>
                    <a:pt x="523" y="1104"/>
                  </a:lnTo>
                  <a:lnTo>
                    <a:pt x="517" y="1118"/>
                  </a:lnTo>
                  <a:lnTo>
                    <a:pt x="513" y="1127"/>
                  </a:lnTo>
                  <a:lnTo>
                    <a:pt x="506" y="1136"/>
                  </a:lnTo>
                  <a:lnTo>
                    <a:pt x="499" y="1138"/>
                  </a:lnTo>
                  <a:lnTo>
                    <a:pt x="494" y="1143"/>
                  </a:lnTo>
                  <a:lnTo>
                    <a:pt x="491" y="1147"/>
                  </a:lnTo>
                  <a:lnTo>
                    <a:pt x="489" y="1148"/>
                  </a:lnTo>
                  <a:lnTo>
                    <a:pt x="489" y="1147"/>
                  </a:lnTo>
                  <a:lnTo>
                    <a:pt x="488" y="1122"/>
                  </a:lnTo>
                  <a:lnTo>
                    <a:pt x="488" y="1095"/>
                  </a:lnTo>
                  <a:lnTo>
                    <a:pt x="477" y="1091"/>
                  </a:lnTo>
                  <a:lnTo>
                    <a:pt x="473" y="1088"/>
                  </a:lnTo>
                  <a:lnTo>
                    <a:pt x="473" y="1080"/>
                  </a:lnTo>
                  <a:lnTo>
                    <a:pt x="474" y="1062"/>
                  </a:lnTo>
                  <a:lnTo>
                    <a:pt x="482" y="1056"/>
                  </a:lnTo>
                  <a:lnTo>
                    <a:pt x="491" y="1049"/>
                  </a:lnTo>
                  <a:lnTo>
                    <a:pt x="506" y="1033"/>
                  </a:lnTo>
                  <a:lnTo>
                    <a:pt x="514" y="1025"/>
                  </a:lnTo>
                  <a:lnTo>
                    <a:pt x="525" y="1019"/>
                  </a:lnTo>
                  <a:lnTo>
                    <a:pt x="537" y="1016"/>
                  </a:lnTo>
                  <a:lnTo>
                    <a:pt x="554" y="1015"/>
                  </a:lnTo>
                  <a:lnTo>
                    <a:pt x="547" y="1011"/>
                  </a:lnTo>
                  <a:lnTo>
                    <a:pt x="540" y="1005"/>
                  </a:lnTo>
                  <a:lnTo>
                    <a:pt x="529" y="993"/>
                  </a:lnTo>
                  <a:lnTo>
                    <a:pt x="518" y="980"/>
                  </a:lnTo>
                  <a:lnTo>
                    <a:pt x="512" y="976"/>
                  </a:lnTo>
                  <a:lnTo>
                    <a:pt x="506" y="972"/>
                  </a:lnTo>
                  <a:lnTo>
                    <a:pt x="470" y="1002"/>
                  </a:lnTo>
                  <a:lnTo>
                    <a:pt x="465" y="1015"/>
                  </a:lnTo>
                  <a:lnTo>
                    <a:pt x="464" y="1027"/>
                  </a:lnTo>
                  <a:lnTo>
                    <a:pt x="461" y="1036"/>
                  </a:lnTo>
                  <a:lnTo>
                    <a:pt x="458" y="1040"/>
                  </a:lnTo>
                  <a:lnTo>
                    <a:pt x="454" y="1044"/>
                  </a:lnTo>
                  <a:lnTo>
                    <a:pt x="452" y="1057"/>
                  </a:lnTo>
                  <a:lnTo>
                    <a:pt x="453" y="1070"/>
                  </a:lnTo>
                  <a:lnTo>
                    <a:pt x="453" y="1082"/>
                  </a:lnTo>
                  <a:lnTo>
                    <a:pt x="451" y="1088"/>
                  </a:lnTo>
                  <a:lnTo>
                    <a:pt x="449" y="1092"/>
                  </a:lnTo>
                  <a:lnTo>
                    <a:pt x="448" y="1095"/>
                  </a:lnTo>
                  <a:lnTo>
                    <a:pt x="445" y="1097"/>
                  </a:lnTo>
                  <a:lnTo>
                    <a:pt x="434" y="1098"/>
                  </a:lnTo>
                  <a:lnTo>
                    <a:pt x="421" y="1098"/>
                  </a:lnTo>
                  <a:lnTo>
                    <a:pt x="414" y="1099"/>
                  </a:lnTo>
                  <a:lnTo>
                    <a:pt x="414" y="1098"/>
                  </a:lnTo>
                  <a:lnTo>
                    <a:pt x="412" y="1098"/>
                  </a:lnTo>
                  <a:lnTo>
                    <a:pt x="405" y="1098"/>
                  </a:lnTo>
                  <a:lnTo>
                    <a:pt x="377" y="1101"/>
                  </a:lnTo>
                  <a:lnTo>
                    <a:pt x="343" y="1108"/>
                  </a:lnTo>
                  <a:lnTo>
                    <a:pt x="392" y="1119"/>
                  </a:lnTo>
                  <a:lnTo>
                    <a:pt x="416" y="1122"/>
                  </a:lnTo>
                  <a:lnTo>
                    <a:pt x="429" y="1123"/>
                  </a:lnTo>
                  <a:lnTo>
                    <a:pt x="436" y="1124"/>
                  </a:lnTo>
                  <a:lnTo>
                    <a:pt x="441" y="1122"/>
                  </a:lnTo>
                  <a:lnTo>
                    <a:pt x="474" y="1134"/>
                  </a:lnTo>
                  <a:lnTo>
                    <a:pt x="475" y="1137"/>
                  </a:lnTo>
                  <a:lnTo>
                    <a:pt x="474" y="1142"/>
                  </a:lnTo>
                  <a:lnTo>
                    <a:pt x="472" y="1155"/>
                  </a:lnTo>
                  <a:lnTo>
                    <a:pt x="467" y="1167"/>
                  </a:lnTo>
                  <a:lnTo>
                    <a:pt x="462" y="1174"/>
                  </a:lnTo>
                  <a:lnTo>
                    <a:pt x="458" y="1180"/>
                  </a:lnTo>
                  <a:lnTo>
                    <a:pt x="457" y="1188"/>
                  </a:lnTo>
                  <a:lnTo>
                    <a:pt x="455" y="1193"/>
                  </a:lnTo>
                  <a:lnTo>
                    <a:pt x="452" y="1195"/>
                  </a:lnTo>
                  <a:lnTo>
                    <a:pt x="449" y="1196"/>
                  </a:lnTo>
                  <a:lnTo>
                    <a:pt x="446" y="1194"/>
                  </a:lnTo>
                  <a:lnTo>
                    <a:pt x="445" y="1190"/>
                  </a:lnTo>
                  <a:lnTo>
                    <a:pt x="442" y="1179"/>
                  </a:lnTo>
                  <a:lnTo>
                    <a:pt x="442" y="1158"/>
                  </a:lnTo>
                  <a:lnTo>
                    <a:pt x="429" y="1155"/>
                  </a:lnTo>
                  <a:lnTo>
                    <a:pt x="416" y="1154"/>
                  </a:lnTo>
                  <a:lnTo>
                    <a:pt x="412" y="1155"/>
                  </a:lnTo>
                  <a:lnTo>
                    <a:pt x="409" y="1156"/>
                  </a:lnTo>
                  <a:lnTo>
                    <a:pt x="365" y="1155"/>
                  </a:lnTo>
                  <a:lnTo>
                    <a:pt x="305" y="1140"/>
                  </a:lnTo>
                  <a:lnTo>
                    <a:pt x="248" y="1152"/>
                  </a:lnTo>
                  <a:lnTo>
                    <a:pt x="237" y="1155"/>
                  </a:lnTo>
                  <a:lnTo>
                    <a:pt x="233" y="1158"/>
                  </a:lnTo>
                  <a:lnTo>
                    <a:pt x="232" y="1162"/>
                  </a:lnTo>
                  <a:lnTo>
                    <a:pt x="230" y="1169"/>
                  </a:lnTo>
                  <a:lnTo>
                    <a:pt x="222" y="1178"/>
                  </a:lnTo>
                  <a:lnTo>
                    <a:pt x="205" y="1192"/>
                  </a:lnTo>
                  <a:lnTo>
                    <a:pt x="191" y="1191"/>
                  </a:lnTo>
                  <a:lnTo>
                    <a:pt x="187" y="1190"/>
                  </a:lnTo>
                  <a:lnTo>
                    <a:pt x="183" y="1195"/>
                  </a:lnTo>
                  <a:lnTo>
                    <a:pt x="174" y="1209"/>
                  </a:lnTo>
                  <a:lnTo>
                    <a:pt x="182" y="1208"/>
                  </a:lnTo>
                  <a:lnTo>
                    <a:pt x="183" y="1209"/>
                  </a:lnTo>
                  <a:lnTo>
                    <a:pt x="182" y="1211"/>
                  </a:lnTo>
                  <a:lnTo>
                    <a:pt x="164" y="1221"/>
                  </a:lnTo>
                  <a:lnTo>
                    <a:pt x="137" y="1233"/>
                  </a:lnTo>
                  <a:lnTo>
                    <a:pt x="111" y="1240"/>
                  </a:lnTo>
                  <a:lnTo>
                    <a:pt x="92" y="1238"/>
                  </a:lnTo>
                  <a:lnTo>
                    <a:pt x="75" y="1239"/>
                  </a:lnTo>
                  <a:lnTo>
                    <a:pt x="58" y="1242"/>
                  </a:lnTo>
                  <a:lnTo>
                    <a:pt x="45" y="1248"/>
                  </a:lnTo>
                  <a:lnTo>
                    <a:pt x="23" y="1258"/>
                  </a:lnTo>
                  <a:lnTo>
                    <a:pt x="16" y="1261"/>
                  </a:lnTo>
                  <a:lnTo>
                    <a:pt x="14" y="1261"/>
                  </a:lnTo>
                  <a:lnTo>
                    <a:pt x="8" y="1255"/>
                  </a:lnTo>
                  <a:lnTo>
                    <a:pt x="4" y="1249"/>
                  </a:lnTo>
                  <a:lnTo>
                    <a:pt x="1" y="1241"/>
                  </a:lnTo>
                  <a:lnTo>
                    <a:pt x="0" y="1233"/>
                  </a:lnTo>
                  <a:lnTo>
                    <a:pt x="1" y="1216"/>
                  </a:lnTo>
                  <a:lnTo>
                    <a:pt x="7" y="1199"/>
                  </a:lnTo>
                  <a:lnTo>
                    <a:pt x="18" y="1181"/>
                  </a:lnTo>
                  <a:lnTo>
                    <a:pt x="34" y="1164"/>
                  </a:lnTo>
                  <a:lnTo>
                    <a:pt x="54" y="1150"/>
                  </a:lnTo>
                  <a:lnTo>
                    <a:pt x="78" y="1137"/>
                  </a:lnTo>
                  <a:lnTo>
                    <a:pt x="81" y="1134"/>
                  </a:lnTo>
                  <a:lnTo>
                    <a:pt x="88" y="1130"/>
                  </a:lnTo>
                  <a:lnTo>
                    <a:pt x="110" y="1119"/>
                  </a:lnTo>
                  <a:lnTo>
                    <a:pt x="133" y="1108"/>
                  </a:lnTo>
                  <a:lnTo>
                    <a:pt x="147" y="1100"/>
                  </a:lnTo>
                  <a:lnTo>
                    <a:pt x="151" y="1086"/>
                  </a:lnTo>
                  <a:lnTo>
                    <a:pt x="154" y="1076"/>
                  </a:lnTo>
                  <a:lnTo>
                    <a:pt x="155" y="1068"/>
                  </a:lnTo>
                  <a:lnTo>
                    <a:pt x="157" y="1060"/>
                  </a:lnTo>
                  <a:lnTo>
                    <a:pt x="164" y="1053"/>
                  </a:lnTo>
                  <a:lnTo>
                    <a:pt x="173" y="1043"/>
                  </a:lnTo>
                  <a:lnTo>
                    <a:pt x="177" y="1037"/>
                  </a:lnTo>
                  <a:lnTo>
                    <a:pt x="182" y="1031"/>
                  </a:lnTo>
                  <a:lnTo>
                    <a:pt x="179" y="1025"/>
                  </a:lnTo>
                  <a:lnTo>
                    <a:pt x="177" y="1024"/>
                  </a:lnTo>
                  <a:lnTo>
                    <a:pt x="173" y="1024"/>
                  </a:lnTo>
                  <a:lnTo>
                    <a:pt x="173" y="1022"/>
                  </a:lnTo>
                  <a:lnTo>
                    <a:pt x="175" y="1017"/>
                  </a:lnTo>
                  <a:lnTo>
                    <a:pt x="191" y="990"/>
                  </a:lnTo>
                  <a:lnTo>
                    <a:pt x="206" y="980"/>
                  </a:lnTo>
                  <a:lnTo>
                    <a:pt x="220" y="973"/>
                  </a:lnTo>
                  <a:lnTo>
                    <a:pt x="234" y="965"/>
                  </a:lnTo>
                  <a:lnTo>
                    <a:pt x="246" y="957"/>
                  </a:lnTo>
                  <a:lnTo>
                    <a:pt x="306" y="961"/>
                  </a:lnTo>
                  <a:lnTo>
                    <a:pt x="305" y="959"/>
                  </a:lnTo>
                  <a:lnTo>
                    <a:pt x="306" y="955"/>
                  </a:lnTo>
                  <a:lnTo>
                    <a:pt x="313" y="943"/>
                  </a:lnTo>
                  <a:lnTo>
                    <a:pt x="329" y="924"/>
                  </a:lnTo>
                  <a:lnTo>
                    <a:pt x="330" y="887"/>
                  </a:lnTo>
                  <a:lnTo>
                    <a:pt x="300" y="832"/>
                  </a:lnTo>
                  <a:lnTo>
                    <a:pt x="295" y="833"/>
                  </a:lnTo>
                  <a:lnTo>
                    <a:pt x="292" y="834"/>
                  </a:lnTo>
                  <a:lnTo>
                    <a:pt x="291" y="837"/>
                  </a:lnTo>
                  <a:lnTo>
                    <a:pt x="290" y="840"/>
                  </a:lnTo>
                  <a:lnTo>
                    <a:pt x="292" y="861"/>
                  </a:lnTo>
                  <a:lnTo>
                    <a:pt x="295" y="865"/>
                  </a:lnTo>
                  <a:lnTo>
                    <a:pt x="297" y="869"/>
                  </a:lnTo>
                  <a:lnTo>
                    <a:pt x="300" y="873"/>
                  </a:lnTo>
                  <a:lnTo>
                    <a:pt x="292" y="869"/>
                  </a:lnTo>
                  <a:lnTo>
                    <a:pt x="286" y="870"/>
                  </a:lnTo>
                  <a:lnTo>
                    <a:pt x="283" y="874"/>
                  </a:lnTo>
                  <a:lnTo>
                    <a:pt x="280" y="880"/>
                  </a:lnTo>
                  <a:lnTo>
                    <a:pt x="278" y="896"/>
                  </a:lnTo>
                  <a:lnTo>
                    <a:pt x="277" y="905"/>
                  </a:lnTo>
                  <a:lnTo>
                    <a:pt x="273" y="909"/>
                  </a:lnTo>
                  <a:lnTo>
                    <a:pt x="269" y="909"/>
                  </a:lnTo>
                  <a:lnTo>
                    <a:pt x="261" y="907"/>
                  </a:lnTo>
                  <a:lnTo>
                    <a:pt x="254" y="901"/>
                  </a:lnTo>
                  <a:lnTo>
                    <a:pt x="246" y="898"/>
                  </a:lnTo>
                  <a:lnTo>
                    <a:pt x="238" y="898"/>
                  </a:lnTo>
                  <a:lnTo>
                    <a:pt x="233" y="901"/>
                  </a:lnTo>
                  <a:lnTo>
                    <a:pt x="229" y="908"/>
                  </a:lnTo>
                  <a:lnTo>
                    <a:pt x="226" y="916"/>
                  </a:lnTo>
                  <a:lnTo>
                    <a:pt x="203" y="919"/>
                  </a:lnTo>
                  <a:lnTo>
                    <a:pt x="186" y="898"/>
                  </a:lnTo>
                  <a:lnTo>
                    <a:pt x="186" y="867"/>
                  </a:lnTo>
                  <a:lnTo>
                    <a:pt x="220" y="824"/>
                  </a:lnTo>
                  <a:lnTo>
                    <a:pt x="258" y="728"/>
                  </a:lnTo>
                  <a:lnTo>
                    <a:pt x="276" y="718"/>
                  </a:lnTo>
                  <a:lnTo>
                    <a:pt x="294" y="709"/>
                  </a:lnTo>
                  <a:lnTo>
                    <a:pt x="304" y="705"/>
                  </a:lnTo>
                  <a:lnTo>
                    <a:pt x="314" y="703"/>
                  </a:lnTo>
                  <a:lnTo>
                    <a:pt x="325" y="704"/>
                  </a:lnTo>
                  <a:lnTo>
                    <a:pt x="336" y="709"/>
                  </a:lnTo>
                  <a:lnTo>
                    <a:pt x="372" y="691"/>
                  </a:lnTo>
                  <a:lnTo>
                    <a:pt x="389" y="540"/>
                  </a:lnTo>
                  <a:lnTo>
                    <a:pt x="384" y="534"/>
                  </a:lnTo>
                  <a:lnTo>
                    <a:pt x="380" y="525"/>
                  </a:lnTo>
                  <a:lnTo>
                    <a:pt x="378" y="517"/>
                  </a:lnTo>
                  <a:lnTo>
                    <a:pt x="374" y="510"/>
                  </a:lnTo>
                  <a:lnTo>
                    <a:pt x="354" y="493"/>
                  </a:lnTo>
                  <a:lnTo>
                    <a:pt x="341" y="482"/>
                  </a:lnTo>
                  <a:lnTo>
                    <a:pt x="331" y="477"/>
                  </a:lnTo>
                  <a:lnTo>
                    <a:pt x="337" y="475"/>
                  </a:lnTo>
                  <a:lnTo>
                    <a:pt x="344" y="472"/>
                  </a:lnTo>
                  <a:lnTo>
                    <a:pt x="353" y="465"/>
                  </a:lnTo>
                  <a:lnTo>
                    <a:pt x="350" y="429"/>
                  </a:lnTo>
                  <a:lnTo>
                    <a:pt x="354" y="406"/>
                  </a:lnTo>
                  <a:lnTo>
                    <a:pt x="353" y="389"/>
                  </a:lnTo>
                  <a:lnTo>
                    <a:pt x="349" y="374"/>
                  </a:lnTo>
                  <a:lnTo>
                    <a:pt x="340" y="361"/>
                  </a:lnTo>
                  <a:lnTo>
                    <a:pt x="318" y="337"/>
                  </a:lnTo>
                  <a:lnTo>
                    <a:pt x="307" y="323"/>
                  </a:lnTo>
                  <a:lnTo>
                    <a:pt x="297" y="306"/>
                  </a:lnTo>
                  <a:lnTo>
                    <a:pt x="290" y="309"/>
                  </a:lnTo>
                  <a:lnTo>
                    <a:pt x="286" y="305"/>
                  </a:lnTo>
                  <a:lnTo>
                    <a:pt x="284" y="299"/>
                  </a:lnTo>
                  <a:lnTo>
                    <a:pt x="283" y="291"/>
                  </a:lnTo>
                  <a:lnTo>
                    <a:pt x="280" y="283"/>
                  </a:lnTo>
                  <a:lnTo>
                    <a:pt x="277" y="279"/>
                  </a:lnTo>
                  <a:lnTo>
                    <a:pt x="275" y="277"/>
                  </a:lnTo>
                  <a:lnTo>
                    <a:pt x="273" y="278"/>
                  </a:lnTo>
                  <a:lnTo>
                    <a:pt x="265" y="282"/>
                  </a:lnTo>
                  <a:lnTo>
                    <a:pt x="255" y="278"/>
                  </a:lnTo>
                  <a:lnTo>
                    <a:pt x="243" y="270"/>
                  </a:lnTo>
                  <a:lnTo>
                    <a:pt x="211" y="245"/>
                  </a:lnTo>
                  <a:lnTo>
                    <a:pt x="180" y="220"/>
                  </a:lnTo>
                  <a:lnTo>
                    <a:pt x="164" y="203"/>
                  </a:lnTo>
                  <a:lnTo>
                    <a:pt x="168" y="206"/>
                  </a:lnTo>
                  <a:lnTo>
                    <a:pt x="185" y="187"/>
                  </a:lnTo>
                  <a:lnTo>
                    <a:pt x="187" y="179"/>
                  </a:lnTo>
                  <a:lnTo>
                    <a:pt x="190" y="163"/>
                  </a:lnTo>
                  <a:lnTo>
                    <a:pt x="191" y="156"/>
                  </a:lnTo>
                  <a:lnTo>
                    <a:pt x="190" y="149"/>
                  </a:lnTo>
                  <a:lnTo>
                    <a:pt x="187" y="143"/>
                  </a:lnTo>
                  <a:lnTo>
                    <a:pt x="182" y="140"/>
                  </a:lnTo>
                  <a:lnTo>
                    <a:pt x="186" y="97"/>
                  </a:lnTo>
                  <a:lnTo>
                    <a:pt x="164" y="56"/>
                  </a:lnTo>
                  <a:lnTo>
                    <a:pt x="164" y="52"/>
                  </a:lnTo>
                  <a:lnTo>
                    <a:pt x="186" y="52"/>
                  </a:lnTo>
                  <a:lnTo>
                    <a:pt x="192" y="53"/>
                  </a:lnTo>
                  <a:lnTo>
                    <a:pt x="197" y="55"/>
                  </a:lnTo>
                  <a:lnTo>
                    <a:pt x="202" y="56"/>
                  </a:lnTo>
                  <a:lnTo>
                    <a:pt x="206" y="53"/>
                  </a:lnTo>
                  <a:lnTo>
                    <a:pt x="283" y="70"/>
                  </a:lnTo>
                  <a:lnTo>
                    <a:pt x="286" y="75"/>
                  </a:lnTo>
                  <a:lnTo>
                    <a:pt x="291" y="81"/>
                  </a:lnTo>
                  <a:lnTo>
                    <a:pt x="310" y="95"/>
                  </a:lnTo>
                  <a:lnTo>
                    <a:pt x="329" y="106"/>
                  </a:lnTo>
                  <a:lnTo>
                    <a:pt x="343" y="112"/>
                  </a:lnTo>
                  <a:lnTo>
                    <a:pt x="339" y="120"/>
                  </a:lnTo>
                  <a:lnTo>
                    <a:pt x="339" y="125"/>
                  </a:lnTo>
                  <a:lnTo>
                    <a:pt x="341" y="130"/>
                  </a:lnTo>
                  <a:lnTo>
                    <a:pt x="347" y="133"/>
                  </a:lnTo>
                  <a:lnTo>
                    <a:pt x="362" y="138"/>
                  </a:lnTo>
                  <a:lnTo>
                    <a:pt x="380" y="143"/>
                  </a:lnTo>
                  <a:lnTo>
                    <a:pt x="388" y="142"/>
                  </a:lnTo>
                  <a:lnTo>
                    <a:pt x="394" y="140"/>
                  </a:lnTo>
                  <a:lnTo>
                    <a:pt x="398" y="136"/>
                  </a:lnTo>
                  <a:lnTo>
                    <a:pt x="401" y="129"/>
                  </a:lnTo>
                  <a:lnTo>
                    <a:pt x="462" y="133"/>
                  </a:lnTo>
                  <a:lnTo>
                    <a:pt x="466" y="92"/>
                  </a:lnTo>
                  <a:lnTo>
                    <a:pt x="470" y="101"/>
                  </a:lnTo>
                  <a:lnTo>
                    <a:pt x="472" y="101"/>
                  </a:lnTo>
                  <a:lnTo>
                    <a:pt x="473" y="99"/>
                  </a:lnTo>
                  <a:lnTo>
                    <a:pt x="475" y="89"/>
                  </a:lnTo>
                  <a:lnTo>
                    <a:pt x="476" y="74"/>
                  </a:lnTo>
                  <a:lnTo>
                    <a:pt x="475" y="46"/>
                  </a:lnTo>
                  <a:lnTo>
                    <a:pt x="474" y="40"/>
                  </a:lnTo>
                  <a:lnTo>
                    <a:pt x="472" y="45"/>
                  </a:lnTo>
                  <a:lnTo>
                    <a:pt x="469" y="45"/>
                  </a:lnTo>
                  <a:lnTo>
                    <a:pt x="467" y="44"/>
                  </a:lnTo>
                  <a:lnTo>
                    <a:pt x="467" y="40"/>
                  </a:lnTo>
                  <a:lnTo>
                    <a:pt x="469" y="33"/>
                  </a:lnTo>
                  <a:lnTo>
                    <a:pt x="474" y="26"/>
                  </a:lnTo>
                  <a:lnTo>
                    <a:pt x="481" y="22"/>
                  </a:lnTo>
                  <a:lnTo>
                    <a:pt x="489" y="22"/>
                  </a:lnTo>
                  <a:lnTo>
                    <a:pt x="492" y="23"/>
                  </a:lnTo>
                  <a:lnTo>
                    <a:pt x="495" y="26"/>
                  </a:lnTo>
                  <a:lnTo>
                    <a:pt x="501" y="39"/>
                  </a:lnTo>
                  <a:lnTo>
                    <a:pt x="507" y="47"/>
                  </a:lnTo>
                  <a:lnTo>
                    <a:pt x="512" y="54"/>
                  </a:lnTo>
                  <a:lnTo>
                    <a:pt x="520" y="60"/>
                  </a:lnTo>
                  <a:lnTo>
                    <a:pt x="532" y="64"/>
                  </a:lnTo>
                  <a:lnTo>
                    <a:pt x="535" y="54"/>
                  </a:lnTo>
                  <a:lnTo>
                    <a:pt x="540" y="46"/>
                  </a:lnTo>
                  <a:lnTo>
                    <a:pt x="547" y="41"/>
                  </a:lnTo>
                  <a:lnTo>
                    <a:pt x="554" y="37"/>
                  </a:lnTo>
                  <a:lnTo>
                    <a:pt x="571" y="33"/>
                  </a:lnTo>
                  <a:lnTo>
                    <a:pt x="578" y="31"/>
                  </a:lnTo>
                  <a:lnTo>
                    <a:pt x="586" y="26"/>
                  </a:lnTo>
                  <a:lnTo>
                    <a:pt x="582" y="32"/>
                  </a:lnTo>
                  <a:lnTo>
                    <a:pt x="583" y="38"/>
                  </a:lnTo>
                  <a:lnTo>
                    <a:pt x="587" y="43"/>
                  </a:lnTo>
                  <a:lnTo>
                    <a:pt x="591" y="50"/>
                  </a:lnTo>
                  <a:lnTo>
                    <a:pt x="601" y="60"/>
                  </a:lnTo>
                  <a:lnTo>
                    <a:pt x="610" y="66"/>
                  </a:lnTo>
                  <a:lnTo>
                    <a:pt x="676" y="38"/>
                  </a:lnTo>
                  <a:lnTo>
                    <a:pt x="684" y="19"/>
                  </a:lnTo>
                  <a:lnTo>
                    <a:pt x="688" y="16"/>
                  </a:lnTo>
                  <a:lnTo>
                    <a:pt x="693" y="16"/>
                  </a:lnTo>
                  <a:lnTo>
                    <a:pt x="707" y="22"/>
                  </a:lnTo>
                  <a:lnTo>
                    <a:pt x="733" y="34"/>
                  </a:lnTo>
                  <a:lnTo>
                    <a:pt x="739" y="45"/>
                  </a:lnTo>
                  <a:lnTo>
                    <a:pt x="750" y="62"/>
                  </a:lnTo>
                  <a:lnTo>
                    <a:pt x="752" y="50"/>
                  </a:lnTo>
                  <a:lnTo>
                    <a:pt x="754" y="63"/>
                  </a:lnTo>
                  <a:lnTo>
                    <a:pt x="753" y="64"/>
                  </a:lnTo>
                  <a:lnTo>
                    <a:pt x="750" y="62"/>
                  </a:lnTo>
                  <a:lnTo>
                    <a:pt x="748" y="66"/>
                  </a:lnTo>
                  <a:lnTo>
                    <a:pt x="745" y="71"/>
                  </a:lnTo>
                  <a:lnTo>
                    <a:pt x="738" y="73"/>
                  </a:lnTo>
                  <a:lnTo>
                    <a:pt x="729" y="75"/>
                  </a:lnTo>
                  <a:lnTo>
                    <a:pt x="720" y="77"/>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63" name="Freeform 74"/>
            <p:cNvSpPr>
              <a:spLocks/>
            </p:cNvSpPr>
            <p:nvPr/>
          </p:nvSpPr>
          <p:spPr bwMode="auto">
            <a:xfrm>
              <a:off x="175" y="331"/>
              <a:ext cx="158" cy="27"/>
            </a:xfrm>
            <a:custGeom>
              <a:avLst/>
              <a:gdLst/>
              <a:ahLst/>
              <a:cxnLst>
                <a:cxn ang="0">
                  <a:pos x="412" y="462"/>
                </a:cxn>
                <a:cxn ang="0">
                  <a:pos x="339" y="419"/>
                </a:cxn>
                <a:cxn ang="0">
                  <a:pos x="274" y="375"/>
                </a:cxn>
                <a:cxn ang="0">
                  <a:pos x="217" y="332"/>
                </a:cxn>
                <a:cxn ang="0">
                  <a:pos x="167" y="291"/>
                </a:cxn>
                <a:cxn ang="0">
                  <a:pos x="125" y="255"/>
                </a:cxn>
                <a:cxn ang="0">
                  <a:pos x="92" y="221"/>
                </a:cxn>
                <a:cxn ang="0">
                  <a:pos x="65" y="192"/>
                </a:cxn>
                <a:cxn ang="0">
                  <a:pos x="49" y="170"/>
                </a:cxn>
                <a:cxn ang="0">
                  <a:pos x="24" y="138"/>
                </a:cxn>
                <a:cxn ang="0">
                  <a:pos x="13" y="120"/>
                </a:cxn>
                <a:cxn ang="0">
                  <a:pos x="4" y="101"/>
                </a:cxn>
                <a:cxn ang="0">
                  <a:pos x="1" y="90"/>
                </a:cxn>
                <a:cxn ang="0">
                  <a:pos x="0" y="81"/>
                </a:cxn>
                <a:cxn ang="0">
                  <a:pos x="0" y="71"/>
                </a:cxn>
                <a:cxn ang="0">
                  <a:pos x="1" y="61"/>
                </a:cxn>
                <a:cxn ang="0">
                  <a:pos x="5" y="51"/>
                </a:cxn>
                <a:cxn ang="0">
                  <a:pos x="11" y="41"/>
                </a:cxn>
                <a:cxn ang="0">
                  <a:pos x="18" y="31"/>
                </a:cxn>
                <a:cxn ang="0">
                  <a:pos x="29" y="21"/>
                </a:cxn>
                <a:cxn ang="0">
                  <a:pos x="46" y="7"/>
                </a:cxn>
                <a:cxn ang="0">
                  <a:pos x="58" y="1"/>
                </a:cxn>
                <a:cxn ang="0">
                  <a:pos x="66" y="0"/>
                </a:cxn>
                <a:cxn ang="0">
                  <a:pos x="72" y="2"/>
                </a:cxn>
                <a:cxn ang="0">
                  <a:pos x="77" y="7"/>
                </a:cxn>
                <a:cxn ang="0">
                  <a:pos x="83" y="13"/>
                </a:cxn>
                <a:cxn ang="0">
                  <a:pos x="92" y="18"/>
                </a:cxn>
                <a:cxn ang="0">
                  <a:pos x="106" y="20"/>
                </a:cxn>
                <a:cxn ang="0">
                  <a:pos x="2685" y="20"/>
                </a:cxn>
                <a:cxn ang="0">
                  <a:pos x="2660" y="45"/>
                </a:cxn>
                <a:cxn ang="0">
                  <a:pos x="2636" y="71"/>
                </a:cxn>
                <a:cxn ang="0">
                  <a:pos x="106" y="71"/>
                </a:cxn>
                <a:cxn ang="0">
                  <a:pos x="95" y="70"/>
                </a:cxn>
                <a:cxn ang="0">
                  <a:pos x="82" y="71"/>
                </a:cxn>
                <a:cxn ang="0">
                  <a:pos x="78" y="72"/>
                </a:cxn>
                <a:cxn ang="0">
                  <a:pos x="74" y="74"/>
                </a:cxn>
                <a:cxn ang="0">
                  <a:pos x="72" y="79"/>
                </a:cxn>
                <a:cxn ang="0">
                  <a:pos x="72" y="85"/>
                </a:cxn>
                <a:cxn ang="0">
                  <a:pos x="75" y="93"/>
                </a:cxn>
                <a:cxn ang="0">
                  <a:pos x="79" y="101"/>
                </a:cxn>
                <a:cxn ang="0">
                  <a:pos x="85" y="107"/>
                </a:cxn>
                <a:cxn ang="0">
                  <a:pos x="94" y="112"/>
                </a:cxn>
                <a:cxn ang="0">
                  <a:pos x="102" y="117"/>
                </a:cxn>
                <a:cxn ang="0">
                  <a:pos x="113" y="120"/>
                </a:cxn>
                <a:cxn ang="0">
                  <a:pos x="124" y="122"/>
                </a:cxn>
                <a:cxn ang="0">
                  <a:pos x="137" y="122"/>
                </a:cxn>
                <a:cxn ang="0">
                  <a:pos x="2595" y="122"/>
                </a:cxn>
                <a:cxn ang="0">
                  <a:pos x="2567" y="161"/>
                </a:cxn>
                <a:cxn ang="0">
                  <a:pos x="2544" y="201"/>
                </a:cxn>
                <a:cxn ang="0">
                  <a:pos x="2523" y="242"/>
                </a:cxn>
                <a:cxn ang="0">
                  <a:pos x="2505" y="284"/>
                </a:cxn>
                <a:cxn ang="0">
                  <a:pos x="2490" y="327"/>
                </a:cxn>
                <a:cxn ang="0">
                  <a:pos x="2477" y="371"/>
                </a:cxn>
                <a:cxn ang="0">
                  <a:pos x="2467" y="417"/>
                </a:cxn>
                <a:cxn ang="0">
                  <a:pos x="2460" y="462"/>
                </a:cxn>
                <a:cxn ang="0">
                  <a:pos x="412" y="462"/>
                </a:cxn>
              </a:cxnLst>
              <a:rect l="0" t="0" r="r" b="b"/>
              <a:pathLst>
                <a:path w="2685" h="462">
                  <a:moveTo>
                    <a:pt x="412" y="462"/>
                  </a:moveTo>
                  <a:lnTo>
                    <a:pt x="339" y="419"/>
                  </a:lnTo>
                  <a:lnTo>
                    <a:pt x="274" y="375"/>
                  </a:lnTo>
                  <a:lnTo>
                    <a:pt x="217" y="332"/>
                  </a:lnTo>
                  <a:lnTo>
                    <a:pt x="167" y="291"/>
                  </a:lnTo>
                  <a:lnTo>
                    <a:pt x="125" y="255"/>
                  </a:lnTo>
                  <a:lnTo>
                    <a:pt x="92" y="221"/>
                  </a:lnTo>
                  <a:lnTo>
                    <a:pt x="65" y="192"/>
                  </a:lnTo>
                  <a:lnTo>
                    <a:pt x="49" y="170"/>
                  </a:lnTo>
                  <a:lnTo>
                    <a:pt x="24" y="138"/>
                  </a:lnTo>
                  <a:lnTo>
                    <a:pt x="13" y="120"/>
                  </a:lnTo>
                  <a:lnTo>
                    <a:pt x="4" y="101"/>
                  </a:lnTo>
                  <a:lnTo>
                    <a:pt x="1" y="90"/>
                  </a:lnTo>
                  <a:lnTo>
                    <a:pt x="0" y="81"/>
                  </a:lnTo>
                  <a:lnTo>
                    <a:pt x="0" y="71"/>
                  </a:lnTo>
                  <a:lnTo>
                    <a:pt x="1" y="61"/>
                  </a:lnTo>
                  <a:lnTo>
                    <a:pt x="5" y="51"/>
                  </a:lnTo>
                  <a:lnTo>
                    <a:pt x="11" y="41"/>
                  </a:lnTo>
                  <a:lnTo>
                    <a:pt x="18" y="31"/>
                  </a:lnTo>
                  <a:lnTo>
                    <a:pt x="29" y="21"/>
                  </a:lnTo>
                  <a:lnTo>
                    <a:pt x="46" y="7"/>
                  </a:lnTo>
                  <a:lnTo>
                    <a:pt x="58" y="1"/>
                  </a:lnTo>
                  <a:lnTo>
                    <a:pt x="66" y="0"/>
                  </a:lnTo>
                  <a:lnTo>
                    <a:pt x="72" y="2"/>
                  </a:lnTo>
                  <a:lnTo>
                    <a:pt x="77" y="7"/>
                  </a:lnTo>
                  <a:lnTo>
                    <a:pt x="83" y="13"/>
                  </a:lnTo>
                  <a:lnTo>
                    <a:pt x="92" y="18"/>
                  </a:lnTo>
                  <a:lnTo>
                    <a:pt x="106" y="20"/>
                  </a:lnTo>
                  <a:lnTo>
                    <a:pt x="2685" y="20"/>
                  </a:lnTo>
                  <a:lnTo>
                    <a:pt x="2660" y="45"/>
                  </a:lnTo>
                  <a:lnTo>
                    <a:pt x="2636" y="71"/>
                  </a:lnTo>
                  <a:lnTo>
                    <a:pt x="106" y="71"/>
                  </a:lnTo>
                  <a:lnTo>
                    <a:pt x="95" y="70"/>
                  </a:lnTo>
                  <a:lnTo>
                    <a:pt x="82" y="71"/>
                  </a:lnTo>
                  <a:lnTo>
                    <a:pt x="78" y="72"/>
                  </a:lnTo>
                  <a:lnTo>
                    <a:pt x="74" y="74"/>
                  </a:lnTo>
                  <a:lnTo>
                    <a:pt x="72" y="79"/>
                  </a:lnTo>
                  <a:lnTo>
                    <a:pt x="72" y="85"/>
                  </a:lnTo>
                  <a:lnTo>
                    <a:pt x="75" y="93"/>
                  </a:lnTo>
                  <a:lnTo>
                    <a:pt x="79" y="101"/>
                  </a:lnTo>
                  <a:lnTo>
                    <a:pt x="85" y="107"/>
                  </a:lnTo>
                  <a:lnTo>
                    <a:pt x="94" y="112"/>
                  </a:lnTo>
                  <a:lnTo>
                    <a:pt x="102" y="117"/>
                  </a:lnTo>
                  <a:lnTo>
                    <a:pt x="113" y="120"/>
                  </a:lnTo>
                  <a:lnTo>
                    <a:pt x="124" y="122"/>
                  </a:lnTo>
                  <a:lnTo>
                    <a:pt x="137" y="122"/>
                  </a:lnTo>
                  <a:lnTo>
                    <a:pt x="2595" y="122"/>
                  </a:lnTo>
                  <a:lnTo>
                    <a:pt x="2567" y="161"/>
                  </a:lnTo>
                  <a:lnTo>
                    <a:pt x="2544" y="201"/>
                  </a:lnTo>
                  <a:lnTo>
                    <a:pt x="2523" y="242"/>
                  </a:lnTo>
                  <a:lnTo>
                    <a:pt x="2505" y="284"/>
                  </a:lnTo>
                  <a:lnTo>
                    <a:pt x="2490" y="327"/>
                  </a:lnTo>
                  <a:lnTo>
                    <a:pt x="2477" y="371"/>
                  </a:lnTo>
                  <a:lnTo>
                    <a:pt x="2467" y="417"/>
                  </a:lnTo>
                  <a:lnTo>
                    <a:pt x="2460" y="462"/>
                  </a:lnTo>
                  <a:lnTo>
                    <a:pt x="412" y="462"/>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64" name="Freeform 75"/>
            <p:cNvSpPr>
              <a:spLocks/>
            </p:cNvSpPr>
            <p:nvPr/>
          </p:nvSpPr>
          <p:spPr bwMode="auto">
            <a:xfrm>
              <a:off x="206" y="360"/>
              <a:ext cx="227" cy="102"/>
            </a:xfrm>
            <a:custGeom>
              <a:avLst/>
              <a:gdLst/>
              <a:ahLst/>
              <a:cxnLst>
                <a:cxn ang="0">
                  <a:pos x="83" y="71"/>
                </a:cxn>
                <a:cxn ang="0">
                  <a:pos x="72" y="80"/>
                </a:cxn>
                <a:cxn ang="0">
                  <a:pos x="80" y="101"/>
                </a:cxn>
                <a:cxn ang="0">
                  <a:pos x="103" y="117"/>
                </a:cxn>
                <a:cxn ang="0">
                  <a:pos x="138" y="123"/>
                </a:cxn>
                <a:cxn ang="0">
                  <a:pos x="1943" y="205"/>
                </a:cxn>
                <a:cxn ang="0">
                  <a:pos x="1967" y="331"/>
                </a:cxn>
                <a:cxn ang="0">
                  <a:pos x="2007" y="458"/>
                </a:cxn>
                <a:cxn ang="0">
                  <a:pos x="2072" y="610"/>
                </a:cxn>
                <a:cxn ang="0">
                  <a:pos x="2179" y="789"/>
                </a:cxn>
                <a:cxn ang="0">
                  <a:pos x="2295" y="938"/>
                </a:cxn>
                <a:cxn ang="0">
                  <a:pos x="2423" y="1075"/>
                </a:cxn>
                <a:cxn ang="0">
                  <a:pos x="2562" y="1200"/>
                </a:cxn>
                <a:cxn ang="0">
                  <a:pos x="2712" y="1312"/>
                </a:cxn>
                <a:cxn ang="0">
                  <a:pos x="2873" y="1410"/>
                </a:cxn>
                <a:cxn ang="0">
                  <a:pos x="3044" y="1495"/>
                </a:cxn>
                <a:cxn ang="0">
                  <a:pos x="3222" y="1562"/>
                </a:cxn>
                <a:cxn ang="0">
                  <a:pos x="3408" y="1614"/>
                </a:cxn>
                <a:cxn ang="0">
                  <a:pos x="3600" y="1648"/>
                </a:cxn>
                <a:cxn ang="0">
                  <a:pos x="3799" y="1664"/>
                </a:cxn>
                <a:cxn ang="0">
                  <a:pos x="3797" y="1722"/>
                </a:cxn>
                <a:cxn ang="0">
                  <a:pos x="3593" y="1706"/>
                </a:cxn>
                <a:cxn ang="0">
                  <a:pos x="3395" y="1670"/>
                </a:cxn>
                <a:cxn ang="0">
                  <a:pos x="3204" y="1618"/>
                </a:cxn>
                <a:cxn ang="0">
                  <a:pos x="3020" y="1548"/>
                </a:cxn>
                <a:cxn ang="0">
                  <a:pos x="2845" y="1462"/>
                </a:cxn>
                <a:cxn ang="0">
                  <a:pos x="2680" y="1361"/>
                </a:cxn>
                <a:cxn ang="0">
                  <a:pos x="2525" y="1245"/>
                </a:cxn>
                <a:cxn ang="0">
                  <a:pos x="2382" y="1117"/>
                </a:cxn>
                <a:cxn ang="0">
                  <a:pos x="2250" y="976"/>
                </a:cxn>
                <a:cxn ang="0">
                  <a:pos x="2132" y="823"/>
                </a:cxn>
                <a:cxn ang="0">
                  <a:pos x="2054" y="702"/>
                </a:cxn>
                <a:cxn ang="0">
                  <a:pos x="1996" y="588"/>
                </a:cxn>
                <a:cxn ang="0">
                  <a:pos x="1946" y="462"/>
                </a:cxn>
                <a:cxn ang="0">
                  <a:pos x="274" y="375"/>
                </a:cxn>
                <a:cxn ang="0">
                  <a:pos x="125" y="254"/>
                </a:cxn>
                <a:cxn ang="0">
                  <a:pos x="48" y="171"/>
                </a:cxn>
                <a:cxn ang="0">
                  <a:pos x="5" y="101"/>
                </a:cxn>
                <a:cxn ang="0">
                  <a:pos x="0" y="71"/>
                </a:cxn>
                <a:cxn ang="0">
                  <a:pos x="11" y="42"/>
                </a:cxn>
                <a:cxn ang="0">
                  <a:pos x="47" y="7"/>
                </a:cxn>
                <a:cxn ang="0">
                  <a:pos x="72" y="3"/>
                </a:cxn>
                <a:cxn ang="0">
                  <a:pos x="92" y="19"/>
                </a:cxn>
                <a:cxn ang="0">
                  <a:pos x="1934" y="71"/>
                </a:cxn>
              </a:cxnLst>
              <a:rect l="0" t="0" r="r" b="b"/>
              <a:pathLst>
                <a:path w="3867" h="1723">
                  <a:moveTo>
                    <a:pt x="106" y="71"/>
                  </a:moveTo>
                  <a:lnTo>
                    <a:pt x="96" y="71"/>
                  </a:lnTo>
                  <a:lnTo>
                    <a:pt x="83" y="71"/>
                  </a:lnTo>
                  <a:lnTo>
                    <a:pt x="78" y="72"/>
                  </a:lnTo>
                  <a:lnTo>
                    <a:pt x="75" y="75"/>
                  </a:lnTo>
                  <a:lnTo>
                    <a:pt x="72" y="80"/>
                  </a:lnTo>
                  <a:lnTo>
                    <a:pt x="72" y="85"/>
                  </a:lnTo>
                  <a:lnTo>
                    <a:pt x="76" y="93"/>
                  </a:lnTo>
                  <a:lnTo>
                    <a:pt x="80" y="101"/>
                  </a:lnTo>
                  <a:lnTo>
                    <a:pt x="86" y="107"/>
                  </a:lnTo>
                  <a:lnTo>
                    <a:pt x="94" y="112"/>
                  </a:lnTo>
                  <a:lnTo>
                    <a:pt x="103" y="117"/>
                  </a:lnTo>
                  <a:lnTo>
                    <a:pt x="114" y="120"/>
                  </a:lnTo>
                  <a:lnTo>
                    <a:pt x="125" y="122"/>
                  </a:lnTo>
                  <a:lnTo>
                    <a:pt x="138" y="123"/>
                  </a:lnTo>
                  <a:lnTo>
                    <a:pt x="1935" y="123"/>
                  </a:lnTo>
                  <a:lnTo>
                    <a:pt x="1938" y="164"/>
                  </a:lnTo>
                  <a:lnTo>
                    <a:pt x="1943" y="205"/>
                  </a:lnTo>
                  <a:lnTo>
                    <a:pt x="1950" y="247"/>
                  </a:lnTo>
                  <a:lnTo>
                    <a:pt x="1958" y="289"/>
                  </a:lnTo>
                  <a:lnTo>
                    <a:pt x="1967" y="331"/>
                  </a:lnTo>
                  <a:lnTo>
                    <a:pt x="1979" y="373"/>
                  </a:lnTo>
                  <a:lnTo>
                    <a:pt x="1993" y="415"/>
                  </a:lnTo>
                  <a:lnTo>
                    <a:pt x="2007" y="458"/>
                  </a:lnTo>
                  <a:lnTo>
                    <a:pt x="2008" y="462"/>
                  </a:lnTo>
                  <a:lnTo>
                    <a:pt x="2038" y="539"/>
                  </a:lnTo>
                  <a:lnTo>
                    <a:pt x="2072" y="610"/>
                  </a:lnTo>
                  <a:lnTo>
                    <a:pt x="2106" y="677"/>
                  </a:lnTo>
                  <a:lnTo>
                    <a:pt x="2144" y="737"/>
                  </a:lnTo>
                  <a:lnTo>
                    <a:pt x="2179" y="789"/>
                  </a:lnTo>
                  <a:lnTo>
                    <a:pt x="2217" y="840"/>
                  </a:lnTo>
                  <a:lnTo>
                    <a:pt x="2255" y="889"/>
                  </a:lnTo>
                  <a:lnTo>
                    <a:pt x="2295" y="938"/>
                  </a:lnTo>
                  <a:lnTo>
                    <a:pt x="2336" y="985"/>
                  </a:lnTo>
                  <a:lnTo>
                    <a:pt x="2379" y="1030"/>
                  </a:lnTo>
                  <a:lnTo>
                    <a:pt x="2423" y="1075"/>
                  </a:lnTo>
                  <a:lnTo>
                    <a:pt x="2468" y="1118"/>
                  </a:lnTo>
                  <a:lnTo>
                    <a:pt x="2515" y="1160"/>
                  </a:lnTo>
                  <a:lnTo>
                    <a:pt x="2562" y="1200"/>
                  </a:lnTo>
                  <a:lnTo>
                    <a:pt x="2611" y="1239"/>
                  </a:lnTo>
                  <a:lnTo>
                    <a:pt x="2662" y="1277"/>
                  </a:lnTo>
                  <a:lnTo>
                    <a:pt x="2712" y="1312"/>
                  </a:lnTo>
                  <a:lnTo>
                    <a:pt x="2765" y="1347"/>
                  </a:lnTo>
                  <a:lnTo>
                    <a:pt x="2819" y="1380"/>
                  </a:lnTo>
                  <a:lnTo>
                    <a:pt x="2873" y="1410"/>
                  </a:lnTo>
                  <a:lnTo>
                    <a:pt x="2929" y="1441"/>
                  </a:lnTo>
                  <a:lnTo>
                    <a:pt x="2986" y="1468"/>
                  </a:lnTo>
                  <a:lnTo>
                    <a:pt x="3044" y="1495"/>
                  </a:lnTo>
                  <a:lnTo>
                    <a:pt x="3102" y="1519"/>
                  </a:lnTo>
                  <a:lnTo>
                    <a:pt x="3162" y="1542"/>
                  </a:lnTo>
                  <a:lnTo>
                    <a:pt x="3222" y="1562"/>
                  </a:lnTo>
                  <a:lnTo>
                    <a:pt x="3283" y="1581"/>
                  </a:lnTo>
                  <a:lnTo>
                    <a:pt x="3345" y="1599"/>
                  </a:lnTo>
                  <a:lnTo>
                    <a:pt x="3408" y="1614"/>
                  </a:lnTo>
                  <a:lnTo>
                    <a:pt x="3471" y="1627"/>
                  </a:lnTo>
                  <a:lnTo>
                    <a:pt x="3536" y="1639"/>
                  </a:lnTo>
                  <a:lnTo>
                    <a:pt x="3600" y="1648"/>
                  </a:lnTo>
                  <a:lnTo>
                    <a:pt x="3667" y="1656"/>
                  </a:lnTo>
                  <a:lnTo>
                    <a:pt x="3733" y="1661"/>
                  </a:lnTo>
                  <a:lnTo>
                    <a:pt x="3799" y="1664"/>
                  </a:lnTo>
                  <a:lnTo>
                    <a:pt x="3867" y="1665"/>
                  </a:lnTo>
                  <a:lnTo>
                    <a:pt x="3867" y="1723"/>
                  </a:lnTo>
                  <a:lnTo>
                    <a:pt x="3797" y="1722"/>
                  </a:lnTo>
                  <a:lnTo>
                    <a:pt x="3729" y="1719"/>
                  </a:lnTo>
                  <a:lnTo>
                    <a:pt x="3660" y="1714"/>
                  </a:lnTo>
                  <a:lnTo>
                    <a:pt x="3593" y="1706"/>
                  </a:lnTo>
                  <a:lnTo>
                    <a:pt x="3527" y="1697"/>
                  </a:lnTo>
                  <a:lnTo>
                    <a:pt x="3460" y="1684"/>
                  </a:lnTo>
                  <a:lnTo>
                    <a:pt x="3395" y="1670"/>
                  </a:lnTo>
                  <a:lnTo>
                    <a:pt x="3330" y="1656"/>
                  </a:lnTo>
                  <a:lnTo>
                    <a:pt x="3267" y="1638"/>
                  </a:lnTo>
                  <a:lnTo>
                    <a:pt x="3204" y="1618"/>
                  </a:lnTo>
                  <a:lnTo>
                    <a:pt x="3142" y="1597"/>
                  </a:lnTo>
                  <a:lnTo>
                    <a:pt x="3081" y="1574"/>
                  </a:lnTo>
                  <a:lnTo>
                    <a:pt x="3020" y="1548"/>
                  </a:lnTo>
                  <a:lnTo>
                    <a:pt x="2961" y="1521"/>
                  </a:lnTo>
                  <a:lnTo>
                    <a:pt x="2903" y="1492"/>
                  </a:lnTo>
                  <a:lnTo>
                    <a:pt x="2845" y="1462"/>
                  </a:lnTo>
                  <a:lnTo>
                    <a:pt x="2789" y="1430"/>
                  </a:lnTo>
                  <a:lnTo>
                    <a:pt x="2734" y="1397"/>
                  </a:lnTo>
                  <a:lnTo>
                    <a:pt x="2680" y="1361"/>
                  </a:lnTo>
                  <a:lnTo>
                    <a:pt x="2627" y="1324"/>
                  </a:lnTo>
                  <a:lnTo>
                    <a:pt x="2576" y="1285"/>
                  </a:lnTo>
                  <a:lnTo>
                    <a:pt x="2525" y="1245"/>
                  </a:lnTo>
                  <a:lnTo>
                    <a:pt x="2476" y="1204"/>
                  </a:lnTo>
                  <a:lnTo>
                    <a:pt x="2428" y="1161"/>
                  </a:lnTo>
                  <a:lnTo>
                    <a:pt x="2382" y="1117"/>
                  </a:lnTo>
                  <a:lnTo>
                    <a:pt x="2337" y="1071"/>
                  </a:lnTo>
                  <a:lnTo>
                    <a:pt x="2293" y="1024"/>
                  </a:lnTo>
                  <a:lnTo>
                    <a:pt x="2250" y="976"/>
                  </a:lnTo>
                  <a:lnTo>
                    <a:pt x="2209" y="926"/>
                  </a:lnTo>
                  <a:lnTo>
                    <a:pt x="2169" y="875"/>
                  </a:lnTo>
                  <a:lnTo>
                    <a:pt x="2132" y="823"/>
                  </a:lnTo>
                  <a:lnTo>
                    <a:pt x="2095" y="769"/>
                  </a:lnTo>
                  <a:lnTo>
                    <a:pt x="2074" y="737"/>
                  </a:lnTo>
                  <a:lnTo>
                    <a:pt x="2054" y="702"/>
                  </a:lnTo>
                  <a:lnTo>
                    <a:pt x="2034" y="666"/>
                  </a:lnTo>
                  <a:lnTo>
                    <a:pt x="2015" y="628"/>
                  </a:lnTo>
                  <a:lnTo>
                    <a:pt x="1996" y="588"/>
                  </a:lnTo>
                  <a:lnTo>
                    <a:pt x="1979" y="548"/>
                  </a:lnTo>
                  <a:lnTo>
                    <a:pt x="1962" y="506"/>
                  </a:lnTo>
                  <a:lnTo>
                    <a:pt x="1946" y="462"/>
                  </a:lnTo>
                  <a:lnTo>
                    <a:pt x="412" y="462"/>
                  </a:lnTo>
                  <a:lnTo>
                    <a:pt x="340" y="419"/>
                  </a:lnTo>
                  <a:lnTo>
                    <a:pt x="274" y="375"/>
                  </a:lnTo>
                  <a:lnTo>
                    <a:pt x="218" y="332"/>
                  </a:lnTo>
                  <a:lnTo>
                    <a:pt x="167" y="292"/>
                  </a:lnTo>
                  <a:lnTo>
                    <a:pt x="125" y="254"/>
                  </a:lnTo>
                  <a:lnTo>
                    <a:pt x="91" y="221"/>
                  </a:lnTo>
                  <a:lnTo>
                    <a:pt x="66" y="192"/>
                  </a:lnTo>
                  <a:lnTo>
                    <a:pt x="48" y="171"/>
                  </a:lnTo>
                  <a:lnTo>
                    <a:pt x="24" y="138"/>
                  </a:lnTo>
                  <a:lnTo>
                    <a:pt x="14" y="120"/>
                  </a:lnTo>
                  <a:lnTo>
                    <a:pt x="5" y="101"/>
                  </a:lnTo>
                  <a:lnTo>
                    <a:pt x="2" y="91"/>
                  </a:lnTo>
                  <a:lnTo>
                    <a:pt x="0" y="81"/>
                  </a:lnTo>
                  <a:lnTo>
                    <a:pt x="0" y="71"/>
                  </a:lnTo>
                  <a:lnTo>
                    <a:pt x="2" y="62"/>
                  </a:lnTo>
                  <a:lnTo>
                    <a:pt x="5" y="51"/>
                  </a:lnTo>
                  <a:lnTo>
                    <a:pt x="11" y="42"/>
                  </a:lnTo>
                  <a:lnTo>
                    <a:pt x="19" y="31"/>
                  </a:lnTo>
                  <a:lnTo>
                    <a:pt x="29" y="22"/>
                  </a:lnTo>
                  <a:lnTo>
                    <a:pt x="47" y="7"/>
                  </a:lnTo>
                  <a:lnTo>
                    <a:pt x="59" y="1"/>
                  </a:lnTo>
                  <a:lnTo>
                    <a:pt x="66" y="0"/>
                  </a:lnTo>
                  <a:lnTo>
                    <a:pt x="72" y="3"/>
                  </a:lnTo>
                  <a:lnTo>
                    <a:pt x="77" y="8"/>
                  </a:lnTo>
                  <a:lnTo>
                    <a:pt x="83" y="13"/>
                  </a:lnTo>
                  <a:lnTo>
                    <a:pt x="92" y="19"/>
                  </a:lnTo>
                  <a:lnTo>
                    <a:pt x="107" y="20"/>
                  </a:lnTo>
                  <a:lnTo>
                    <a:pt x="1936" y="20"/>
                  </a:lnTo>
                  <a:lnTo>
                    <a:pt x="1934" y="71"/>
                  </a:lnTo>
                  <a:lnTo>
                    <a:pt x="106" y="71"/>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65" name="Freeform 76"/>
            <p:cNvSpPr>
              <a:spLocks noEditPoints="1"/>
            </p:cNvSpPr>
            <p:nvPr/>
          </p:nvSpPr>
          <p:spPr bwMode="auto">
            <a:xfrm>
              <a:off x="144" y="211"/>
              <a:ext cx="578" cy="243"/>
            </a:xfrm>
            <a:custGeom>
              <a:avLst/>
              <a:gdLst/>
              <a:ahLst/>
              <a:cxnLst>
                <a:cxn ang="0">
                  <a:pos x="6477" y="774"/>
                </a:cxn>
                <a:cxn ang="0">
                  <a:pos x="5672" y="202"/>
                </a:cxn>
                <a:cxn ang="0">
                  <a:pos x="4650" y="76"/>
                </a:cxn>
                <a:cxn ang="0">
                  <a:pos x="3717" y="441"/>
                </a:cxn>
                <a:cxn ang="0">
                  <a:pos x="3073" y="1184"/>
                </a:cxn>
                <a:cxn ang="0">
                  <a:pos x="3518" y="1234"/>
                </a:cxn>
                <a:cxn ang="0">
                  <a:pos x="4053" y="714"/>
                </a:cxn>
                <a:cxn ang="0">
                  <a:pos x="4780" y="478"/>
                </a:cxn>
                <a:cxn ang="0">
                  <a:pos x="5550" y="599"/>
                </a:cxn>
                <a:cxn ang="0">
                  <a:pos x="6158" y="1035"/>
                </a:cxn>
                <a:cxn ang="0">
                  <a:pos x="3256" y="2222"/>
                </a:cxn>
                <a:cxn ang="0">
                  <a:pos x="3110" y="2571"/>
                </a:cxn>
                <a:cxn ang="0">
                  <a:pos x="3325" y="3265"/>
                </a:cxn>
                <a:cxn ang="0">
                  <a:pos x="3827" y="3757"/>
                </a:cxn>
                <a:cxn ang="0">
                  <a:pos x="4482" y="4043"/>
                </a:cxn>
                <a:cxn ang="0">
                  <a:pos x="5225" y="4066"/>
                </a:cxn>
                <a:cxn ang="0">
                  <a:pos x="5900" y="3822"/>
                </a:cxn>
                <a:cxn ang="0">
                  <a:pos x="6433" y="3359"/>
                </a:cxn>
                <a:cxn ang="0">
                  <a:pos x="6721" y="2668"/>
                </a:cxn>
                <a:cxn ang="0">
                  <a:pos x="6612" y="2276"/>
                </a:cxn>
                <a:cxn ang="0">
                  <a:pos x="6347" y="2977"/>
                </a:cxn>
                <a:cxn ang="0">
                  <a:pos x="5683" y="3610"/>
                </a:cxn>
                <a:cxn ang="0">
                  <a:pos x="4749" y="3790"/>
                </a:cxn>
                <a:cxn ang="0">
                  <a:pos x="3886" y="3440"/>
                </a:cxn>
                <a:cxn ang="0">
                  <a:pos x="3350" y="2694"/>
                </a:cxn>
                <a:cxn ang="0">
                  <a:pos x="3349" y="2481"/>
                </a:cxn>
                <a:cxn ang="0">
                  <a:pos x="3791" y="3278"/>
                </a:cxn>
                <a:cxn ang="0">
                  <a:pos x="4595" y="3708"/>
                </a:cxn>
                <a:cxn ang="0">
                  <a:pos x="5532" y="3616"/>
                </a:cxn>
                <a:cxn ang="0">
                  <a:pos x="6234" y="3046"/>
                </a:cxn>
                <a:cxn ang="0">
                  <a:pos x="6516" y="2162"/>
                </a:cxn>
                <a:cxn ang="0">
                  <a:pos x="6338" y="1732"/>
                </a:cxn>
                <a:cxn ang="0">
                  <a:pos x="6076" y="1031"/>
                </a:cxn>
                <a:cxn ang="0">
                  <a:pos x="5471" y="632"/>
                </a:cxn>
                <a:cxn ang="0">
                  <a:pos x="4721" y="543"/>
                </a:cxn>
                <a:cxn ang="0">
                  <a:pos x="4030" y="798"/>
                </a:cxn>
                <a:cxn ang="0">
                  <a:pos x="3533" y="1321"/>
                </a:cxn>
                <a:cxn ang="0">
                  <a:pos x="3481" y="2041"/>
                </a:cxn>
                <a:cxn ang="0">
                  <a:pos x="9689" y="1676"/>
                </a:cxn>
                <a:cxn ang="0">
                  <a:pos x="9743" y="1625"/>
                </a:cxn>
                <a:cxn ang="0">
                  <a:pos x="6574" y="2135"/>
                </a:cxn>
                <a:cxn ang="0">
                  <a:pos x="6770" y="2663"/>
                </a:cxn>
                <a:cxn ang="0">
                  <a:pos x="6620" y="3177"/>
                </a:cxn>
                <a:cxn ang="0">
                  <a:pos x="6175" y="3692"/>
                </a:cxn>
                <a:cxn ang="0">
                  <a:pos x="5536" y="4043"/>
                </a:cxn>
                <a:cxn ang="0">
                  <a:pos x="4784" y="4137"/>
                </a:cxn>
                <a:cxn ang="0">
                  <a:pos x="4062" y="3951"/>
                </a:cxn>
                <a:cxn ang="0">
                  <a:pos x="3475" y="3528"/>
                </a:cxn>
                <a:cxn ang="0">
                  <a:pos x="3135" y="3024"/>
                </a:cxn>
                <a:cxn ang="0">
                  <a:pos x="3072" y="2476"/>
                </a:cxn>
                <a:cxn ang="0">
                  <a:pos x="3441" y="1999"/>
                </a:cxn>
                <a:cxn ang="0">
                  <a:pos x="73" y="1639"/>
                </a:cxn>
                <a:cxn ang="0">
                  <a:pos x="3370" y="1955"/>
                </a:cxn>
                <a:cxn ang="0">
                  <a:pos x="125" y="1808"/>
                </a:cxn>
                <a:cxn ang="0">
                  <a:pos x="11" y="1595"/>
                </a:cxn>
                <a:cxn ang="0">
                  <a:pos x="2884" y="1490"/>
                </a:cxn>
                <a:cxn ang="0">
                  <a:pos x="3416" y="618"/>
                </a:cxn>
                <a:cxn ang="0">
                  <a:pos x="4295" y="92"/>
                </a:cxn>
                <a:cxn ang="0">
                  <a:pos x="5363" y="47"/>
                </a:cxn>
                <a:cxn ang="0">
                  <a:pos x="6286" y="502"/>
                </a:cxn>
                <a:cxn ang="0">
                  <a:pos x="6885" y="1326"/>
                </a:cxn>
                <a:cxn ang="0">
                  <a:pos x="9798" y="1575"/>
                </a:cxn>
                <a:cxn ang="0">
                  <a:pos x="9734" y="1775"/>
                </a:cxn>
              </a:cxnLst>
              <a:rect l="0" t="0" r="r" b="b"/>
              <a:pathLst>
                <a:path w="9826" h="4142">
                  <a:moveTo>
                    <a:pt x="6908" y="1574"/>
                  </a:moveTo>
                  <a:lnTo>
                    <a:pt x="6884" y="1493"/>
                  </a:lnTo>
                  <a:lnTo>
                    <a:pt x="6856" y="1414"/>
                  </a:lnTo>
                  <a:lnTo>
                    <a:pt x="6825" y="1335"/>
                  </a:lnTo>
                  <a:lnTo>
                    <a:pt x="6792" y="1259"/>
                  </a:lnTo>
                  <a:lnTo>
                    <a:pt x="6755" y="1184"/>
                  </a:lnTo>
                  <a:lnTo>
                    <a:pt x="6716" y="1111"/>
                  </a:lnTo>
                  <a:lnTo>
                    <a:pt x="6673" y="1039"/>
                  </a:lnTo>
                  <a:lnTo>
                    <a:pt x="6627" y="970"/>
                  </a:lnTo>
                  <a:lnTo>
                    <a:pt x="6580" y="902"/>
                  </a:lnTo>
                  <a:lnTo>
                    <a:pt x="6530" y="837"/>
                  </a:lnTo>
                  <a:lnTo>
                    <a:pt x="6477" y="774"/>
                  </a:lnTo>
                  <a:lnTo>
                    <a:pt x="6421" y="712"/>
                  </a:lnTo>
                  <a:lnTo>
                    <a:pt x="6363" y="653"/>
                  </a:lnTo>
                  <a:lnTo>
                    <a:pt x="6303" y="596"/>
                  </a:lnTo>
                  <a:lnTo>
                    <a:pt x="6241" y="542"/>
                  </a:lnTo>
                  <a:lnTo>
                    <a:pt x="6177" y="489"/>
                  </a:lnTo>
                  <a:lnTo>
                    <a:pt x="6111" y="441"/>
                  </a:lnTo>
                  <a:lnTo>
                    <a:pt x="6042" y="394"/>
                  </a:lnTo>
                  <a:lnTo>
                    <a:pt x="5972" y="349"/>
                  </a:lnTo>
                  <a:lnTo>
                    <a:pt x="5899" y="308"/>
                  </a:lnTo>
                  <a:lnTo>
                    <a:pt x="5826" y="270"/>
                  </a:lnTo>
                  <a:lnTo>
                    <a:pt x="5750" y="235"/>
                  </a:lnTo>
                  <a:lnTo>
                    <a:pt x="5672" y="202"/>
                  </a:lnTo>
                  <a:lnTo>
                    <a:pt x="5593" y="173"/>
                  </a:lnTo>
                  <a:lnTo>
                    <a:pt x="5512" y="147"/>
                  </a:lnTo>
                  <a:lnTo>
                    <a:pt x="5431" y="124"/>
                  </a:lnTo>
                  <a:lnTo>
                    <a:pt x="5347" y="104"/>
                  </a:lnTo>
                  <a:lnTo>
                    <a:pt x="5263" y="88"/>
                  </a:lnTo>
                  <a:lnTo>
                    <a:pt x="5178" y="76"/>
                  </a:lnTo>
                  <a:lnTo>
                    <a:pt x="5090" y="66"/>
                  </a:lnTo>
                  <a:lnTo>
                    <a:pt x="5003" y="61"/>
                  </a:lnTo>
                  <a:lnTo>
                    <a:pt x="4914" y="59"/>
                  </a:lnTo>
                  <a:lnTo>
                    <a:pt x="4825" y="61"/>
                  </a:lnTo>
                  <a:lnTo>
                    <a:pt x="4737" y="66"/>
                  </a:lnTo>
                  <a:lnTo>
                    <a:pt x="4650" y="76"/>
                  </a:lnTo>
                  <a:lnTo>
                    <a:pt x="4564" y="88"/>
                  </a:lnTo>
                  <a:lnTo>
                    <a:pt x="4480" y="104"/>
                  </a:lnTo>
                  <a:lnTo>
                    <a:pt x="4397" y="124"/>
                  </a:lnTo>
                  <a:lnTo>
                    <a:pt x="4315" y="147"/>
                  </a:lnTo>
                  <a:lnTo>
                    <a:pt x="4235" y="173"/>
                  </a:lnTo>
                  <a:lnTo>
                    <a:pt x="4156" y="202"/>
                  </a:lnTo>
                  <a:lnTo>
                    <a:pt x="4078" y="235"/>
                  </a:lnTo>
                  <a:lnTo>
                    <a:pt x="4002" y="270"/>
                  </a:lnTo>
                  <a:lnTo>
                    <a:pt x="3929" y="308"/>
                  </a:lnTo>
                  <a:lnTo>
                    <a:pt x="3856" y="349"/>
                  </a:lnTo>
                  <a:lnTo>
                    <a:pt x="3786" y="394"/>
                  </a:lnTo>
                  <a:lnTo>
                    <a:pt x="3717" y="441"/>
                  </a:lnTo>
                  <a:lnTo>
                    <a:pt x="3651" y="489"/>
                  </a:lnTo>
                  <a:lnTo>
                    <a:pt x="3587" y="542"/>
                  </a:lnTo>
                  <a:lnTo>
                    <a:pt x="3525" y="596"/>
                  </a:lnTo>
                  <a:lnTo>
                    <a:pt x="3464" y="653"/>
                  </a:lnTo>
                  <a:lnTo>
                    <a:pt x="3407" y="712"/>
                  </a:lnTo>
                  <a:lnTo>
                    <a:pt x="3351" y="774"/>
                  </a:lnTo>
                  <a:lnTo>
                    <a:pt x="3298" y="837"/>
                  </a:lnTo>
                  <a:lnTo>
                    <a:pt x="3248" y="902"/>
                  </a:lnTo>
                  <a:lnTo>
                    <a:pt x="3201" y="970"/>
                  </a:lnTo>
                  <a:lnTo>
                    <a:pt x="3155" y="1039"/>
                  </a:lnTo>
                  <a:lnTo>
                    <a:pt x="3112" y="1111"/>
                  </a:lnTo>
                  <a:lnTo>
                    <a:pt x="3073" y="1184"/>
                  </a:lnTo>
                  <a:lnTo>
                    <a:pt x="3036" y="1259"/>
                  </a:lnTo>
                  <a:lnTo>
                    <a:pt x="3003" y="1335"/>
                  </a:lnTo>
                  <a:lnTo>
                    <a:pt x="2972" y="1414"/>
                  </a:lnTo>
                  <a:lnTo>
                    <a:pt x="2945" y="1493"/>
                  </a:lnTo>
                  <a:lnTo>
                    <a:pt x="2921" y="1574"/>
                  </a:lnTo>
                  <a:lnTo>
                    <a:pt x="3350" y="1574"/>
                  </a:lnTo>
                  <a:lnTo>
                    <a:pt x="3373" y="1514"/>
                  </a:lnTo>
                  <a:lnTo>
                    <a:pt x="3398" y="1456"/>
                  </a:lnTo>
                  <a:lnTo>
                    <a:pt x="3425" y="1398"/>
                  </a:lnTo>
                  <a:lnTo>
                    <a:pt x="3454" y="1342"/>
                  </a:lnTo>
                  <a:lnTo>
                    <a:pt x="3486" y="1287"/>
                  </a:lnTo>
                  <a:lnTo>
                    <a:pt x="3518" y="1234"/>
                  </a:lnTo>
                  <a:lnTo>
                    <a:pt x="3554" y="1182"/>
                  </a:lnTo>
                  <a:lnTo>
                    <a:pt x="3591" y="1132"/>
                  </a:lnTo>
                  <a:lnTo>
                    <a:pt x="3630" y="1082"/>
                  </a:lnTo>
                  <a:lnTo>
                    <a:pt x="3670" y="1034"/>
                  </a:lnTo>
                  <a:lnTo>
                    <a:pt x="3712" y="988"/>
                  </a:lnTo>
                  <a:lnTo>
                    <a:pt x="3756" y="943"/>
                  </a:lnTo>
                  <a:lnTo>
                    <a:pt x="3802" y="901"/>
                  </a:lnTo>
                  <a:lnTo>
                    <a:pt x="3850" y="860"/>
                  </a:lnTo>
                  <a:lnTo>
                    <a:pt x="3898" y="820"/>
                  </a:lnTo>
                  <a:lnTo>
                    <a:pt x="3949" y="783"/>
                  </a:lnTo>
                  <a:lnTo>
                    <a:pt x="4000" y="747"/>
                  </a:lnTo>
                  <a:lnTo>
                    <a:pt x="4053" y="714"/>
                  </a:lnTo>
                  <a:lnTo>
                    <a:pt x="4108" y="682"/>
                  </a:lnTo>
                  <a:lnTo>
                    <a:pt x="4163" y="653"/>
                  </a:lnTo>
                  <a:lnTo>
                    <a:pt x="4220" y="624"/>
                  </a:lnTo>
                  <a:lnTo>
                    <a:pt x="4279" y="599"/>
                  </a:lnTo>
                  <a:lnTo>
                    <a:pt x="4338" y="576"/>
                  </a:lnTo>
                  <a:lnTo>
                    <a:pt x="4398" y="555"/>
                  </a:lnTo>
                  <a:lnTo>
                    <a:pt x="4460" y="536"/>
                  </a:lnTo>
                  <a:lnTo>
                    <a:pt x="4522" y="520"/>
                  </a:lnTo>
                  <a:lnTo>
                    <a:pt x="4585" y="505"/>
                  </a:lnTo>
                  <a:lnTo>
                    <a:pt x="4649" y="494"/>
                  </a:lnTo>
                  <a:lnTo>
                    <a:pt x="4715" y="485"/>
                  </a:lnTo>
                  <a:lnTo>
                    <a:pt x="4780" y="478"/>
                  </a:lnTo>
                  <a:lnTo>
                    <a:pt x="4846" y="475"/>
                  </a:lnTo>
                  <a:lnTo>
                    <a:pt x="4914" y="473"/>
                  </a:lnTo>
                  <a:lnTo>
                    <a:pt x="4981" y="475"/>
                  </a:lnTo>
                  <a:lnTo>
                    <a:pt x="5048" y="478"/>
                  </a:lnTo>
                  <a:lnTo>
                    <a:pt x="5113" y="485"/>
                  </a:lnTo>
                  <a:lnTo>
                    <a:pt x="5179" y="494"/>
                  </a:lnTo>
                  <a:lnTo>
                    <a:pt x="5243" y="505"/>
                  </a:lnTo>
                  <a:lnTo>
                    <a:pt x="5306" y="520"/>
                  </a:lnTo>
                  <a:lnTo>
                    <a:pt x="5369" y="536"/>
                  </a:lnTo>
                  <a:lnTo>
                    <a:pt x="5430" y="555"/>
                  </a:lnTo>
                  <a:lnTo>
                    <a:pt x="5490" y="576"/>
                  </a:lnTo>
                  <a:lnTo>
                    <a:pt x="5550" y="599"/>
                  </a:lnTo>
                  <a:lnTo>
                    <a:pt x="5608" y="624"/>
                  </a:lnTo>
                  <a:lnTo>
                    <a:pt x="5665" y="653"/>
                  </a:lnTo>
                  <a:lnTo>
                    <a:pt x="5721" y="682"/>
                  </a:lnTo>
                  <a:lnTo>
                    <a:pt x="5775" y="714"/>
                  </a:lnTo>
                  <a:lnTo>
                    <a:pt x="5828" y="747"/>
                  </a:lnTo>
                  <a:lnTo>
                    <a:pt x="5880" y="783"/>
                  </a:lnTo>
                  <a:lnTo>
                    <a:pt x="5930" y="820"/>
                  </a:lnTo>
                  <a:lnTo>
                    <a:pt x="5979" y="860"/>
                  </a:lnTo>
                  <a:lnTo>
                    <a:pt x="6027" y="901"/>
                  </a:lnTo>
                  <a:lnTo>
                    <a:pt x="6072" y="943"/>
                  </a:lnTo>
                  <a:lnTo>
                    <a:pt x="6116" y="988"/>
                  </a:lnTo>
                  <a:lnTo>
                    <a:pt x="6158" y="1035"/>
                  </a:lnTo>
                  <a:lnTo>
                    <a:pt x="6199" y="1082"/>
                  </a:lnTo>
                  <a:lnTo>
                    <a:pt x="6238" y="1132"/>
                  </a:lnTo>
                  <a:lnTo>
                    <a:pt x="6275" y="1182"/>
                  </a:lnTo>
                  <a:lnTo>
                    <a:pt x="6310" y="1234"/>
                  </a:lnTo>
                  <a:lnTo>
                    <a:pt x="6342" y="1287"/>
                  </a:lnTo>
                  <a:lnTo>
                    <a:pt x="6374" y="1342"/>
                  </a:lnTo>
                  <a:lnTo>
                    <a:pt x="6403" y="1398"/>
                  </a:lnTo>
                  <a:lnTo>
                    <a:pt x="6430" y="1456"/>
                  </a:lnTo>
                  <a:lnTo>
                    <a:pt x="6455" y="1514"/>
                  </a:lnTo>
                  <a:lnTo>
                    <a:pt x="6477" y="1574"/>
                  </a:lnTo>
                  <a:lnTo>
                    <a:pt x="6908" y="1574"/>
                  </a:lnTo>
                  <a:close/>
                  <a:moveTo>
                    <a:pt x="3256" y="2222"/>
                  </a:moveTo>
                  <a:lnTo>
                    <a:pt x="3235" y="2249"/>
                  </a:lnTo>
                  <a:lnTo>
                    <a:pt x="3216" y="2275"/>
                  </a:lnTo>
                  <a:lnTo>
                    <a:pt x="3200" y="2302"/>
                  </a:lnTo>
                  <a:lnTo>
                    <a:pt x="3184" y="2331"/>
                  </a:lnTo>
                  <a:lnTo>
                    <a:pt x="3169" y="2359"/>
                  </a:lnTo>
                  <a:lnTo>
                    <a:pt x="3156" y="2388"/>
                  </a:lnTo>
                  <a:lnTo>
                    <a:pt x="3145" y="2417"/>
                  </a:lnTo>
                  <a:lnTo>
                    <a:pt x="3135" y="2448"/>
                  </a:lnTo>
                  <a:lnTo>
                    <a:pt x="3127" y="2478"/>
                  </a:lnTo>
                  <a:lnTo>
                    <a:pt x="3121" y="2509"/>
                  </a:lnTo>
                  <a:lnTo>
                    <a:pt x="3114" y="2540"/>
                  </a:lnTo>
                  <a:lnTo>
                    <a:pt x="3110" y="2571"/>
                  </a:lnTo>
                  <a:lnTo>
                    <a:pt x="3108" y="2603"/>
                  </a:lnTo>
                  <a:lnTo>
                    <a:pt x="3106" y="2635"/>
                  </a:lnTo>
                  <a:lnTo>
                    <a:pt x="3107" y="2699"/>
                  </a:lnTo>
                  <a:lnTo>
                    <a:pt x="3114" y="2765"/>
                  </a:lnTo>
                  <a:lnTo>
                    <a:pt x="3125" y="2830"/>
                  </a:lnTo>
                  <a:lnTo>
                    <a:pt x="3142" y="2896"/>
                  </a:lnTo>
                  <a:lnTo>
                    <a:pt x="3163" y="2961"/>
                  </a:lnTo>
                  <a:lnTo>
                    <a:pt x="3188" y="3027"/>
                  </a:lnTo>
                  <a:lnTo>
                    <a:pt x="3219" y="3091"/>
                  </a:lnTo>
                  <a:lnTo>
                    <a:pt x="3252" y="3154"/>
                  </a:lnTo>
                  <a:lnTo>
                    <a:pt x="3291" y="3215"/>
                  </a:lnTo>
                  <a:lnTo>
                    <a:pt x="3325" y="3265"/>
                  </a:lnTo>
                  <a:lnTo>
                    <a:pt x="3360" y="3312"/>
                  </a:lnTo>
                  <a:lnTo>
                    <a:pt x="3395" y="3359"/>
                  </a:lnTo>
                  <a:lnTo>
                    <a:pt x="3433" y="3405"/>
                  </a:lnTo>
                  <a:lnTo>
                    <a:pt x="3472" y="3449"/>
                  </a:lnTo>
                  <a:lnTo>
                    <a:pt x="3512" y="3492"/>
                  </a:lnTo>
                  <a:lnTo>
                    <a:pt x="3553" y="3534"/>
                  </a:lnTo>
                  <a:lnTo>
                    <a:pt x="3596" y="3574"/>
                  </a:lnTo>
                  <a:lnTo>
                    <a:pt x="3640" y="3614"/>
                  </a:lnTo>
                  <a:lnTo>
                    <a:pt x="3686" y="3652"/>
                  </a:lnTo>
                  <a:lnTo>
                    <a:pt x="3731" y="3689"/>
                  </a:lnTo>
                  <a:lnTo>
                    <a:pt x="3778" y="3724"/>
                  </a:lnTo>
                  <a:lnTo>
                    <a:pt x="3827" y="3757"/>
                  </a:lnTo>
                  <a:lnTo>
                    <a:pt x="3877" y="3790"/>
                  </a:lnTo>
                  <a:lnTo>
                    <a:pt x="3928" y="3822"/>
                  </a:lnTo>
                  <a:lnTo>
                    <a:pt x="3978" y="3851"/>
                  </a:lnTo>
                  <a:lnTo>
                    <a:pt x="4031" y="3878"/>
                  </a:lnTo>
                  <a:lnTo>
                    <a:pt x="4084" y="3905"/>
                  </a:lnTo>
                  <a:lnTo>
                    <a:pt x="4139" y="3930"/>
                  </a:lnTo>
                  <a:lnTo>
                    <a:pt x="4194" y="3952"/>
                  </a:lnTo>
                  <a:lnTo>
                    <a:pt x="4250" y="3974"/>
                  </a:lnTo>
                  <a:lnTo>
                    <a:pt x="4307" y="3993"/>
                  </a:lnTo>
                  <a:lnTo>
                    <a:pt x="4364" y="4012"/>
                  </a:lnTo>
                  <a:lnTo>
                    <a:pt x="4423" y="4028"/>
                  </a:lnTo>
                  <a:lnTo>
                    <a:pt x="4482" y="4043"/>
                  </a:lnTo>
                  <a:lnTo>
                    <a:pt x="4542" y="4055"/>
                  </a:lnTo>
                  <a:lnTo>
                    <a:pt x="4602" y="4066"/>
                  </a:lnTo>
                  <a:lnTo>
                    <a:pt x="4663" y="4074"/>
                  </a:lnTo>
                  <a:lnTo>
                    <a:pt x="4725" y="4082"/>
                  </a:lnTo>
                  <a:lnTo>
                    <a:pt x="4787" y="4087"/>
                  </a:lnTo>
                  <a:lnTo>
                    <a:pt x="4850" y="4089"/>
                  </a:lnTo>
                  <a:lnTo>
                    <a:pt x="4914" y="4090"/>
                  </a:lnTo>
                  <a:lnTo>
                    <a:pt x="4978" y="4089"/>
                  </a:lnTo>
                  <a:lnTo>
                    <a:pt x="5040" y="4087"/>
                  </a:lnTo>
                  <a:lnTo>
                    <a:pt x="5102" y="4082"/>
                  </a:lnTo>
                  <a:lnTo>
                    <a:pt x="5164" y="4074"/>
                  </a:lnTo>
                  <a:lnTo>
                    <a:pt x="5225" y="4066"/>
                  </a:lnTo>
                  <a:lnTo>
                    <a:pt x="5286" y="4055"/>
                  </a:lnTo>
                  <a:lnTo>
                    <a:pt x="5346" y="4043"/>
                  </a:lnTo>
                  <a:lnTo>
                    <a:pt x="5405" y="4028"/>
                  </a:lnTo>
                  <a:lnTo>
                    <a:pt x="5463" y="4012"/>
                  </a:lnTo>
                  <a:lnTo>
                    <a:pt x="5521" y="3993"/>
                  </a:lnTo>
                  <a:lnTo>
                    <a:pt x="5577" y="3974"/>
                  </a:lnTo>
                  <a:lnTo>
                    <a:pt x="5633" y="3952"/>
                  </a:lnTo>
                  <a:lnTo>
                    <a:pt x="5689" y="3930"/>
                  </a:lnTo>
                  <a:lnTo>
                    <a:pt x="5743" y="3905"/>
                  </a:lnTo>
                  <a:lnTo>
                    <a:pt x="5796" y="3878"/>
                  </a:lnTo>
                  <a:lnTo>
                    <a:pt x="5849" y="3851"/>
                  </a:lnTo>
                  <a:lnTo>
                    <a:pt x="5900" y="3822"/>
                  </a:lnTo>
                  <a:lnTo>
                    <a:pt x="5951" y="3790"/>
                  </a:lnTo>
                  <a:lnTo>
                    <a:pt x="6000" y="3757"/>
                  </a:lnTo>
                  <a:lnTo>
                    <a:pt x="6049" y="3724"/>
                  </a:lnTo>
                  <a:lnTo>
                    <a:pt x="6096" y="3689"/>
                  </a:lnTo>
                  <a:lnTo>
                    <a:pt x="6142" y="3652"/>
                  </a:lnTo>
                  <a:lnTo>
                    <a:pt x="6188" y="3614"/>
                  </a:lnTo>
                  <a:lnTo>
                    <a:pt x="6232" y="3574"/>
                  </a:lnTo>
                  <a:lnTo>
                    <a:pt x="6274" y="3534"/>
                  </a:lnTo>
                  <a:lnTo>
                    <a:pt x="6316" y="3492"/>
                  </a:lnTo>
                  <a:lnTo>
                    <a:pt x="6356" y="3449"/>
                  </a:lnTo>
                  <a:lnTo>
                    <a:pt x="6395" y="3405"/>
                  </a:lnTo>
                  <a:lnTo>
                    <a:pt x="6433" y="3359"/>
                  </a:lnTo>
                  <a:lnTo>
                    <a:pt x="6469" y="3312"/>
                  </a:lnTo>
                  <a:lnTo>
                    <a:pt x="6503" y="3265"/>
                  </a:lnTo>
                  <a:lnTo>
                    <a:pt x="6537" y="3215"/>
                  </a:lnTo>
                  <a:lnTo>
                    <a:pt x="6575" y="3154"/>
                  </a:lnTo>
                  <a:lnTo>
                    <a:pt x="6610" y="3091"/>
                  </a:lnTo>
                  <a:lnTo>
                    <a:pt x="6640" y="3027"/>
                  </a:lnTo>
                  <a:lnTo>
                    <a:pt x="6665" y="2961"/>
                  </a:lnTo>
                  <a:lnTo>
                    <a:pt x="6686" y="2896"/>
                  </a:lnTo>
                  <a:lnTo>
                    <a:pt x="6702" y="2831"/>
                  </a:lnTo>
                  <a:lnTo>
                    <a:pt x="6714" y="2765"/>
                  </a:lnTo>
                  <a:lnTo>
                    <a:pt x="6720" y="2699"/>
                  </a:lnTo>
                  <a:lnTo>
                    <a:pt x="6721" y="2668"/>
                  </a:lnTo>
                  <a:lnTo>
                    <a:pt x="6721" y="2635"/>
                  </a:lnTo>
                  <a:lnTo>
                    <a:pt x="6717" y="2572"/>
                  </a:lnTo>
                  <a:lnTo>
                    <a:pt x="6713" y="2540"/>
                  </a:lnTo>
                  <a:lnTo>
                    <a:pt x="6707" y="2509"/>
                  </a:lnTo>
                  <a:lnTo>
                    <a:pt x="6701" y="2478"/>
                  </a:lnTo>
                  <a:lnTo>
                    <a:pt x="6693" y="2448"/>
                  </a:lnTo>
                  <a:lnTo>
                    <a:pt x="6682" y="2418"/>
                  </a:lnTo>
                  <a:lnTo>
                    <a:pt x="6672" y="2389"/>
                  </a:lnTo>
                  <a:lnTo>
                    <a:pt x="6659" y="2359"/>
                  </a:lnTo>
                  <a:lnTo>
                    <a:pt x="6644" y="2331"/>
                  </a:lnTo>
                  <a:lnTo>
                    <a:pt x="6629" y="2303"/>
                  </a:lnTo>
                  <a:lnTo>
                    <a:pt x="6612" y="2276"/>
                  </a:lnTo>
                  <a:lnTo>
                    <a:pt x="6593" y="2249"/>
                  </a:lnTo>
                  <a:lnTo>
                    <a:pt x="6572" y="2223"/>
                  </a:lnTo>
                  <a:lnTo>
                    <a:pt x="6565" y="2304"/>
                  </a:lnTo>
                  <a:lnTo>
                    <a:pt x="6556" y="2386"/>
                  </a:lnTo>
                  <a:lnTo>
                    <a:pt x="6542" y="2464"/>
                  </a:lnTo>
                  <a:lnTo>
                    <a:pt x="6524" y="2542"/>
                  </a:lnTo>
                  <a:lnTo>
                    <a:pt x="6503" y="2619"/>
                  </a:lnTo>
                  <a:lnTo>
                    <a:pt x="6478" y="2694"/>
                  </a:lnTo>
                  <a:lnTo>
                    <a:pt x="6450" y="2768"/>
                  </a:lnTo>
                  <a:lnTo>
                    <a:pt x="6419" y="2839"/>
                  </a:lnTo>
                  <a:lnTo>
                    <a:pt x="6384" y="2909"/>
                  </a:lnTo>
                  <a:lnTo>
                    <a:pt x="6347" y="2977"/>
                  </a:lnTo>
                  <a:lnTo>
                    <a:pt x="6306" y="3044"/>
                  </a:lnTo>
                  <a:lnTo>
                    <a:pt x="6261" y="3107"/>
                  </a:lnTo>
                  <a:lnTo>
                    <a:pt x="6215" y="3169"/>
                  </a:lnTo>
                  <a:lnTo>
                    <a:pt x="6166" y="3228"/>
                  </a:lnTo>
                  <a:lnTo>
                    <a:pt x="6114" y="3286"/>
                  </a:lnTo>
                  <a:lnTo>
                    <a:pt x="6059" y="3339"/>
                  </a:lnTo>
                  <a:lnTo>
                    <a:pt x="6002" y="3392"/>
                  </a:lnTo>
                  <a:lnTo>
                    <a:pt x="5943" y="3441"/>
                  </a:lnTo>
                  <a:lnTo>
                    <a:pt x="5880" y="3488"/>
                  </a:lnTo>
                  <a:lnTo>
                    <a:pt x="5817" y="3531"/>
                  </a:lnTo>
                  <a:lnTo>
                    <a:pt x="5751" y="3572"/>
                  </a:lnTo>
                  <a:lnTo>
                    <a:pt x="5683" y="3610"/>
                  </a:lnTo>
                  <a:lnTo>
                    <a:pt x="5613" y="3644"/>
                  </a:lnTo>
                  <a:lnTo>
                    <a:pt x="5542" y="3675"/>
                  </a:lnTo>
                  <a:lnTo>
                    <a:pt x="5468" y="3704"/>
                  </a:lnTo>
                  <a:lnTo>
                    <a:pt x="5393" y="3728"/>
                  </a:lnTo>
                  <a:lnTo>
                    <a:pt x="5316" y="3749"/>
                  </a:lnTo>
                  <a:lnTo>
                    <a:pt x="5239" y="3767"/>
                  </a:lnTo>
                  <a:lnTo>
                    <a:pt x="5159" y="3780"/>
                  </a:lnTo>
                  <a:lnTo>
                    <a:pt x="5079" y="3790"/>
                  </a:lnTo>
                  <a:lnTo>
                    <a:pt x="4997" y="3796"/>
                  </a:lnTo>
                  <a:lnTo>
                    <a:pt x="4914" y="3798"/>
                  </a:lnTo>
                  <a:lnTo>
                    <a:pt x="4831" y="3796"/>
                  </a:lnTo>
                  <a:lnTo>
                    <a:pt x="4749" y="3790"/>
                  </a:lnTo>
                  <a:lnTo>
                    <a:pt x="4669" y="3780"/>
                  </a:lnTo>
                  <a:lnTo>
                    <a:pt x="4589" y="3767"/>
                  </a:lnTo>
                  <a:lnTo>
                    <a:pt x="4512" y="3749"/>
                  </a:lnTo>
                  <a:lnTo>
                    <a:pt x="4436" y="3728"/>
                  </a:lnTo>
                  <a:lnTo>
                    <a:pt x="4360" y="3704"/>
                  </a:lnTo>
                  <a:lnTo>
                    <a:pt x="4287" y="3675"/>
                  </a:lnTo>
                  <a:lnTo>
                    <a:pt x="4215" y="3644"/>
                  </a:lnTo>
                  <a:lnTo>
                    <a:pt x="4145" y="3610"/>
                  </a:lnTo>
                  <a:lnTo>
                    <a:pt x="4077" y="3572"/>
                  </a:lnTo>
                  <a:lnTo>
                    <a:pt x="4012" y="3531"/>
                  </a:lnTo>
                  <a:lnTo>
                    <a:pt x="3948" y="3488"/>
                  </a:lnTo>
                  <a:lnTo>
                    <a:pt x="3886" y="3440"/>
                  </a:lnTo>
                  <a:lnTo>
                    <a:pt x="3827" y="3392"/>
                  </a:lnTo>
                  <a:lnTo>
                    <a:pt x="3769" y="3339"/>
                  </a:lnTo>
                  <a:lnTo>
                    <a:pt x="3714" y="3285"/>
                  </a:lnTo>
                  <a:lnTo>
                    <a:pt x="3663" y="3228"/>
                  </a:lnTo>
                  <a:lnTo>
                    <a:pt x="3613" y="3169"/>
                  </a:lnTo>
                  <a:lnTo>
                    <a:pt x="3567" y="3107"/>
                  </a:lnTo>
                  <a:lnTo>
                    <a:pt x="3523" y="3042"/>
                  </a:lnTo>
                  <a:lnTo>
                    <a:pt x="3482" y="2977"/>
                  </a:lnTo>
                  <a:lnTo>
                    <a:pt x="3444" y="2909"/>
                  </a:lnTo>
                  <a:lnTo>
                    <a:pt x="3409" y="2839"/>
                  </a:lnTo>
                  <a:lnTo>
                    <a:pt x="3377" y="2768"/>
                  </a:lnTo>
                  <a:lnTo>
                    <a:pt x="3350" y="2694"/>
                  </a:lnTo>
                  <a:lnTo>
                    <a:pt x="3325" y="2619"/>
                  </a:lnTo>
                  <a:lnTo>
                    <a:pt x="3304" y="2542"/>
                  </a:lnTo>
                  <a:lnTo>
                    <a:pt x="3286" y="2464"/>
                  </a:lnTo>
                  <a:lnTo>
                    <a:pt x="3272" y="2384"/>
                  </a:lnTo>
                  <a:lnTo>
                    <a:pt x="3262" y="2304"/>
                  </a:lnTo>
                  <a:lnTo>
                    <a:pt x="3256" y="2222"/>
                  </a:lnTo>
                  <a:close/>
                  <a:moveTo>
                    <a:pt x="3352" y="2127"/>
                  </a:moveTo>
                  <a:lnTo>
                    <a:pt x="3312" y="2162"/>
                  </a:lnTo>
                  <a:lnTo>
                    <a:pt x="3315" y="2243"/>
                  </a:lnTo>
                  <a:lnTo>
                    <a:pt x="3323" y="2324"/>
                  </a:lnTo>
                  <a:lnTo>
                    <a:pt x="3334" y="2403"/>
                  </a:lnTo>
                  <a:lnTo>
                    <a:pt x="3349" y="2481"/>
                  </a:lnTo>
                  <a:lnTo>
                    <a:pt x="3368" y="2557"/>
                  </a:lnTo>
                  <a:lnTo>
                    <a:pt x="3390" y="2633"/>
                  </a:lnTo>
                  <a:lnTo>
                    <a:pt x="3416" y="2706"/>
                  </a:lnTo>
                  <a:lnTo>
                    <a:pt x="3446" y="2777"/>
                  </a:lnTo>
                  <a:lnTo>
                    <a:pt x="3478" y="2848"/>
                  </a:lnTo>
                  <a:lnTo>
                    <a:pt x="3514" y="2915"/>
                  </a:lnTo>
                  <a:lnTo>
                    <a:pt x="3553" y="2981"/>
                  </a:lnTo>
                  <a:lnTo>
                    <a:pt x="3595" y="3046"/>
                  </a:lnTo>
                  <a:lnTo>
                    <a:pt x="3639" y="3108"/>
                  </a:lnTo>
                  <a:lnTo>
                    <a:pt x="3687" y="3167"/>
                  </a:lnTo>
                  <a:lnTo>
                    <a:pt x="3737" y="3224"/>
                  </a:lnTo>
                  <a:lnTo>
                    <a:pt x="3791" y="3278"/>
                  </a:lnTo>
                  <a:lnTo>
                    <a:pt x="3846" y="3331"/>
                  </a:lnTo>
                  <a:lnTo>
                    <a:pt x="3903" y="3380"/>
                  </a:lnTo>
                  <a:lnTo>
                    <a:pt x="3964" y="3427"/>
                  </a:lnTo>
                  <a:lnTo>
                    <a:pt x="4027" y="3471"/>
                  </a:lnTo>
                  <a:lnTo>
                    <a:pt x="4091" y="3512"/>
                  </a:lnTo>
                  <a:lnTo>
                    <a:pt x="4158" y="3550"/>
                  </a:lnTo>
                  <a:lnTo>
                    <a:pt x="4226" y="3585"/>
                  </a:lnTo>
                  <a:lnTo>
                    <a:pt x="4297" y="3616"/>
                  </a:lnTo>
                  <a:lnTo>
                    <a:pt x="4369" y="3645"/>
                  </a:lnTo>
                  <a:lnTo>
                    <a:pt x="4442" y="3669"/>
                  </a:lnTo>
                  <a:lnTo>
                    <a:pt x="4518" y="3690"/>
                  </a:lnTo>
                  <a:lnTo>
                    <a:pt x="4595" y="3708"/>
                  </a:lnTo>
                  <a:lnTo>
                    <a:pt x="4673" y="3721"/>
                  </a:lnTo>
                  <a:lnTo>
                    <a:pt x="4751" y="3731"/>
                  </a:lnTo>
                  <a:lnTo>
                    <a:pt x="4833" y="3737"/>
                  </a:lnTo>
                  <a:lnTo>
                    <a:pt x="4914" y="3739"/>
                  </a:lnTo>
                  <a:lnTo>
                    <a:pt x="4996" y="3737"/>
                  </a:lnTo>
                  <a:lnTo>
                    <a:pt x="5077" y="3731"/>
                  </a:lnTo>
                  <a:lnTo>
                    <a:pt x="5156" y="3721"/>
                  </a:lnTo>
                  <a:lnTo>
                    <a:pt x="5233" y="3708"/>
                  </a:lnTo>
                  <a:lnTo>
                    <a:pt x="5310" y="3690"/>
                  </a:lnTo>
                  <a:lnTo>
                    <a:pt x="5386" y="3669"/>
                  </a:lnTo>
                  <a:lnTo>
                    <a:pt x="5460" y="3645"/>
                  </a:lnTo>
                  <a:lnTo>
                    <a:pt x="5532" y="3616"/>
                  </a:lnTo>
                  <a:lnTo>
                    <a:pt x="5603" y="3585"/>
                  </a:lnTo>
                  <a:lnTo>
                    <a:pt x="5671" y="3550"/>
                  </a:lnTo>
                  <a:lnTo>
                    <a:pt x="5737" y="3512"/>
                  </a:lnTo>
                  <a:lnTo>
                    <a:pt x="5803" y="3471"/>
                  </a:lnTo>
                  <a:lnTo>
                    <a:pt x="5865" y="3427"/>
                  </a:lnTo>
                  <a:lnTo>
                    <a:pt x="5925" y="3380"/>
                  </a:lnTo>
                  <a:lnTo>
                    <a:pt x="5983" y="3331"/>
                  </a:lnTo>
                  <a:lnTo>
                    <a:pt x="6038" y="3278"/>
                  </a:lnTo>
                  <a:lnTo>
                    <a:pt x="6091" y="3224"/>
                  </a:lnTo>
                  <a:lnTo>
                    <a:pt x="6141" y="3167"/>
                  </a:lnTo>
                  <a:lnTo>
                    <a:pt x="6189" y="3108"/>
                  </a:lnTo>
                  <a:lnTo>
                    <a:pt x="6234" y="3046"/>
                  </a:lnTo>
                  <a:lnTo>
                    <a:pt x="6275" y="2981"/>
                  </a:lnTo>
                  <a:lnTo>
                    <a:pt x="6314" y="2915"/>
                  </a:lnTo>
                  <a:lnTo>
                    <a:pt x="6350" y="2848"/>
                  </a:lnTo>
                  <a:lnTo>
                    <a:pt x="6382" y="2777"/>
                  </a:lnTo>
                  <a:lnTo>
                    <a:pt x="6412" y="2706"/>
                  </a:lnTo>
                  <a:lnTo>
                    <a:pt x="6437" y="2633"/>
                  </a:lnTo>
                  <a:lnTo>
                    <a:pt x="6460" y="2557"/>
                  </a:lnTo>
                  <a:lnTo>
                    <a:pt x="6478" y="2481"/>
                  </a:lnTo>
                  <a:lnTo>
                    <a:pt x="6494" y="2403"/>
                  </a:lnTo>
                  <a:lnTo>
                    <a:pt x="6504" y="2324"/>
                  </a:lnTo>
                  <a:lnTo>
                    <a:pt x="6512" y="2243"/>
                  </a:lnTo>
                  <a:lnTo>
                    <a:pt x="6516" y="2162"/>
                  </a:lnTo>
                  <a:lnTo>
                    <a:pt x="6475" y="2127"/>
                  </a:lnTo>
                  <a:lnTo>
                    <a:pt x="5302" y="2127"/>
                  </a:lnTo>
                  <a:lnTo>
                    <a:pt x="5301" y="2097"/>
                  </a:lnTo>
                  <a:lnTo>
                    <a:pt x="5297" y="2069"/>
                  </a:lnTo>
                  <a:lnTo>
                    <a:pt x="6394" y="2069"/>
                  </a:lnTo>
                  <a:lnTo>
                    <a:pt x="6348" y="2041"/>
                  </a:lnTo>
                  <a:lnTo>
                    <a:pt x="6298" y="2016"/>
                  </a:lnTo>
                  <a:lnTo>
                    <a:pt x="6246" y="1993"/>
                  </a:lnTo>
                  <a:lnTo>
                    <a:pt x="6190" y="1972"/>
                  </a:lnTo>
                  <a:lnTo>
                    <a:pt x="6206" y="1944"/>
                  </a:lnTo>
                  <a:lnTo>
                    <a:pt x="6275" y="1831"/>
                  </a:lnTo>
                  <a:lnTo>
                    <a:pt x="6338" y="1732"/>
                  </a:lnTo>
                  <a:lnTo>
                    <a:pt x="6424" y="1598"/>
                  </a:lnTo>
                  <a:lnTo>
                    <a:pt x="6402" y="1541"/>
                  </a:lnTo>
                  <a:lnTo>
                    <a:pt x="6378" y="1484"/>
                  </a:lnTo>
                  <a:lnTo>
                    <a:pt x="6353" y="1429"/>
                  </a:lnTo>
                  <a:lnTo>
                    <a:pt x="6324" y="1374"/>
                  </a:lnTo>
                  <a:lnTo>
                    <a:pt x="6295" y="1321"/>
                  </a:lnTo>
                  <a:lnTo>
                    <a:pt x="6262" y="1270"/>
                  </a:lnTo>
                  <a:lnTo>
                    <a:pt x="6229" y="1219"/>
                  </a:lnTo>
                  <a:lnTo>
                    <a:pt x="6193" y="1170"/>
                  </a:lnTo>
                  <a:lnTo>
                    <a:pt x="6156" y="1122"/>
                  </a:lnTo>
                  <a:lnTo>
                    <a:pt x="6117" y="1076"/>
                  </a:lnTo>
                  <a:lnTo>
                    <a:pt x="6076" y="1031"/>
                  </a:lnTo>
                  <a:lnTo>
                    <a:pt x="6034" y="987"/>
                  </a:lnTo>
                  <a:lnTo>
                    <a:pt x="5990" y="946"/>
                  </a:lnTo>
                  <a:lnTo>
                    <a:pt x="5944" y="906"/>
                  </a:lnTo>
                  <a:lnTo>
                    <a:pt x="5896" y="868"/>
                  </a:lnTo>
                  <a:lnTo>
                    <a:pt x="5848" y="832"/>
                  </a:lnTo>
                  <a:lnTo>
                    <a:pt x="5798" y="798"/>
                  </a:lnTo>
                  <a:lnTo>
                    <a:pt x="5747" y="765"/>
                  </a:lnTo>
                  <a:lnTo>
                    <a:pt x="5694" y="734"/>
                  </a:lnTo>
                  <a:lnTo>
                    <a:pt x="5641" y="705"/>
                  </a:lnTo>
                  <a:lnTo>
                    <a:pt x="5585" y="679"/>
                  </a:lnTo>
                  <a:lnTo>
                    <a:pt x="5529" y="654"/>
                  </a:lnTo>
                  <a:lnTo>
                    <a:pt x="5471" y="632"/>
                  </a:lnTo>
                  <a:lnTo>
                    <a:pt x="5413" y="611"/>
                  </a:lnTo>
                  <a:lnTo>
                    <a:pt x="5354" y="593"/>
                  </a:lnTo>
                  <a:lnTo>
                    <a:pt x="5293" y="577"/>
                  </a:lnTo>
                  <a:lnTo>
                    <a:pt x="5232" y="563"/>
                  </a:lnTo>
                  <a:lnTo>
                    <a:pt x="5170" y="552"/>
                  </a:lnTo>
                  <a:lnTo>
                    <a:pt x="5107" y="543"/>
                  </a:lnTo>
                  <a:lnTo>
                    <a:pt x="5043" y="537"/>
                  </a:lnTo>
                  <a:lnTo>
                    <a:pt x="4979" y="533"/>
                  </a:lnTo>
                  <a:lnTo>
                    <a:pt x="4914" y="532"/>
                  </a:lnTo>
                  <a:lnTo>
                    <a:pt x="4849" y="533"/>
                  </a:lnTo>
                  <a:lnTo>
                    <a:pt x="4784" y="537"/>
                  </a:lnTo>
                  <a:lnTo>
                    <a:pt x="4721" y="543"/>
                  </a:lnTo>
                  <a:lnTo>
                    <a:pt x="4658" y="552"/>
                  </a:lnTo>
                  <a:lnTo>
                    <a:pt x="4596" y="563"/>
                  </a:lnTo>
                  <a:lnTo>
                    <a:pt x="4535" y="577"/>
                  </a:lnTo>
                  <a:lnTo>
                    <a:pt x="4475" y="593"/>
                  </a:lnTo>
                  <a:lnTo>
                    <a:pt x="4415" y="611"/>
                  </a:lnTo>
                  <a:lnTo>
                    <a:pt x="4357" y="632"/>
                  </a:lnTo>
                  <a:lnTo>
                    <a:pt x="4299" y="654"/>
                  </a:lnTo>
                  <a:lnTo>
                    <a:pt x="4243" y="679"/>
                  </a:lnTo>
                  <a:lnTo>
                    <a:pt x="4189" y="705"/>
                  </a:lnTo>
                  <a:lnTo>
                    <a:pt x="4134" y="735"/>
                  </a:lnTo>
                  <a:lnTo>
                    <a:pt x="4081" y="765"/>
                  </a:lnTo>
                  <a:lnTo>
                    <a:pt x="4030" y="798"/>
                  </a:lnTo>
                  <a:lnTo>
                    <a:pt x="3980" y="833"/>
                  </a:lnTo>
                  <a:lnTo>
                    <a:pt x="3932" y="868"/>
                  </a:lnTo>
                  <a:lnTo>
                    <a:pt x="3885" y="906"/>
                  </a:lnTo>
                  <a:lnTo>
                    <a:pt x="3839" y="946"/>
                  </a:lnTo>
                  <a:lnTo>
                    <a:pt x="3795" y="988"/>
                  </a:lnTo>
                  <a:lnTo>
                    <a:pt x="3752" y="1032"/>
                  </a:lnTo>
                  <a:lnTo>
                    <a:pt x="3711" y="1076"/>
                  </a:lnTo>
                  <a:lnTo>
                    <a:pt x="3672" y="1122"/>
                  </a:lnTo>
                  <a:lnTo>
                    <a:pt x="3635" y="1170"/>
                  </a:lnTo>
                  <a:lnTo>
                    <a:pt x="3599" y="1219"/>
                  </a:lnTo>
                  <a:lnTo>
                    <a:pt x="3566" y="1270"/>
                  </a:lnTo>
                  <a:lnTo>
                    <a:pt x="3533" y="1321"/>
                  </a:lnTo>
                  <a:lnTo>
                    <a:pt x="3504" y="1375"/>
                  </a:lnTo>
                  <a:lnTo>
                    <a:pt x="3475" y="1430"/>
                  </a:lnTo>
                  <a:lnTo>
                    <a:pt x="3449" y="1484"/>
                  </a:lnTo>
                  <a:lnTo>
                    <a:pt x="3426" y="1541"/>
                  </a:lnTo>
                  <a:lnTo>
                    <a:pt x="3404" y="1599"/>
                  </a:lnTo>
                  <a:lnTo>
                    <a:pt x="3490" y="1733"/>
                  </a:lnTo>
                  <a:lnTo>
                    <a:pt x="3552" y="1832"/>
                  </a:lnTo>
                  <a:lnTo>
                    <a:pt x="3621" y="1944"/>
                  </a:lnTo>
                  <a:lnTo>
                    <a:pt x="3638" y="1972"/>
                  </a:lnTo>
                  <a:lnTo>
                    <a:pt x="3583" y="1993"/>
                  </a:lnTo>
                  <a:lnTo>
                    <a:pt x="3530" y="2016"/>
                  </a:lnTo>
                  <a:lnTo>
                    <a:pt x="3481" y="2041"/>
                  </a:lnTo>
                  <a:lnTo>
                    <a:pt x="3434" y="2069"/>
                  </a:lnTo>
                  <a:lnTo>
                    <a:pt x="4532" y="2069"/>
                  </a:lnTo>
                  <a:lnTo>
                    <a:pt x="4527" y="2097"/>
                  </a:lnTo>
                  <a:lnTo>
                    <a:pt x="4525" y="2127"/>
                  </a:lnTo>
                  <a:lnTo>
                    <a:pt x="3352" y="2127"/>
                  </a:lnTo>
                  <a:close/>
                  <a:moveTo>
                    <a:pt x="6550" y="2016"/>
                  </a:moveTo>
                  <a:lnTo>
                    <a:pt x="6505" y="1984"/>
                  </a:lnTo>
                  <a:lnTo>
                    <a:pt x="6457" y="1955"/>
                  </a:lnTo>
                  <a:lnTo>
                    <a:pt x="6407" y="1928"/>
                  </a:lnTo>
                  <a:lnTo>
                    <a:pt x="6353" y="1901"/>
                  </a:lnTo>
                  <a:lnTo>
                    <a:pt x="6496" y="1676"/>
                  </a:lnTo>
                  <a:lnTo>
                    <a:pt x="9689" y="1676"/>
                  </a:lnTo>
                  <a:lnTo>
                    <a:pt x="9702" y="1676"/>
                  </a:lnTo>
                  <a:lnTo>
                    <a:pt x="9713" y="1674"/>
                  </a:lnTo>
                  <a:lnTo>
                    <a:pt x="9724" y="1671"/>
                  </a:lnTo>
                  <a:lnTo>
                    <a:pt x="9732" y="1666"/>
                  </a:lnTo>
                  <a:lnTo>
                    <a:pt x="9741" y="1661"/>
                  </a:lnTo>
                  <a:lnTo>
                    <a:pt x="9746" y="1655"/>
                  </a:lnTo>
                  <a:lnTo>
                    <a:pt x="9751" y="1648"/>
                  </a:lnTo>
                  <a:lnTo>
                    <a:pt x="9754" y="1639"/>
                  </a:lnTo>
                  <a:lnTo>
                    <a:pt x="9754" y="1633"/>
                  </a:lnTo>
                  <a:lnTo>
                    <a:pt x="9752" y="1629"/>
                  </a:lnTo>
                  <a:lnTo>
                    <a:pt x="9748" y="1626"/>
                  </a:lnTo>
                  <a:lnTo>
                    <a:pt x="9743" y="1625"/>
                  </a:lnTo>
                  <a:lnTo>
                    <a:pt x="9731" y="1624"/>
                  </a:lnTo>
                  <a:lnTo>
                    <a:pt x="9720" y="1625"/>
                  </a:lnTo>
                  <a:lnTo>
                    <a:pt x="6468" y="1625"/>
                  </a:lnTo>
                  <a:lnTo>
                    <a:pt x="6394" y="1739"/>
                  </a:lnTo>
                  <a:lnTo>
                    <a:pt x="6335" y="1833"/>
                  </a:lnTo>
                  <a:lnTo>
                    <a:pt x="6266" y="1944"/>
                  </a:lnTo>
                  <a:lnTo>
                    <a:pt x="6329" y="1971"/>
                  </a:lnTo>
                  <a:lnTo>
                    <a:pt x="6388" y="1999"/>
                  </a:lnTo>
                  <a:lnTo>
                    <a:pt x="6441" y="2030"/>
                  </a:lnTo>
                  <a:lnTo>
                    <a:pt x="6490" y="2063"/>
                  </a:lnTo>
                  <a:lnTo>
                    <a:pt x="6534" y="2098"/>
                  </a:lnTo>
                  <a:lnTo>
                    <a:pt x="6574" y="2135"/>
                  </a:lnTo>
                  <a:lnTo>
                    <a:pt x="6610" y="2173"/>
                  </a:lnTo>
                  <a:lnTo>
                    <a:pt x="6641" y="2213"/>
                  </a:lnTo>
                  <a:lnTo>
                    <a:pt x="6670" y="2254"/>
                  </a:lnTo>
                  <a:lnTo>
                    <a:pt x="6694" y="2297"/>
                  </a:lnTo>
                  <a:lnTo>
                    <a:pt x="6714" y="2340"/>
                  </a:lnTo>
                  <a:lnTo>
                    <a:pt x="6732" y="2386"/>
                  </a:lnTo>
                  <a:lnTo>
                    <a:pt x="6745" y="2431"/>
                  </a:lnTo>
                  <a:lnTo>
                    <a:pt x="6756" y="2476"/>
                  </a:lnTo>
                  <a:lnTo>
                    <a:pt x="6763" y="2522"/>
                  </a:lnTo>
                  <a:lnTo>
                    <a:pt x="6768" y="2570"/>
                  </a:lnTo>
                  <a:lnTo>
                    <a:pt x="6771" y="2616"/>
                  </a:lnTo>
                  <a:lnTo>
                    <a:pt x="6770" y="2663"/>
                  </a:lnTo>
                  <a:lnTo>
                    <a:pt x="6766" y="2711"/>
                  </a:lnTo>
                  <a:lnTo>
                    <a:pt x="6762" y="2757"/>
                  </a:lnTo>
                  <a:lnTo>
                    <a:pt x="6755" y="2803"/>
                  </a:lnTo>
                  <a:lnTo>
                    <a:pt x="6745" y="2849"/>
                  </a:lnTo>
                  <a:lnTo>
                    <a:pt x="6735" y="2894"/>
                  </a:lnTo>
                  <a:lnTo>
                    <a:pt x="6722" y="2938"/>
                  </a:lnTo>
                  <a:lnTo>
                    <a:pt x="6707" y="2981"/>
                  </a:lnTo>
                  <a:lnTo>
                    <a:pt x="6693" y="3024"/>
                  </a:lnTo>
                  <a:lnTo>
                    <a:pt x="6676" y="3065"/>
                  </a:lnTo>
                  <a:lnTo>
                    <a:pt x="6658" y="3104"/>
                  </a:lnTo>
                  <a:lnTo>
                    <a:pt x="6639" y="3141"/>
                  </a:lnTo>
                  <a:lnTo>
                    <a:pt x="6620" y="3177"/>
                  </a:lnTo>
                  <a:lnTo>
                    <a:pt x="6600" y="3212"/>
                  </a:lnTo>
                  <a:lnTo>
                    <a:pt x="6579" y="3244"/>
                  </a:lnTo>
                  <a:lnTo>
                    <a:pt x="6545" y="3294"/>
                  </a:lnTo>
                  <a:lnTo>
                    <a:pt x="6510" y="3342"/>
                  </a:lnTo>
                  <a:lnTo>
                    <a:pt x="6472" y="3391"/>
                  </a:lnTo>
                  <a:lnTo>
                    <a:pt x="6434" y="3437"/>
                  </a:lnTo>
                  <a:lnTo>
                    <a:pt x="6394" y="3484"/>
                  </a:lnTo>
                  <a:lnTo>
                    <a:pt x="6353" y="3528"/>
                  </a:lnTo>
                  <a:lnTo>
                    <a:pt x="6310" y="3570"/>
                  </a:lnTo>
                  <a:lnTo>
                    <a:pt x="6267" y="3612"/>
                  </a:lnTo>
                  <a:lnTo>
                    <a:pt x="6221" y="3652"/>
                  </a:lnTo>
                  <a:lnTo>
                    <a:pt x="6175" y="3692"/>
                  </a:lnTo>
                  <a:lnTo>
                    <a:pt x="6128" y="3729"/>
                  </a:lnTo>
                  <a:lnTo>
                    <a:pt x="6079" y="3766"/>
                  </a:lnTo>
                  <a:lnTo>
                    <a:pt x="6029" y="3800"/>
                  </a:lnTo>
                  <a:lnTo>
                    <a:pt x="5978" y="3833"/>
                  </a:lnTo>
                  <a:lnTo>
                    <a:pt x="5927" y="3865"/>
                  </a:lnTo>
                  <a:lnTo>
                    <a:pt x="5874" y="3895"/>
                  </a:lnTo>
                  <a:lnTo>
                    <a:pt x="5819" y="3924"/>
                  </a:lnTo>
                  <a:lnTo>
                    <a:pt x="5765" y="3951"/>
                  </a:lnTo>
                  <a:lnTo>
                    <a:pt x="5709" y="3976"/>
                  </a:lnTo>
                  <a:lnTo>
                    <a:pt x="5652" y="4000"/>
                  </a:lnTo>
                  <a:lnTo>
                    <a:pt x="5595" y="4022"/>
                  </a:lnTo>
                  <a:lnTo>
                    <a:pt x="5536" y="4043"/>
                  </a:lnTo>
                  <a:lnTo>
                    <a:pt x="5477" y="4060"/>
                  </a:lnTo>
                  <a:lnTo>
                    <a:pt x="5418" y="4077"/>
                  </a:lnTo>
                  <a:lnTo>
                    <a:pt x="5356" y="4092"/>
                  </a:lnTo>
                  <a:lnTo>
                    <a:pt x="5295" y="4105"/>
                  </a:lnTo>
                  <a:lnTo>
                    <a:pt x="5233" y="4116"/>
                  </a:lnTo>
                  <a:lnTo>
                    <a:pt x="5170" y="4125"/>
                  </a:lnTo>
                  <a:lnTo>
                    <a:pt x="5107" y="4132"/>
                  </a:lnTo>
                  <a:lnTo>
                    <a:pt x="5043" y="4137"/>
                  </a:lnTo>
                  <a:lnTo>
                    <a:pt x="4979" y="4141"/>
                  </a:lnTo>
                  <a:lnTo>
                    <a:pt x="4914" y="4142"/>
                  </a:lnTo>
                  <a:lnTo>
                    <a:pt x="4848" y="4141"/>
                  </a:lnTo>
                  <a:lnTo>
                    <a:pt x="4784" y="4137"/>
                  </a:lnTo>
                  <a:lnTo>
                    <a:pt x="4720" y="4132"/>
                  </a:lnTo>
                  <a:lnTo>
                    <a:pt x="4657" y="4125"/>
                  </a:lnTo>
                  <a:lnTo>
                    <a:pt x="4595" y="4116"/>
                  </a:lnTo>
                  <a:lnTo>
                    <a:pt x="4533" y="4105"/>
                  </a:lnTo>
                  <a:lnTo>
                    <a:pt x="4471" y="4092"/>
                  </a:lnTo>
                  <a:lnTo>
                    <a:pt x="4410" y="4077"/>
                  </a:lnTo>
                  <a:lnTo>
                    <a:pt x="4351" y="4060"/>
                  </a:lnTo>
                  <a:lnTo>
                    <a:pt x="4291" y="4043"/>
                  </a:lnTo>
                  <a:lnTo>
                    <a:pt x="4233" y="4022"/>
                  </a:lnTo>
                  <a:lnTo>
                    <a:pt x="4175" y="4000"/>
                  </a:lnTo>
                  <a:lnTo>
                    <a:pt x="4118" y="3976"/>
                  </a:lnTo>
                  <a:lnTo>
                    <a:pt x="4062" y="3951"/>
                  </a:lnTo>
                  <a:lnTo>
                    <a:pt x="4008" y="3924"/>
                  </a:lnTo>
                  <a:lnTo>
                    <a:pt x="3954" y="3895"/>
                  </a:lnTo>
                  <a:lnTo>
                    <a:pt x="3901" y="3865"/>
                  </a:lnTo>
                  <a:lnTo>
                    <a:pt x="3850" y="3833"/>
                  </a:lnTo>
                  <a:lnTo>
                    <a:pt x="3798" y="3800"/>
                  </a:lnTo>
                  <a:lnTo>
                    <a:pt x="3749" y="3766"/>
                  </a:lnTo>
                  <a:lnTo>
                    <a:pt x="3700" y="3729"/>
                  </a:lnTo>
                  <a:lnTo>
                    <a:pt x="3653" y="3692"/>
                  </a:lnTo>
                  <a:lnTo>
                    <a:pt x="3607" y="3652"/>
                  </a:lnTo>
                  <a:lnTo>
                    <a:pt x="3562" y="3612"/>
                  </a:lnTo>
                  <a:lnTo>
                    <a:pt x="3517" y="3570"/>
                  </a:lnTo>
                  <a:lnTo>
                    <a:pt x="3475" y="3528"/>
                  </a:lnTo>
                  <a:lnTo>
                    <a:pt x="3434" y="3484"/>
                  </a:lnTo>
                  <a:lnTo>
                    <a:pt x="3394" y="3437"/>
                  </a:lnTo>
                  <a:lnTo>
                    <a:pt x="3355" y="3391"/>
                  </a:lnTo>
                  <a:lnTo>
                    <a:pt x="3318" y="3342"/>
                  </a:lnTo>
                  <a:lnTo>
                    <a:pt x="3283" y="3294"/>
                  </a:lnTo>
                  <a:lnTo>
                    <a:pt x="3248" y="3244"/>
                  </a:lnTo>
                  <a:lnTo>
                    <a:pt x="3228" y="3212"/>
                  </a:lnTo>
                  <a:lnTo>
                    <a:pt x="3208" y="3177"/>
                  </a:lnTo>
                  <a:lnTo>
                    <a:pt x="3188" y="3141"/>
                  </a:lnTo>
                  <a:lnTo>
                    <a:pt x="3170" y="3104"/>
                  </a:lnTo>
                  <a:lnTo>
                    <a:pt x="3152" y="3065"/>
                  </a:lnTo>
                  <a:lnTo>
                    <a:pt x="3135" y="3024"/>
                  </a:lnTo>
                  <a:lnTo>
                    <a:pt x="3120" y="2981"/>
                  </a:lnTo>
                  <a:lnTo>
                    <a:pt x="3106" y="2938"/>
                  </a:lnTo>
                  <a:lnTo>
                    <a:pt x="3093" y="2894"/>
                  </a:lnTo>
                  <a:lnTo>
                    <a:pt x="3083" y="2849"/>
                  </a:lnTo>
                  <a:lnTo>
                    <a:pt x="3073" y="2803"/>
                  </a:lnTo>
                  <a:lnTo>
                    <a:pt x="3066" y="2757"/>
                  </a:lnTo>
                  <a:lnTo>
                    <a:pt x="3061" y="2711"/>
                  </a:lnTo>
                  <a:lnTo>
                    <a:pt x="3058" y="2663"/>
                  </a:lnTo>
                  <a:lnTo>
                    <a:pt x="3058" y="2616"/>
                  </a:lnTo>
                  <a:lnTo>
                    <a:pt x="3060" y="2570"/>
                  </a:lnTo>
                  <a:lnTo>
                    <a:pt x="3065" y="2522"/>
                  </a:lnTo>
                  <a:lnTo>
                    <a:pt x="3072" y="2476"/>
                  </a:lnTo>
                  <a:lnTo>
                    <a:pt x="3083" y="2431"/>
                  </a:lnTo>
                  <a:lnTo>
                    <a:pt x="3096" y="2386"/>
                  </a:lnTo>
                  <a:lnTo>
                    <a:pt x="3113" y="2340"/>
                  </a:lnTo>
                  <a:lnTo>
                    <a:pt x="3134" y="2297"/>
                  </a:lnTo>
                  <a:lnTo>
                    <a:pt x="3159" y="2254"/>
                  </a:lnTo>
                  <a:lnTo>
                    <a:pt x="3186" y="2213"/>
                  </a:lnTo>
                  <a:lnTo>
                    <a:pt x="3217" y="2173"/>
                  </a:lnTo>
                  <a:lnTo>
                    <a:pt x="3253" y="2135"/>
                  </a:lnTo>
                  <a:lnTo>
                    <a:pt x="3293" y="2098"/>
                  </a:lnTo>
                  <a:lnTo>
                    <a:pt x="3338" y="2063"/>
                  </a:lnTo>
                  <a:lnTo>
                    <a:pt x="3387" y="2030"/>
                  </a:lnTo>
                  <a:lnTo>
                    <a:pt x="3441" y="1999"/>
                  </a:lnTo>
                  <a:lnTo>
                    <a:pt x="3498" y="1971"/>
                  </a:lnTo>
                  <a:lnTo>
                    <a:pt x="3562" y="1944"/>
                  </a:lnTo>
                  <a:lnTo>
                    <a:pt x="3493" y="1833"/>
                  </a:lnTo>
                  <a:lnTo>
                    <a:pt x="3433" y="1739"/>
                  </a:lnTo>
                  <a:lnTo>
                    <a:pt x="3360" y="1625"/>
                  </a:lnTo>
                  <a:lnTo>
                    <a:pt x="106" y="1625"/>
                  </a:lnTo>
                  <a:lnTo>
                    <a:pt x="96" y="1624"/>
                  </a:lnTo>
                  <a:lnTo>
                    <a:pt x="83" y="1625"/>
                  </a:lnTo>
                  <a:lnTo>
                    <a:pt x="78" y="1626"/>
                  </a:lnTo>
                  <a:lnTo>
                    <a:pt x="75" y="1629"/>
                  </a:lnTo>
                  <a:lnTo>
                    <a:pt x="73" y="1633"/>
                  </a:lnTo>
                  <a:lnTo>
                    <a:pt x="73" y="1639"/>
                  </a:lnTo>
                  <a:lnTo>
                    <a:pt x="76" y="1648"/>
                  </a:lnTo>
                  <a:lnTo>
                    <a:pt x="80" y="1655"/>
                  </a:lnTo>
                  <a:lnTo>
                    <a:pt x="86" y="1661"/>
                  </a:lnTo>
                  <a:lnTo>
                    <a:pt x="94" y="1666"/>
                  </a:lnTo>
                  <a:lnTo>
                    <a:pt x="103" y="1671"/>
                  </a:lnTo>
                  <a:lnTo>
                    <a:pt x="114" y="1674"/>
                  </a:lnTo>
                  <a:lnTo>
                    <a:pt x="125" y="1676"/>
                  </a:lnTo>
                  <a:lnTo>
                    <a:pt x="138" y="1676"/>
                  </a:lnTo>
                  <a:lnTo>
                    <a:pt x="3332" y="1676"/>
                  </a:lnTo>
                  <a:lnTo>
                    <a:pt x="3475" y="1901"/>
                  </a:lnTo>
                  <a:lnTo>
                    <a:pt x="3422" y="1928"/>
                  </a:lnTo>
                  <a:lnTo>
                    <a:pt x="3370" y="1955"/>
                  </a:lnTo>
                  <a:lnTo>
                    <a:pt x="3323" y="1984"/>
                  </a:lnTo>
                  <a:lnTo>
                    <a:pt x="3278" y="2016"/>
                  </a:lnTo>
                  <a:lnTo>
                    <a:pt x="2678" y="2017"/>
                  </a:lnTo>
                  <a:lnTo>
                    <a:pt x="2147" y="2017"/>
                  </a:lnTo>
                  <a:lnTo>
                    <a:pt x="1292" y="2017"/>
                  </a:lnTo>
                  <a:lnTo>
                    <a:pt x="714" y="2016"/>
                  </a:lnTo>
                  <a:lnTo>
                    <a:pt x="412" y="2016"/>
                  </a:lnTo>
                  <a:lnTo>
                    <a:pt x="340" y="1973"/>
                  </a:lnTo>
                  <a:lnTo>
                    <a:pt x="275" y="1929"/>
                  </a:lnTo>
                  <a:lnTo>
                    <a:pt x="217" y="1886"/>
                  </a:lnTo>
                  <a:lnTo>
                    <a:pt x="167" y="1845"/>
                  </a:lnTo>
                  <a:lnTo>
                    <a:pt x="125" y="1808"/>
                  </a:lnTo>
                  <a:lnTo>
                    <a:pt x="92" y="1775"/>
                  </a:lnTo>
                  <a:lnTo>
                    <a:pt x="66" y="1746"/>
                  </a:lnTo>
                  <a:lnTo>
                    <a:pt x="48" y="1724"/>
                  </a:lnTo>
                  <a:lnTo>
                    <a:pt x="24" y="1692"/>
                  </a:lnTo>
                  <a:lnTo>
                    <a:pt x="13" y="1673"/>
                  </a:lnTo>
                  <a:lnTo>
                    <a:pt x="4" y="1654"/>
                  </a:lnTo>
                  <a:lnTo>
                    <a:pt x="2" y="1644"/>
                  </a:lnTo>
                  <a:lnTo>
                    <a:pt x="0" y="1635"/>
                  </a:lnTo>
                  <a:lnTo>
                    <a:pt x="0" y="1625"/>
                  </a:lnTo>
                  <a:lnTo>
                    <a:pt x="2" y="1615"/>
                  </a:lnTo>
                  <a:lnTo>
                    <a:pt x="5" y="1605"/>
                  </a:lnTo>
                  <a:lnTo>
                    <a:pt x="11" y="1595"/>
                  </a:lnTo>
                  <a:lnTo>
                    <a:pt x="19" y="1585"/>
                  </a:lnTo>
                  <a:lnTo>
                    <a:pt x="29" y="1575"/>
                  </a:lnTo>
                  <a:lnTo>
                    <a:pt x="47" y="1561"/>
                  </a:lnTo>
                  <a:lnTo>
                    <a:pt x="59" y="1554"/>
                  </a:lnTo>
                  <a:lnTo>
                    <a:pt x="66" y="1553"/>
                  </a:lnTo>
                  <a:lnTo>
                    <a:pt x="72" y="1556"/>
                  </a:lnTo>
                  <a:lnTo>
                    <a:pt x="77" y="1561"/>
                  </a:lnTo>
                  <a:lnTo>
                    <a:pt x="83" y="1568"/>
                  </a:lnTo>
                  <a:lnTo>
                    <a:pt x="93" y="1572"/>
                  </a:lnTo>
                  <a:lnTo>
                    <a:pt x="106" y="1574"/>
                  </a:lnTo>
                  <a:lnTo>
                    <a:pt x="2859" y="1574"/>
                  </a:lnTo>
                  <a:lnTo>
                    <a:pt x="2884" y="1490"/>
                  </a:lnTo>
                  <a:lnTo>
                    <a:pt x="2911" y="1407"/>
                  </a:lnTo>
                  <a:lnTo>
                    <a:pt x="2943" y="1326"/>
                  </a:lnTo>
                  <a:lnTo>
                    <a:pt x="2978" y="1247"/>
                  </a:lnTo>
                  <a:lnTo>
                    <a:pt x="3014" y="1170"/>
                  </a:lnTo>
                  <a:lnTo>
                    <a:pt x="3055" y="1094"/>
                  </a:lnTo>
                  <a:lnTo>
                    <a:pt x="3099" y="1019"/>
                  </a:lnTo>
                  <a:lnTo>
                    <a:pt x="3145" y="947"/>
                  </a:lnTo>
                  <a:lnTo>
                    <a:pt x="3193" y="877"/>
                  </a:lnTo>
                  <a:lnTo>
                    <a:pt x="3246" y="808"/>
                  </a:lnTo>
                  <a:lnTo>
                    <a:pt x="3300" y="743"/>
                  </a:lnTo>
                  <a:lnTo>
                    <a:pt x="3357" y="679"/>
                  </a:lnTo>
                  <a:lnTo>
                    <a:pt x="3416" y="618"/>
                  </a:lnTo>
                  <a:lnTo>
                    <a:pt x="3478" y="559"/>
                  </a:lnTo>
                  <a:lnTo>
                    <a:pt x="3543" y="502"/>
                  </a:lnTo>
                  <a:lnTo>
                    <a:pt x="3609" y="448"/>
                  </a:lnTo>
                  <a:lnTo>
                    <a:pt x="3677" y="397"/>
                  </a:lnTo>
                  <a:lnTo>
                    <a:pt x="3748" y="348"/>
                  </a:lnTo>
                  <a:lnTo>
                    <a:pt x="3820" y="303"/>
                  </a:lnTo>
                  <a:lnTo>
                    <a:pt x="3895" y="260"/>
                  </a:lnTo>
                  <a:lnTo>
                    <a:pt x="3972" y="220"/>
                  </a:lnTo>
                  <a:lnTo>
                    <a:pt x="4050" y="183"/>
                  </a:lnTo>
                  <a:lnTo>
                    <a:pt x="4130" y="149"/>
                  </a:lnTo>
                  <a:lnTo>
                    <a:pt x="4212" y="119"/>
                  </a:lnTo>
                  <a:lnTo>
                    <a:pt x="4295" y="92"/>
                  </a:lnTo>
                  <a:lnTo>
                    <a:pt x="4379" y="68"/>
                  </a:lnTo>
                  <a:lnTo>
                    <a:pt x="4465" y="47"/>
                  </a:lnTo>
                  <a:lnTo>
                    <a:pt x="4553" y="30"/>
                  </a:lnTo>
                  <a:lnTo>
                    <a:pt x="4641" y="18"/>
                  </a:lnTo>
                  <a:lnTo>
                    <a:pt x="4732" y="8"/>
                  </a:lnTo>
                  <a:lnTo>
                    <a:pt x="4822" y="2"/>
                  </a:lnTo>
                  <a:lnTo>
                    <a:pt x="4914" y="0"/>
                  </a:lnTo>
                  <a:lnTo>
                    <a:pt x="5006" y="2"/>
                  </a:lnTo>
                  <a:lnTo>
                    <a:pt x="5097" y="8"/>
                  </a:lnTo>
                  <a:lnTo>
                    <a:pt x="5186" y="18"/>
                  </a:lnTo>
                  <a:lnTo>
                    <a:pt x="5275" y="30"/>
                  </a:lnTo>
                  <a:lnTo>
                    <a:pt x="5363" y="47"/>
                  </a:lnTo>
                  <a:lnTo>
                    <a:pt x="5448" y="68"/>
                  </a:lnTo>
                  <a:lnTo>
                    <a:pt x="5533" y="92"/>
                  </a:lnTo>
                  <a:lnTo>
                    <a:pt x="5616" y="119"/>
                  </a:lnTo>
                  <a:lnTo>
                    <a:pt x="5697" y="149"/>
                  </a:lnTo>
                  <a:lnTo>
                    <a:pt x="5777" y="183"/>
                  </a:lnTo>
                  <a:lnTo>
                    <a:pt x="5856" y="220"/>
                  </a:lnTo>
                  <a:lnTo>
                    <a:pt x="5932" y="260"/>
                  </a:lnTo>
                  <a:lnTo>
                    <a:pt x="6007" y="303"/>
                  </a:lnTo>
                  <a:lnTo>
                    <a:pt x="6079" y="348"/>
                  </a:lnTo>
                  <a:lnTo>
                    <a:pt x="6151" y="397"/>
                  </a:lnTo>
                  <a:lnTo>
                    <a:pt x="6219" y="448"/>
                  </a:lnTo>
                  <a:lnTo>
                    <a:pt x="6286" y="502"/>
                  </a:lnTo>
                  <a:lnTo>
                    <a:pt x="6350" y="559"/>
                  </a:lnTo>
                  <a:lnTo>
                    <a:pt x="6412" y="618"/>
                  </a:lnTo>
                  <a:lnTo>
                    <a:pt x="6471" y="679"/>
                  </a:lnTo>
                  <a:lnTo>
                    <a:pt x="6528" y="743"/>
                  </a:lnTo>
                  <a:lnTo>
                    <a:pt x="6582" y="808"/>
                  </a:lnTo>
                  <a:lnTo>
                    <a:pt x="6634" y="877"/>
                  </a:lnTo>
                  <a:lnTo>
                    <a:pt x="6683" y="947"/>
                  </a:lnTo>
                  <a:lnTo>
                    <a:pt x="6730" y="1019"/>
                  </a:lnTo>
                  <a:lnTo>
                    <a:pt x="6773" y="1094"/>
                  </a:lnTo>
                  <a:lnTo>
                    <a:pt x="6813" y="1170"/>
                  </a:lnTo>
                  <a:lnTo>
                    <a:pt x="6851" y="1247"/>
                  </a:lnTo>
                  <a:lnTo>
                    <a:pt x="6885" y="1326"/>
                  </a:lnTo>
                  <a:lnTo>
                    <a:pt x="6916" y="1407"/>
                  </a:lnTo>
                  <a:lnTo>
                    <a:pt x="6944" y="1490"/>
                  </a:lnTo>
                  <a:lnTo>
                    <a:pt x="6968" y="1574"/>
                  </a:lnTo>
                  <a:lnTo>
                    <a:pt x="9720" y="1574"/>
                  </a:lnTo>
                  <a:lnTo>
                    <a:pt x="9734" y="1572"/>
                  </a:lnTo>
                  <a:lnTo>
                    <a:pt x="9743" y="1568"/>
                  </a:lnTo>
                  <a:lnTo>
                    <a:pt x="9749" y="1561"/>
                  </a:lnTo>
                  <a:lnTo>
                    <a:pt x="9754" y="1556"/>
                  </a:lnTo>
                  <a:lnTo>
                    <a:pt x="9760" y="1553"/>
                  </a:lnTo>
                  <a:lnTo>
                    <a:pt x="9768" y="1554"/>
                  </a:lnTo>
                  <a:lnTo>
                    <a:pt x="9780" y="1561"/>
                  </a:lnTo>
                  <a:lnTo>
                    <a:pt x="9798" y="1575"/>
                  </a:lnTo>
                  <a:lnTo>
                    <a:pt x="9808" y="1585"/>
                  </a:lnTo>
                  <a:lnTo>
                    <a:pt x="9815" y="1595"/>
                  </a:lnTo>
                  <a:lnTo>
                    <a:pt x="9821" y="1605"/>
                  </a:lnTo>
                  <a:lnTo>
                    <a:pt x="9825" y="1615"/>
                  </a:lnTo>
                  <a:lnTo>
                    <a:pt x="9826" y="1625"/>
                  </a:lnTo>
                  <a:lnTo>
                    <a:pt x="9826" y="1635"/>
                  </a:lnTo>
                  <a:lnTo>
                    <a:pt x="9822" y="1654"/>
                  </a:lnTo>
                  <a:lnTo>
                    <a:pt x="9813" y="1673"/>
                  </a:lnTo>
                  <a:lnTo>
                    <a:pt x="9802" y="1692"/>
                  </a:lnTo>
                  <a:lnTo>
                    <a:pt x="9778" y="1724"/>
                  </a:lnTo>
                  <a:lnTo>
                    <a:pt x="9761" y="1746"/>
                  </a:lnTo>
                  <a:lnTo>
                    <a:pt x="9734" y="1775"/>
                  </a:lnTo>
                  <a:lnTo>
                    <a:pt x="9701" y="1808"/>
                  </a:lnTo>
                  <a:lnTo>
                    <a:pt x="9659" y="1845"/>
                  </a:lnTo>
                  <a:lnTo>
                    <a:pt x="9609" y="1886"/>
                  </a:lnTo>
                  <a:lnTo>
                    <a:pt x="9552" y="1929"/>
                  </a:lnTo>
                  <a:lnTo>
                    <a:pt x="9487" y="1973"/>
                  </a:lnTo>
                  <a:lnTo>
                    <a:pt x="9415" y="2016"/>
                  </a:lnTo>
                  <a:lnTo>
                    <a:pt x="6550" y="2016"/>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66" name="Freeform 77"/>
            <p:cNvSpPr>
              <a:spLocks/>
            </p:cNvSpPr>
            <p:nvPr/>
          </p:nvSpPr>
          <p:spPr bwMode="auto">
            <a:xfrm>
              <a:off x="533" y="331"/>
              <a:ext cx="158" cy="27"/>
            </a:xfrm>
            <a:custGeom>
              <a:avLst/>
              <a:gdLst/>
              <a:ahLst/>
              <a:cxnLst>
                <a:cxn ang="0">
                  <a:pos x="2275" y="462"/>
                </a:cxn>
                <a:cxn ang="0">
                  <a:pos x="2346" y="419"/>
                </a:cxn>
                <a:cxn ang="0">
                  <a:pos x="2411" y="376"/>
                </a:cxn>
                <a:cxn ang="0">
                  <a:pos x="2469" y="332"/>
                </a:cxn>
                <a:cxn ang="0">
                  <a:pos x="2519" y="291"/>
                </a:cxn>
                <a:cxn ang="0">
                  <a:pos x="2561" y="255"/>
                </a:cxn>
                <a:cxn ang="0">
                  <a:pos x="2594" y="221"/>
                </a:cxn>
                <a:cxn ang="0">
                  <a:pos x="2620" y="192"/>
                </a:cxn>
                <a:cxn ang="0">
                  <a:pos x="2638" y="170"/>
                </a:cxn>
                <a:cxn ang="0">
                  <a:pos x="2662" y="138"/>
                </a:cxn>
                <a:cxn ang="0">
                  <a:pos x="2673" y="120"/>
                </a:cxn>
                <a:cxn ang="0">
                  <a:pos x="2682" y="101"/>
                </a:cxn>
                <a:cxn ang="0">
                  <a:pos x="2684" y="91"/>
                </a:cxn>
                <a:cxn ang="0">
                  <a:pos x="2686" y="81"/>
                </a:cxn>
                <a:cxn ang="0">
                  <a:pos x="2686" y="71"/>
                </a:cxn>
                <a:cxn ang="0">
                  <a:pos x="2684" y="61"/>
                </a:cxn>
                <a:cxn ang="0">
                  <a:pos x="2681" y="51"/>
                </a:cxn>
                <a:cxn ang="0">
                  <a:pos x="2675" y="41"/>
                </a:cxn>
                <a:cxn ang="0">
                  <a:pos x="2667" y="31"/>
                </a:cxn>
                <a:cxn ang="0">
                  <a:pos x="2656" y="22"/>
                </a:cxn>
                <a:cxn ang="0">
                  <a:pos x="2640" y="7"/>
                </a:cxn>
                <a:cxn ang="0">
                  <a:pos x="2627" y="1"/>
                </a:cxn>
                <a:cxn ang="0">
                  <a:pos x="2620" y="0"/>
                </a:cxn>
                <a:cxn ang="0">
                  <a:pos x="2614" y="2"/>
                </a:cxn>
                <a:cxn ang="0">
                  <a:pos x="2609" y="7"/>
                </a:cxn>
                <a:cxn ang="0">
                  <a:pos x="2603" y="13"/>
                </a:cxn>
                <a:cxn ang="0">
                  <a:pos x="2593" y="18"/>
                </a:cxn>
                <a:cxn ang="0">
                  <a:pos x="2580" y="20"/>
                </a:cxn>
                <a:cxn ang="0">
                  <a:pos x="0" y="20"/>
                </a:cxn>
                <a:cxn ang="0">
                  <a:pos x="26" y="45"/>
                </a:cxn>
                <a:cxn ang="0">
                  <a:pos x="50" y="71"/>
                </a:cxn>
                <a:cxn ang="0">
                  <a:pos x="2580" y="71"/>
                </a:cxn>
                <a:cxn ang="0">
                  <a:pos x="2591" y="70"/>
                </a:cxn>
                <a:cxn ang="0">
                  <a:pos x="2603" y="71"/>
                </a:cxn>
                <a:cxn ang="0">
                  <a:pos x="2608" y="72"/>
                </a:cxn>
                <a:cxn ang="0">
                  <a:pos x="2612" y="76"/>
                </a:cxn>
                <a:cxn ang="0">
                  <a:pos x="2614" y="79"/>
                </a:cxn>
                <a:cxn ang="0">
                  <a:pos x="2613" y="85"/>
                </a:cxn>
                <a:cxn ang="0">
                  <a:pos x="2610" y="93"/>
                </a:cxn>
                <a:cxn ang="0">
                  <a:pos x="2606" y="101"/>
                </a:cxn>
                <a:cxn ang="0">
                  <a:pos x="2600" y="107"/>
                </a:cxn>
                <a:cxn ang="0">
                  <a:pos x="2592" y="112"/>
                </a:cxn>
                <a:cxn ang="0">
                  <a:pos x="2583" y="117"/>
                </a:cxn>
                <a:cxn ang="0">
                  <a:pos x="2573" y="120"/>
                </a:cxn>
                <a:cxn ang="0">
                  <a:pos x="2562" y="122"/>
                </a:cxn>
                <a:cxn ang="0">
                  <a:pos x="2548" y="122"/>
                </a:cxn>
                <a:cxn ang="0">
                  <a:pos x="91" y="122"/>
                </a:cxn>
                <a:cxn ang="0">
                  <a:pos x="118" y="161"/>
                </a:cxn>
                <a:cxn ang="0">
                  <a:pos x="142" y="201"/>
                </a:cxn>
                <a:cxn ang="0">
                  <a:pos x="163" y="242"/>
                </a:cxn>
                <a:cxn ang="0">
                  <a:pos x="181" y="284"/>
                </a:cxn>
                <a:cxn ang="0">
                  <a:pos x="195" y="327"/>
                </a:cxn>
                <a:cxn ang="0">
                  <a:pos x="208" y="371"/>
                </a:cxn>
                <a:cxn ang="0">
                  <a:pos x="219" y="417"/>
                </a:cxn>
                <a:cxn ang="0">
                  <a:pos x="226" y="462"/>
                </a:cxn>
                <a:cxn ang="0">
                  <a:pos x="2275" y="462"/>
                </a:cxn>
              </a:cxnLst>
              <a:rect l="0" t="0" r="r" b="b"/>
              <a:pathLst>
                <a:path w="2686" h="462">
                  <a:moveTo>
                    <a:pt x="2275" y="462"/>
                  </a:moveTo>
                  <a:lnTo>
                    <a:pt x="2346" y="419"/>
                  </a:lnTo>
                  <a:lnTo>
                    <a:pt x="2411" y="376"/>
                  </a:lnTo>
                  <a:lnTo>
                    <a:pt x="2469" y="332"/>
                  </a:lnTo>
                  <a:lnTo>
                    <a:pt x="2519" y="291"/>
                  </a:lnTo>
                  <a:lnTo>
                    <a:pt x="2561" y="255"/>
                  </a:lnTo>
                  <a:lnTo>
                    <a:pt x="2594" y="221"/>
                  </a:lnTo>
                  <a:lnTo>
                    <a:pt x="2620" y="192"/>
                  </a:lnTo>
                  <a:lnTo>
                    <a:pt x="2638" y="170"/>
                  </a:lnTo>
                  <a:lnTo>
                    <a:pt x="2662" y="138"/>
                  </a:lnTo>
                  <a:lnTo>
                    <a:pt x="2673" y="120"/>
                  </a:lnTo>
                  <a:lnTo>
                    <a:pt x="2682" y="101"/>
                  </a:lnTo>
                  <a:lnTo>
                    <a:pt x="2684" y="91"/>
                  </a:lnTo>
                  <a:lnTo>
                    <a:pt x="2686" y="81"/>
                  </a:lnTo>
                  <a:lnTo>
                    <a:pt x="2686" y="71"/>
                  </a:lnTo>
                  <a:lnTo>
                    <a:pt x="2684" y="61"/>
                  </a:lnTo>
                  <a:lnTo>
                    <a:pt x="2681" y="51"/>
                  </a:lnTo>
                  <a:lnTo>
                    <a:pt x="2675" y="41"/>
                  </a:lnTo>
                  <a:lnTo>
                    <a:pt x="2667" y="31"/>
                  </a:lnTo>
                  <a:lnTo>
                    <a:pt x="2656" y="22"/>
                  </a:lnTo>
                  <a:lnTo>
                    <a:pt x="2640" y="7"/>
                  </a:lnTo>
                  <a:lnTo>
                    <a:pt x="2627" y="1"/>
                  </a:lnTo>
                  <a:lnTo>
                    <a:pt x="2620" y="0"/>
                  </a:lnTo>
                  <a:lnTo>
                    <a:pt x="2614" y="2"/>
                  </a:lnTo>
                  <a:lnTo>
                    <a:pt x="2609" y="7"/>
                  </a:lnTo>
                  <a:lnTo>
                    <a:pt x="2603" y="13"/>
                  </a:lnTo>
                  <a:lnTo>
                    <a:pt x="2593" y="18"/>
                  </a:lnTo>
                  <a:lnTo>
                    <a:pt x="2580" y="20"/>
                  </a:lnTo>
                  <a:lnTo>
                    <a:pt x="0" y="20"/>
                  </a:lnTo>
                  <a:lnTo>
                    <a:pt x="26" y="45"/>
                  </a:lnTo>
                  <a:lnTo>
                    <a:pt x="50" y="71"/>
                  </a:lnTo>
                  <a:lnTo>
                    <a:pt x="2580" y="71"/>
                  </a:lnTo>
                  <a:lnTo>
                    <a:pt x="2591" y="70"/>
                  </a:lnTo>
                  <a:lnTo>
                    <a:pt x="2603" y="71"/>
                  </a:lnTo>
                  <a:lnTo>
                    <a:pt x="2608" y="72"/>
                  </a:lnTo>
                  <a:lnTo>
                    <a:pt x="2612" y="76"/>
                  </a:lnTo>
                  <a:lnTo>
                    <a:pt x="2614" y="79"/>
                  </a:lnTo>
                  <a:lnTo>
                    <a:pt x="2613" y="85"/>
                  </a:lnTo>
                  <a:lnTo>
                    <a:pt x="2610" y="93"/>
                  </a:lnTo>
                  <a:lnTo>
                    <a:pt x="2606" y="101"/>
                  </a:lnTo>
                  <a:lnTo>
                    <a:pt x="2600" y="107"/>
                  </a:lnTo>
                  <a:lnTo>
                    <a:pt x="2592" y="112"/>
                  </a:lnTo>
                  <a:lnTo>
                    <a:pt x="2583" y="117"/>
                  </a:lnTo>
                  <a:lnTo>
                    <a:pt x="2573" y="120"/>
                  </a:lnTo>
                  <a:lnTo>
                    <a:pt x="2562" y="122"/>
                  </a:lnTo>
                  <a:lnTo>
                    <a:pt x="2548" y="122"/>
                  </a:lnTo>
                  <a:lnTo>
                    <a:pt x="91" y="122"/>
                  </a:lnTo>
                  <a:lnTo>
                    <a:pt x="118" y="161"/>
                  </a:lnTo>
                  <a:lnTo>
                    <a:pt x="142" y="201"/>
                  </a:lnTo>
                  <a:lnTo>
                    <a:pt x="163" y="242"/>
                  </a:lnTo>
                  <a:lnTo>
                    <a:pt x="181" y="284"/>
                  </a:lnTo>
                  <a:lnTo>
                    <a:pt x="195" y="327"/>
                  </a:lnTo>
                  <a:lnTo>
                    <a:pt x="208" y="371"/>
                  </a:lnTo>
                  <a:lnTo>
                    <a:pt x="219" y="417"/>
                  </a:lnTo>
                  <a:lnTo>
                    <a:pt x="226" y="462"/>
                  </a:lnTo>
                  <a:lnTo>
                    <a:pt x="2275" y="462"/>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67" name="Freeform 78"/>
            <p:cNvSpPr>
              <a:spLocks/>
            </p:cNvSpPr>
            <p:nvPr/>
          </p:nvSpPr>
          <p:spPr bwMode="auto">
            <a:xfrm>
              <a:off x="433" y="360"/>
              <a:ext cx="227" cy="102"/>
            </a:xfrm>
            <a:custGeom>
              <a:avLst/>
              <a:gdLst/>
              <a:ahLst/>
              <a:cxnLst>
                <a:cxn ang="0">
                  <a:pos x="3754" y="120"/>
                </a:cxn>
                <a:cxn ang="0">
                  <a:pos x="3781" y="107"/>
                </a:cxn>
                <a:cxn ang="0">
                  <a:pos x="3795" y="85"/>
                </a:cxn>
                <a:cxn ang="0">
                  <a:pos x="3788" y="72"/>
                </a:cxn>
                <a:cxn ang="0">
                  <a:pos x="3760" y="71"/>
                </a:cxn>
                <a:cxn ang="0">
                  <a:pos x="3760" y="20"/>
                </a:cxn>
                <a:cxn ang="0">
                  <a:pos x="3789" y="8"/>
                </a:cxn>
                <a:cxn ang="0">
                  <a:pos x="3808" y="1"/>
                </a:cxn>
                <a:cxn ang="0">
                  <a:pos x="3848" y="31"/>
                </a:cxn>
                <a:cxn ang="0">
                  <a:pos x="3865" y="62"/>
                </a:cxn>
                <a:cxn ang="0">
                  <a:pos x="3862" y="101"/>
                </a:cxn>
                <a:cxn ang="0">
                  <a:pos x="3818" y="171"/>
                </a:cxn>
                <a:cxn ang="0">
                  <a:pos x="3741" y="254"/>
                </a:cxn>
                <a:cxn ang="0">
                  <a:pos x="3592" y="375"/>
                </a:cxn>
                <a:cxn ang="0">
                  <a:pos x="3455" y="462"/>
                </a:cxn>
                <a:cxn ang="0">
                  <a:pos x="1888" y="548"/>
                </a:cxn>
                <a:cxn ang="0">
                  <a:pos x="1813" y="702"/>
                </a:cxn>
                <a:cxn ang="0">
                  <a:pos x="1697" y="875"/>
                </a:cxn>
                <a:cxn ang="0">
                  <a:pos x="1575" y="1024"/>
                </a:cxn>
                <a:cxn ang="0">
                  <a:pos x="1439" y="1161"/>
                </a:cxn>
                <a:cxn ang="0">
                  <a:pos x="1292" y="1285"/>
                </a:cxn>
                <a:cxn ang="0">
                  <a:pos x="1133" y="1397"/>
                </a:cxn>
                <a:cxn ang="0">
                  <a:pos x="964" y="1492"/>
                </a:cxn>
                <a:cxn ang="0">
                  <a:pos x="787" y="1574"/>
                </a:cxn>
                <a:cxn ang="0">
                  <a:pos x="600" y="1638"/>
                </a:cxn>
                <a:cxn ang="0">
                  <a:pos x="407" y="1684"/>
                </a:cxn>
                <a:cxn ang="0">
                  <a:pos x="206" y="1714"/>
                </a:cxn>
                <a:cxn ang="0">
                  <a:pos x="0" y="1723"/>
                </a:cxn>
                <a:cxn ang="0">
                  <a:pos x="134" y="1661"/>
                </a:cxn>
                <a:cxn ang="0">
                  <a:pos x="331" y="1639"/>
                </a:cxn>
                <a:cxn ang="0">
                  <a:pos x="521" y="1599"/>
                </a:cxn>
                <a:cxn ang="0">
                  <a:pos x="706" y="1542"/>
                </a:cxn>
                <a:cxn ang="0">
                  <a:pos x="881" y="1468"/>
                </a:cxn>
                <a:cxn ang="0">
                  <a:pos x="1047" y="1380"/>
                </a:cxn>
                <a:cxn ang="0">
                  <a:pos x="1205" y="1277"/>
                </a:cxn>
                <a:cxn ang="0">
                  <a:pos x="1353" y="1160"/>
                </a:cxn>
                <a:cxn ang="0">
                  <a:pos x="1488" y="1030"/>
                </a:cxn>
                <a:cxn ang="0">
                  <a:pos x="1612" y="889"/>
                </a:cxn>
                <a:cxn ang="0">
                  <a:pos x="1723" y="737"/>
                </a:cxn>
                <a:cxn ang="0">
                  <a:pos x="1828" y="539"/>
                </a:cxn>
                <a:cxn ang="0">
                  <a:pos x="1873" y="417"/>
                </a:cxn>
                <a:cxn ang="0">
                  <a:pos x="1909" y="289"/>
                </a:cxn>
                <a:cxn ang="0">
                  <a:pos x="1929" y="164"/>
                </a:cxn>
              </a:cxnLst>
              <a:rect l="0" t="0" r="r" b="b"/>
              <a:pathLst>
                <a:path w="3866" h="1723">
                  <a:moveTo>
                    <a:pt x="3729" y="123"/>
                  </a:moveTo>
                  <a:lnTo>
                    <a:pt x="3742" y="122"/>
                  </a:lnTo>
                  <a:lnTo>
                    <a:pt x="3754" y="120"/>
                  </a:lnTo>
                  <a:lnTo>
                    <a:pt x="3764" y="117"/>
                  </a:lnTo>
                  <a:lnTo>
                    <a:pt x="3773" y="112"/>
                  </a:lnTo>
                  <a:lnTo>
                    <a:pt x="3781" y="107"/>
                  </a:lnTo>
                  <a:lnTo>
                    <a:pt x="3786" y="101"/>
                  </a:lnTo>
                  <a:lnTo>
                    <a:pt x="3791" y="93"/>
                  </a:lnTo>
                  <a:lnTo>
                    <a:pt x="3795" y="85"/>
                  </a:lnTo>
                  <a:lnTo>
                    <a:pt x="3795" y="80"/>
                  </a:lnTo>
                  <a:lnTo>
                    <a:pt x="3793" y="75"/>
                  </a:lnTo>
                  <a:lnTo>
                    <a:pt x="3788" y="72"/>
                  </a:lnTo>
                  <a:lnTo>
                    <a:pt x="3783" y="71"/>
                  </a:lnTo>
                  <a:lnTo>
                    <a:pt x="3771" y="71"/>
                  </a:lnTo>
                  <a:lnTo>
                    <a:pt x="3760" y="71"/>
                  </a:lnTo>
                  <a:lnTo>
                    <a:pt x="1933" y="71"/>
                  </a:lnTo>
                  <a:lnTo>
                    <a:pt x="1931" y="20"/>
                  </a:lnTo>
                  <a:lnTo>
                    <a:pt x="3760" y="20"/>
                  </a:lnTo>
                  <a:lnTo>
                    <a:pt x="3774" y="19"/>
                  </a:lnTo>
                  <a:lnTo>
                    <a:pt x="3783" y="13"/>
                  </a:lnTo>
                  <a:lnTo>
                    <a:pt x="3789" y="8"/>
                  </a:lnTo>
                  <a:lnTo>
                    <a:pt x="3795" y="3"/>
                  </a:lnTo>
                  <a:lnTo>
                    <a:pt x="3800" y="0"/>
                  </a:lnTo>
                  <a:lnTo>
                    <a:pt x="3808" y="1"/>
                  </a:lnTo>
                  <a:lnTo>
                    <a:pt x="3820" y="7"/>
                  </a:lnTo>
                  <a:lnTo>
                    <a:pt x="3838" y="22"/>
                  </a:lnTo>
                  <a:lnTo>
                    <a:pt x="3848" y="31"/>
                  </a:lnTo>
                  <a:lnTo>
                    <a:pt x="3856" y="42"/>
                  </a:lnTo>
                  <a:lnTo>
                    <a:pt x="3861" y="51"/>
                  </a:lnTo>
                  <a:lnTo>
                    <a:pt x="3865" y="62"/>
                  </a:lnTo>
                  <a:lnTo>
                    <a:pt x="3866" y="71"/>
                  </a:lnTo>
                  <a:lnTo>
                    <a:pt x="3866" y="81"/>
                  </a:lnTo>
                  <a:lnTo>
                    <a:pt x="3862" y="101"/>
                  </a:lnTo>
                  <a:lnTo>
                    <a:pt x="3854" y="120"/>
                  </a:lnTo>
                  <a:lnTo>
                    <a:pt x="3842" y="138"/>
                  </a:lnTo>
                  <a:lnTo>
                    <a:pt x="3818" y="171"/>
                  </a:lnTo>
                  <a:lnTo>
                    <a:pt x="3801" y="192"/>
                  </a:lnTo>
                  <a:lnTo>
                    <a:pt x="3775" y="221"/>
                  </a:lnTo>
                  <a:lnTo>
                    <a:pt x="3741" y="254"/>
                  </a:lnTo>
                  <a:lnTo>
                    <a:pt x="3699" y="292"/>
                  </a:lnTo>
                  <a:lnTo>
                    <a:pt x="3649" y="332"/>
                  </a:lnTo>
                  <a:lnTo>
                    <a:pt x="3592" y="375"/>
                  </a:lnTo>
                  <a:lnTo>
                    <a:pt x="3527" y="419"/>
                  </a:lnTo>
                  <a:lnTo>
                    <a:pt x="3492" y="441"/>
                  </a:lnTo>
                  <a:lnTo>
                    <a:pt x="3455" y="462"/>
                  </a:lnTo>
                  <a:lnTo>
                    <a:pt x="1920" y="462"/>
                  </a:lnTo>
                  <a:lnTo>
                    <a:pt x="1905" y="506"/>
                  </a:lnTo>
                  <a:lnTo>
                    <a:pt x="1888" y="548"/>
                  </a:lnTo>
                  <a:lnTo>
                    <a:pt x="1870" y="588"/>
                  </a:lnTo>
                  <a:lnTo>
                    <a:pt x="1852" y="628"/>
                  </a:lnTo>
                  <a:lnTo>
                    <a:pt x="1813" y="702"/>
                  </a:lnTo>
                  <a:lnTo>
                    <a:pt x="1771" y="769"/>
                  </a:lnTo>
                  <a:lnTo>
                    <a:pt x="1736" y="823"/>
                  </a:lnTo>
                  <a:lnTo>
                    <a:pt x="1697" y="875"/>
                  </a:lnTo>
                  <a:lnTo>
                    <a:pt x="1658" y="926"/>
                  </a:lnTo>
                  <a:lnTo>
                    <a:pt x="1617" y="976"/>
                  </a:lnTo>
                  <a:lnTo>
                    <a:pt x="1575" y="1024"/>
                  </a:lnTo>
                  <a:lnTo>
                    <a:pt x="1530" y="1071"/>
                  </a:lnTo>
                  <a:lnTo>
                    <a:pt x="1485" y="1117"/>
                  </a:lnTo>
                  <a:lnTo>
                    <a:pt x="1439" y="1161"/>
                  </a:lnTo>
                  <a:lnTo>
                    <a:pt x="1390" y="1204"/>
                  </a:lnTo>
                  <a:lnTo>
                    <a:pt x="1341" y="1245"/>
                  </a:lnTo>
                  <a:lnTo>
                    <a:pt x="1292" y="1285"/>
                  </a:lnTo>
                  <a:lnTo>
                    <a:pt x="1239" y="1324"/>
                  </a:lnTo>
                  <a:lnTo>
                    <a:pt x="1186" y="1361"/>
                  </a:lnTo>
                  <a:lnTo>
                    <a:pt x="1133" y="1397"/>
                  </a:lnTo>
                  <a:lnTo>
                    <a:pt x="1078" y="1430"/>
                  </a:lnTo>
                  <a:lnTo>
                    <a:pt x="1021" y="1462"/>
                  </a:lnTo>
                  <a:lnTo>
                    <a:pt x="964" y="1492"/>
                  </a:lnTo>
                  <a:lnTo>
                    <a:pt x="905" y="1521"/>
                  </a:lnTo>
                  <a:lnTo>
                    <a:pt x="847" y="1548"/>
                  </a:lnTo>
                  <a:lnTo>
                    <a:pt x="787" y="1574"/>
                  </a:lnTo>
                  <a:lnTo>
                    <a:pt x="726" y="1597"/>
                  </a:lnTo>
                  <a:lnTo>
                    <a:pt x="663" y="1618"/>
                  </a:lnTo>
                  <a:lnTo>
                    <a:pt x="600" y="1638"/>
                  </a:lnTo>
                  <a:lnTo>
                    <a:pt x="536" y="1656"/>
                  </a:lnTo>
                  <a:lnTo>
                    <a:pt x="472" y="1670"/>
                  </a:lnTo>
                  <a:lnTo>
                    <a:pt x="407" y="1684"/>
                  </a:lnTo>
                  <a:lnTo>
                    <a:pt x="340" y="1697"/>
                  </a:lnTo>
                  <a:lnTo>
                    <a:pt x="273" y="1706"/>
                  </a:lnTo>
                  <a:lnTo>
                    <a:pt x="206" y="1714"/>
                  </a:lnTo>
                  <a:lnTo>
                    <a:pt x="138" y="1719"/>
                  </a:lnTo>
                  <a:lnTo>
                    <a:pt x="69" y="1722"/>
                  </a:lnTo>
                  <a:lnTo>
                    <a:pt x="0" y="1723"/>
                  </a:lnTo>
                  <a:lnTo>
                    <a:pt x="0" y="1665"/>
                  </a:lnTo>
                  <a:lnTo>
                    <a:pt x="67" y="1664"/>
                  </a:lnTo>
                  <a:lnTo>
                    <a:pt x="134" y="1661"/>
                  </a:lnTo>
                  <a:lnTo>
                    <a:pt x="200" y="1656"/>
                  </a:lnTo>
                  <a:lnTo>
                    <a:pt x="266" y="1648"/>
                  </a:lnTo>
                  <a:lnTo>
                    <a:pt x="331" y="1639"/>
                  </a:lnTo>
                  <a:lnTo>
                    <a:pt x="395" y="1627"/>
                  </a:lnTo>
                  <a:lnTo>
                    <a:pt x="459" y="1614"/>
                  </a:lnTo>
                  <a:lnTo>
                    <a:pt x="521" y="1599"/>
                  </a:lnTo>
                  <a:lnTo>
                    <a:pt x="583" y="1581"/>
                  </a:lnTo>
                  <a:lnTo>
                    <a:pt x="644" y="1562"/>
                  </a:lnTo>
                  <a:lnTo>
                    <a:pt x="706" y="1542"/>
                  </a:lnTo>
                  <a:lnTo>
                    <a:pt x="764" y="1519"/>
                  </a:lnTo>
                  <a:lnTo>
                    <a:pt x="823" y="1495"/>
                  </a:lnTo>
                  <a:lnTo>
                    <a:pt x="881" y="1468"/>
                  </a:lnTo>
                  <a:lnTo>
                    <a:pt x="938" y="1441"/>
                  </a:lnTo>
                  <a:lnTo>
                    <a:pt x="993" y="1410"/>
                  </a:lnTo>
                  <a:lnTo>
                    <a:pt x="1047" y="1380"/>
                  </a:lnTo>
                  <a:lnTo>
                    <a:pt x="1101" y="1347"/>
                  </a:lnTo>
                  <a:lnTo>
                    <a:pt x="1154" y="1312"/>
                  </a:lnTo>
                  <a:lnTo>
                    <a:pt x="1205" y="1277"/>
                  </a:lnTo>
                  <a:lnTo>
                    <a:pt x="1256" y="1239"/>
                  </a:lnTo>
                  <a:lnTo>
                    <a:pt x="1304" y="1200"/>
                  </a:lnTo>
                  <a:lnTo>
                    <a:pt x="1353" y="1160"/>
                  </a:lnTo>
                  <a:lnTo>
                    <a:pt x="1399" y="1118"/>
                  </a:lnTo>
                  <a:lnTo>
                    <a:pt x="1444" y="1075"/>
                  </a:lnTo>
                  <a:lnTo>
                    <a:pt x="1488" y="1030"/>
                  </a:lnTo>
                  <a:lnTo>
                    <a:pt x="1530" y="985"/>
                  </a:lnTo>
                  <a:lnTo>
                    <a:pt x="1572" y="938"/>
                  </a:lnTo>
                  <a:lnTo>
                    <a:pt x="1612" y="889"/>
                  </a:lnTo>
                  <a:lnTo>
                    <a:pt x="1650" y="840"/>
                  </a:lnTo>
                  <a:lnTo>
                    <a:pt x="1687" y="789"/>
                  </a:lnTo>
                  <a:lnTo>
                    <a:pt x="1723" y="737"/>
                  </a:lnTo>
                  <a:lnTo>
                    <a:pt x="1760" y="677"/>
                  </a:lnTo>
                  <a:lnTo>
                    <a:pt x="1796" y="610"/>
                  </a:lnTo>
                  <a:lnTo>
                    <a:pt x="1828" y="539"/>
                  </a:lnTo>
                  <a:lnTo>
                    <a:pt x="1858" y="462"/>
                  </a:lnTo>
                  <a:lnTo>
                    <a:pt x="1859" y="460"/>
                  </a:lnTo>
                  <a:lnTo>
                    <a:pt x="1873" y="417"/>
                  </a:lnTo>
                  <a:lnTo>
                    <a:pt x="1887" y="374"/>
                  </a:lnTo>
                  <a:lnTo>
                    <a:pt x="1899" y="331"/>
                  </a:lnTo>
                  <a:lnTo>
                    <a:pt x="1909" y="289"/>
                  </a:lnTo>
                  <a:lnTo>
                    <a:pt x="1918" y="247"/>
                  </a:lnTo>
                  <a:lnTo>
                    <a:pt x="1924" y="205"/>
                  </a:lnTo>
                  <a:lnTo>
                    <a:pt x="1929" y="164"/>
                  </a:lnTo>
                  <a:lnTo>
                    <a:pt x="1931" y="123"/>
                  </a:lnTo>
                  <a:lnTo>
                    <a:pt x="3729" y="123"/>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68" name="Freeform 79"/>
            <p:cNvSpPr>
              <a:spLocks noEditPoints="1"/>
            </p:cNvSpPr>
            <p:nvPr/>
          </p:nvSpPr>
          <p:spPr bwMode="auto">
            <a:xfrm>
              <a:off x="211" y="413"/>
              <a:ext cx="43" cy="40"/>
            </a:xfrm>
            <a:custGeom>
              <a:avLst/>
              <a:gdLst/>
              <a:ahLst/>
              <a:cxnLst>
                <a:cxn ang="0">
                  <a:pos x="127" y="260"/>
                </a:cxn>
                <a:cxn ang="0">
                  <a:pos x="277" y="584"/>
                </a:cxn>
                <a:cxn ang="0">
                  <a:pos x="644" y="398"/>
                </a:cxn>
                <a:cxn ang="0">
                  <a:pos x="481" y="80"/>
                </a:cxn>
                <a:cxn ang="0">
                  <a:pos x="127" y="260"/>
                </a:cxn>
                <a:cxn ang="0">
                  <a:pos x="26" y="301"/>
                </a:cxn>
                <a:cxn ang="0">
                  <a:pos x="0" y="250"/>
                </a:cxn>
                <a:cxn ang="0">
                  <a:pos x="513" y="0"/>
                </a:cxn>
                <a:cxn ang="0">
                  <a:pos x="726" y="436"/>
                </a:cxn>
                <a:cxn ang="0">
                  <a:pos x="209" y="691"/>
                </a:cxn>
                <a:cxn ang="0">
                  <a:pos x="187" y="642"/>
                </a:cxn>
                <a:cxn ang="0">
                  <a:pos x="222" y="613"/>
                </a:cxn>
                <a:cxn ang="0">
                  <a:pos x="66" y="294"/>
                </a:cxn>
                <a:cxn ang="0">
                  <a:pos x="26" y="301"/>
                </a:cxn>
              </a:cxnLst>
              <a:rect l="0" t="0" r="r" b="b"/>
              <a:pathLst>
                <a:path w="726" h="691">
                  <a:moveTo>
                    <a:pt x="127" y="260"/>
                  </a:moveTo>
                  <a:lnTo>
                    <a:pt x="277" y="584"/>
                  </a:lnTo>
                  <a:lnTo>
                    <a:pt x="644" y="398"/>
                  </a:lnTo>
                  <a:lnTo>
                    <a:pt x="481" y="80"/>
                  </a:lnTo>
                  <a:lnTo>
                    <a:pt x="127" y="260"/>
                  </a:lnTo>
                  <a:close/>
                  <a:moveTo>
                    <a:pt x="26" y="301"/>
                  </a:moveTo>
                  <a:lnTo>
                    <a:pt x="0" y="250"/>
                  </a:lnTo>
                  <a:lnTo>
                    <a:pt x="513" y="0"/>
                  </a:lnTo>
                  <a:lnTo>
                    <a:pt x="726" y="436"/>
                  </a:lnTo>
                  <a:lnTo>
                    <a:pt x="209" y="691"/>
                  </a:lnTo>
                  <a:lnTo>
                    <a:pt x="187" y="642"/>
                  </a:lnTo>
                  <a:lnTo>
                    <a:pt x="222" y="613"/>
                  </a:lnTo>
                  <a:lnTo>
                    <a:pt x="66" y="294"/>
                  </a:lnTo>
                  <a:lnTo>
                    <a:pt x="26" y="301"/>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69" name="Freeform 80"/>
            <p:cNvSpPr>
              <a:spLocks/>
            </p:cNvSpPr>
            <p:nvPr/>
          </p:nvSpPr>
          <p:spPr bwMode="auto">
            <a:xfrm>
              <a:off x="221" y="421"/>
              <a:ext cx="25" cy="24"/>
            </a:xfrm>
            <a:custGeom>
              <a:avLst/>
              <a:gdLst/>
              <a:ahLst/>
              <a:cxnLst>
                <a:cxn ang="0">
                  <a:pos x="0" y="131"/>
                </a:cxn>
                <a:cxn ang="0">
                  <a:pos x="41" y="103"/>
                </a:cxn>
                <a:cxn ang="0">
                  <a:pos x="105" y="224"/>
                </a:cxn>
                <a:cxn ang="0">
                  <a:pos x="186" y="187"/>
                </a:cxn>
                <a:cxn ang="0">
                  <a:pos x="141" y="89"/>
                </a:cxn>
                <a:cxn ang="0">
                  <a:pos x="191" y="65"/>
                </a:cxn>
                <a:cxn ang="0">
                  <a:pos x="240" y="149"/>
                </a:cxn>
                <a:cxn ang="0">
                  <a:pos x="295" y="134"/>
                </a:cxn>
                <a:cxn ang="0">
                  <a:pos x="240" y="23"/>
                </a:cxn>
                <a:cxn ang="0">
                  <a:pos x="293" y="0"/>
                </a:cxn>
                <a:cxn ang="0">
                  <a:pos x="425" y="260"/>
                </a:cxn>
                <a:cxn ang="0">
                  <a:pos x="381" y="290"/>
                </a:cxn>
                <a:cxn ang="0">
                  <a:pos x="323" y="198"/>
                </a:cxn>
                <a:cxn ang="0">
                  <a:pos x="268" y="216"/>
                </a:cxn>
                <a:cxn ang="0">
                  <a:pos x="312" y="304"/>
                </a:cxn>
                <a:cxn ang="0">
                  <a:pos x="274" y="333"/>
                </a:cxn>
                <a:cxn ang="0">
                  <a:pos x="210" y="254"/>
                </a:cxn>
                <a:cxn ang="0">
                  <a:pos x="145" y="276"/>
                </a:cxn>
                <a:cxn ang="0">
                  <a:pos x="187" y="379"/>
                </a:cxn>
                <a:cxn ang="0">
                  <a:pos x="180" y="409"/>
                </a:cxn>
                <a:cxn ang="0">
                  <a:pos x="143" y="417"/>
                </a:cxn>
                <a:cxn ang="0">
                  <a:pos x="0" y="131"/>
                </a:cxn>
              </a:cxnLst>
              <a:rect l="0" t="0" r="r" b="b"/>
              <a:pathLst>
                <a:path w="425" h="417">
                  <a:moveTo>
                    <a:pt x="0" y="131"/>
                  </a:moveTo>
                  <a:lnTo>
                    <a:pt x="41" y="103"/>
                  </a:lnTo>
                  <a:lnTo>
                    <a:pt x="105" y="224"/>
                  </a:lnTo>
                  <a:lnTo>
                    <a:pt x="186" y="187"/>
                  </a:lnTo>
                  <a:lnTo>
                    <a:pt x="141" y="89"/>
                  </a:lnTo>
                  <a:lnTo>
                    <a:pt x="191" y="65"/>
                  </a:lnTo>
                  <a:lnTo>
                    <a:pt x="240" y="149"/>
                  </a:lnTo>
                  <a:lnTo>
                    <a:pt x="295" y="134"/>
                  </a:lnTo>
                  <a:lnTo>
                    <a:pt x="240" y="23"/>
                  </a:lnTo>
                  <a:lnTo>
                    <a:pt x="293" y="0"/>
                  </a:lnTo>
                  <a:lnTo>
                    <a:pt x="425" y="260"/>
                  </a:lnTo>
                  <a:lnTo>
                    <a:pt x="381" y="290"/>
                  </a:lnTo>
                  <a:lnTo>
                    <a:pt x="323" y="198"/>
                  </a:lnTo>
                  <a:lnTo>
                    <a:pt x="268" y="216"/>
                  </a:lnTo>
                  <a:lnTo>
                    <a:pt x="312" y="304"/>
                  </a:lnTo>
                  <a:lnTo>
                    <a:pt x="274" y="333"/>
                  </a:lnTo>
                  <a:lnTo>
                    <a:pt x="210" y="254"/>
                  </a:lnTo>
                  <a:lnTo>
                    <a:pt x="145" y="276"/>
                  </a:lnTo>
                  <a:lnTo>
                    <a:pt x="187" y="379"/>
                  </a:lnTo>
                  <a:lnTo>
                    <a:pt x="180" y="409"/>
                  </a:lnTo>
                  <a:lnTo>
                    <a:pt x="143" y="417"/>
                  </a:lnTo>
                  <a:lnTo>
                    <a:pt x="0" y="131"/>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70" name="Freeform 81"/>
            <p:cNvSpPr>
              <a:spLocks/>
            </p:cNvSpPr>
            <p:nvPr/>
          </p:nvSpPr>
          <p:spPr bwMode="auto">
            <a:xfrm>
              <a:off x="231" y="437"/>
              <a:ext cx="4" cy="3"/>
            </a:xfrm>
            <a:custGeom>
              <a:avLst/>
              <a:gdLst/>
              <a:ahLst/>
              <a:cxnLst>
                <a:cxn ang="0">
                  <a:pos x="1" y="22"/>
                </a:cxn>
                <a:cxn ang="0">
                  <a:pos x="0" y="45"/>
                </a:cxn>
                <a:cxn ang="0">
                  <a:pos x="37" y="61"/>
                </a:cxn>
                <a:cxn ang="0">
                  <a:pos x="65" y="19"/>
                </a:cxn>
                <a:cxn ang="0">
                  <a:pos x="47" y="4"/>
                </a:cxn>
                <a:cxn ang="0">
                  <a:pos x="30" y="0"/>
                </a:cxn>
                <a:cxn ang="0">
                  <a:pos x="1" y="22"/>
                </a:cxn>
              </a:cxnLst>
              <a:rect l="0" t="0" r="r" b="b"/>
              <a:pathLst>
                <a:path w="65" h="61">
                  <a:moveTo>
                    <a:pt x="1" y="22"/>
                  </a:moveTo>
                  <a:lnTo>
                    <a:pt x="0" y="45"/>
                  </a:lnTo>
                  <a:lnTo>
                    <a:pt x="37" y="61"/>
                  </a:lnTo>
                  <a:lnTo>
                    <a:pt x="65" y="19"/>
                  </a:lnTo>
                  <a:lnTo>
                    <a:pt x="47" y="4"/>
                  </a:lnTo>
                  <a:lnTo>
                    <a:pt x="30" y="0"/>
                  </a:lnTo>
                  <a:lnTo>
                    <a:pt x="1" y="22"/>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71" name="Freeform 82"/>
            <p:cNvSpPr>
              <a:spLocks/>
            </p:cNvSpPr>
            <p:nvPr/>
          </p:nvSpPr>
          <p:spPr bwMode="auto">
            <a:xfrm>
              <a:off x="230" y="446"/>
              <a:ext cx="33" cy="22"/>
            </a:xfrm>
            <a:custGeom>
              <a:avLst/>
              <a:gdLst/>
              <a:ahLst/>
              <a:cxnLst>
                <a:cxn ang="0">
                  <a:pos x="0" y="357"/>
                </a:cxn>
                <a:cxn ang="0">
                  <a:pos x="5" y="323"/>
                </a:cxn>
                <a:cxn ang="0">
                  <a:pos x="197" y="168"/>
                </a:cxn>
                <a:cxn ang="0">
                  <a:pos x="396" y="7"/>
                </a:cxn>
                <a:cxn ang="0">
                  <a:pos x="405" y="2"/>
                </a:cxn>
                <a:cxn ang="0">
                  <a:pos x="417" y="0"/>
                </a:cxn>
                <a:cxn ang="0">
                  <a:pos x="424" y="1"/>
                </a:cxn>
                <a:cxn ang="0">
                  <a:pos x="431" y="3"/>
                </a:cxn>
                <a:cxn ang="0">
                  <a:pos x="438" y="7"/>
                </a:cxn>
                <a:cxn ang="0">
                  <a:pos x="444" y="13"/>
                </a:cxn>
                <a:cxn ang="0">
                  <a:pos x="509" y="93"/>
                </a:cxn>
                <a:cxn ang="0">
                  <a:pos x="559" y="158"/>
                </a:cxn>
                <a:cxn ang="0">
                  <a:pos x="383" y="217"/>
                </a:cxn>
                <a:cxn ang="0">
                  <a:pos x="369" y="223"/>
                </a:cxn>
                <a:cxn ang="0">
                  <a:pos x="358" y="233"/>
                </a:cxn>
                <a:cxn ang="0">
                  <a:pos x="351" y="243"/>
                </a:cxn>
                <a:cxn ang="0">
                  <a:pos x="344" y="258"/>
                </a:cxn>
                <a:cxn ang="0">
                  <a:pos x="337" y="276"/>
                </a:cxn>
                <a:cxn ang="0">
                  <a:pos x="324" y="298"/>
                </a:cxn>
                <a:cxn ang="0">
                  <a:pos x="316" y="311"/>
                </a:cxn>
                <a:cxn ang="0">
                  <a:pos x="304" y="323"/>
                </a:cxn>
                <a:cxn ang="0">
                  <a:pos x="292" y="336"/>
                </a:cxn>
                <a:cxn ang="0">
                  <a:pos x="275" y="349"/>
                </a:cxn>
                <a:cxn ang="0">
                  <a:pos x="246" y="370"/>
                </a:cxn>
                <a:cxn ang="0">
                  <a:pos x="233" y="377"/>
                </a:cxn>
                <a:cxn ang="0">
                  <a:pos x="222" y="381"/>
                </a:cxn>
                <a:cxn ang="0">
                  <a:pos x="213" y="383"/>
                </a:cxn>
                <a:cxn ang="0">
                  <a:pos x="204" y="383"/>
                </a:cxn>
                <a:cxn ang="0">
                  <a:pos x="195" y="380"/>
                </a:cxn>
                <a:cxn ang="0">
                  <a:pos x="185" y="375"/>
                </a:cxn>
                <a:cxn ang="0">
                  <a:pos x="166" y="361"/>
                </a:cxn>
                <a:cxn ang="0">
                  <a:pos x="152" y="350"/>
                </a:cxn>
                <a:cxn ang="0">
                  <a:pos x="141" y="338"/>
                </a:cxn>
                <a:cxn ang="0">
                  <a:pos x="172" y="283"/>
                </a:cxn>
                <a:cxn ang="0">
                  <a:pos x="175" y="289"/>
                </a:cxn>
                <a:cxn ang="0">
                  <a:pos x="185" y="300"/>
                </a:cxn>
                <a:cxn ang="0">
                  <a:pos x="197" y="312"/>
                </a:cxn>
                <a:cxn ang="0">
                  <a:pos x="204" y="317"/>
                </a:cxn>
                <a:cxn ang="0">
                  <a:pos x="213" y="319"/>
                </a:cxn>
                <a:cxn ang="0">
                  <a:pos x="229" y="319"/>
                </a:cxn>
                <a:cxn ang="0">
                  <a:pos x="243" y="316"/>
                </a:cxn>
                <a:cxn ang="0">
                  <a:pos x="257" y="310"/>
                </a:cxn>
                <a:cxn ang="0">
                  <a:pos x="267" y="301"/>
                </a:cxn>
                <a:cxn ang="0">
                  <a:pos x="273" y="290"/>
                </a:cxn>
                <a:cxn ang="0">
                  <a:pos x="277" y="274"/>
                </a:cxn>
                <a:cxn ang="0">
                  <a:pos x="281" y="257"/>
                </a:cxn>
                <a:cxn ang="0">
                  <a:pos x="287" y="240"/>
                </a:cxn>
                <a:cxn ang="0">
                  <a:pos x="291" y="224"/>
                </a:cxn>
                <a:cxn ang="0">
                  <a:pos x="296" y="209"/>
                </a:cxn>
                <a:cxn ang="0">
                  <a:pos x="300" y="201"/>
                </a:cxn>
                <a:cxn ang="0">
                  <a:pos x="307" y="194"/>
                </a:cxn>
                <a:cxn ang="0">
                  <a:pos x="316" y="188"/>
                </a:cxn>
                <a:cxn ang="0">
                  <a:pos x="330" y="182"/>
                </a:cxn>
                <a:cxn ang="0">
                  <a:pos x="413" y="151"/>
                </a:cxn>
                <a:cxn ang="0">
                  <a:pos x="465" y="130"/>
                </a:cxn>
                <a:cxn ang="0">
                  <a:pos x="418" y="68"/>
                </a:cxn>
                <a:cxn ang="0">
                  <a:pos x="39" y="379"/>
                </a:cxn>
                <a:cxn ang="0">
                  <a:pos x="0" y="357"/>
                </a:cxn>
              </a:cxnLst>
              <a:rect l="0" t="0" r="r" b="b"/>
              <a:pathLst>
                <a:path w="559" h="383">
                  <a:moveTo>
                    <a:pt x="0" y="357"/>
                  </a:moveTo>
                  <a:lnTo>
                    <a:pt x="5" y="323"/>
                  </a:lnTo>
                  <a:lnTo>
                    <a:pt x="197" y="168"/>
                  </a:lnTo>
                  <a:lnTo>
                    <a:pt x="396" y="7"/>
                  </a:lnTo>
                  <a:lnTo>
                    <a:pt x="405" y="2"/>
                  </a:lnTo>
                  <a:lnTo>
                    <a:pt x="417" y="0"/>
                  </a:lnTo>
                  <a:lnTo>
                    <a:pt x="424" y="1"/>
                  </a:lnTo>
                  <a:lnTo>
                    <a:pt x="431" y="3"/>
                  </a:lnTo>
                  <a:lnTo>
                    <a:pt x="438" y="7"/>
                  </a:lnTo>
                  <a:lnTo>
                    <a:pt x="444" y="13"/>
                  </a:lnTo>
                  <a:lnTo>
                    <a:pt x="509" y="93"/>
                  </a:lnTo>
                  <a:lnTo>
                    <a:pt x="559" y="158"/>
                  </a:lnTo>
                  <a:lnTo>
                    <a:pt x="383" y="217"/>
                  </a:lnTo>
                  <a:lnTo>
                    <a:pt x="369" y="223"/>
                  </a:lnTo>
                  <a:lnTo>
                    <a:pt x="358" y="233"/>
                  </a:lnTo>
                  <a:lnTo>
                    <a:pt x="351" y="243"/>
                  </a:lnTo>
                  <a:lnTo>
                    <a:pt x="344" y="258"/>
                  </a:lnTo>
                  <a:lnTo>
                    <a:pt x="337" y="276"/>
                  </a:lnTo>
                  <a:lnTo>
                    <a:pt x="324" y="298"/>
                  </a:lnTo>
                  <a:lnTo>
                    <a:pt x="316" y="311"/>
                  </a:lnTo>
                  <a:lnTo>
                    <a:pt x="304" y="323"/>
                  </a:lnTo>
                  <a:lnTo>
                    <a:pt x="292" y="336"/>
                  </a:lnTo>
                  <a:lnTo>
                    <a:pt x="275" y="349"/>
                  </a:lnTo>
                  <a:lnTo>
                    <a:pt x="246" y="370"/>
                  </a:lnTo>
                  <a:lnTo>
                    <a:pt x="233" y="377"/>
                  </a:lnTo>
                  <a:lnTo>
                    <a:pt x="222" y="381"/>
                  </a:lnTo>
                  <a:lnTo>
                    <a:pt x="213" y="383"/>
                  </a:lnTo>
                  <a:lnTo>
                    <a:pt x="204" y="383"/>
                  </a:lnTo>
                  <a:lnTo>
                    <a:pt x="195" y="380"/>
                  </a:lnTo>
                  <a:lnTo>
                    <a:pt x="185" y="375"/>
                  </a:lnTo>
                  <a:lnTo>
                    <a:pt x="166" y="361"/>
                  </a:lnTo>
                  <a:lnTo>
                    <a:pt x="152" y="350"/>
                  </a:lnTo>
                  <a:lnTo>
                    <a:pt x="141" y="338"/>
                  </a:lnTo>
                  <a:lnTo>
                    <a:pt x="172" y="283"/>
                  </a:lnTo>
                  <a:lnTo>
                    <a:pt x="175" y="289"/>
                  </a:lnTo>
                  <a:lnTo>
                    <a:pt x="185" y="300"/>
                  </a:lnTo>
                  <a:lnTo>
                    <a:pt x="197" y="312"/>
                  </a:lnTo>
                  <a:lnTo>
                    <a:pt x="204" y="317"/>
                  </a:lnTo>
                  <a:lnTo>
                    <a:pt x="213" y="319"/>
                  </a:lnTo>
                  <a:lnTo>
                    <a:pt x="229" y="319"/>
                  </a:lnTo>
                  <a:lnTo>
                    <a:pt x="243" y="316"/>
                  </a:lnTo>
                  <a:lnTo>
                    <a:pt x="257" y="310"/>
                  </a:lnTo>
                  <a:lnTo>
                    <a:pt x="267" y="301"/>
                  </a:lnTo>
                  <a:lnTo>
                    <a:pt x="273" y="290"/>
                  </a:lnTo>
                  <a:lnTo>
                    <a:pt x="277" y="274"/>
                  </a:lnTo>
                  <a:lnTo>
                    <a:pt x="281" y="257"/>
                  </a:lnTo>
                  <a:lnTo>
                    <a:pt x="287" y="240"/>
                  </a:lnTo>
                  <a:lnTo>
                    <a:pt x="291" y="224"/>
                  </a:lnTo>
                  <a:lnTo>
                    <a:pt x="296" y="209"/>
                  </a:lnTo>
                  <a:lnTo>
                    <a:pt x="300" y="201"/>
                  </a:lnTo>
                  <a:lnTo>
                    <a:pt x="307" y="194"/>
                  </a:lnTo>
                  <a:lnTo>
                    <a:pt x="316" y="188"/>
                  </a:lnTo>
                  <a:lnTo>
                    <a:pt x="330" y="182"/>
                  </a:lnTo>
                  <a:lnTo>
                    <a:pt x="413" y="151"/>
                  </a:lnTo>
                  <a:lnTo>
                    <a:pt x="465" y="130"/>
                  </a:lnTo>
                  <a:lnTo>
                    <a:pt x="418" y="68"/>
                  </a:lnTo>
                  <a:lnTo>
                    <a:pt x="39" y="379"/>
                  </a:lnTo>
                  <a:lnTo>
                    <a:pt x="0" y="357"/>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72" name="Freeform 83"/>
            <p:cNvSpPr>
              <a:spLocks/>
            </p:cNvSpPr>
            <p:nvPr/>
          </p:nvSpPr>
          <p:spPr bwMode="auto">
            <a:xfrm>
              <a:off x="238" y="467"/>
              <a:ext cx="13" cy="6"/>
            </a:xfrm>
            <a:custGeom>
              <a:avLst/>
              <a:gdLst/>
              <a:ahLst/>
              <a:cxnLst>
                <a:cxn ang="0">
                  <a:pos x="0" y="48"/>
                </a:cxn>
                <a:cxn ang="0">
                  <a:pos x="25" y="47"/>
                </a:cxn>
                <a:cxn ang="0">
                  <a:pos x="53" y="45"/>
                </a:cxn>
                <a:cxn ang="0">
                  <a:pos x="85" y="41"/>
                </a:cxn>
                <a:cxn ang="0">
                  <a:pos x="118" y="36"/>
                </a:cxn>
                <a:cxn ang="0">
                  <a:pos x="150" y="28"/>
                </a:cxn>
                <a:cxn ang="0">
                  <a:pos x="163" y="21"/>
                </a:cxn>
                <a:cxn ang="0">
                  <a:pos x="176" y="15"/>
                </a:cxn>
                <a:cxn ang="0">
                  <a:pos x="185" y="8"/>
                </a:cxn>
                <a:cxn ang="0">
                  <a:pos x="193" y="0"/>
                </a:cxn>
                <a:cxn ang="0">
                  <a:pos x="206" y="20"/>
                </a:cxn>
                <a:cxn ang="0">
                  <a:pos x="217" y="36"/>
                </a:cxn>
                <a:cxn ang="0">
                  <a:pos x="225" y="52"/>
                </a:cxn>
                <a:cxn ang="0">
                  <a:pos x="201" y="74"/>
                </a:cxn>
                <a:cxn ang="0">
                  <a:pos x="2" y="104"/>
                </a:cxn>
                <a:cxn ang="0">
                  <a:pos x="0" y="48"/>
                </a:cxn>
              </a:cxnLst>
              <a:rect l="0" t="0" r="r" b="b"/>
              <a:pathLst>
                <a:path w="225" h="104">
                  <a:moveTo>
                    <a:pt x="0" y="48"/>
                  </a:moveTo>
                  <a:lnTo>
                    <a:pt x="25" y="47"/>
                  </a:lnTo>
                  <a:lnTo>
                    <a:pt x="53" y="45"/>
                  </a:lnTo>
                  <a:lnTo>
                    <a:pt x="85" y="41"/>
                  </a:lnTo>
                  <a:lnTo>
                    <a:pt x="118" y="36"/>
                  </a:lnTo>
                  <a:lnTo>
                    <a:pt x="150" y="28"/>
                  </a:lnTo>
                  <a:lnTo>
                    <a:pt x="163" y="21"/>
                  </a:lnTo>
                  <a:lnTo>
                    <a:pt x="176" y="15"/>
                  </a:lnTo>
                  <a:lnTo>
                    <a:pt x="185" y="8"/>
                  </a:lnTo>
                  <a:lnTo>
                    <a:pt x="193" y="0"/>
                  </a:lnTo>
                  <a:lnTo>
                    <a:pt x="206" y="20"/>
                  </a:lnTo>
                  <a:lnTo>
                    <a:pt x="217" y="36"/>
                  </a:lnTo>
                  <a:lnTo>
                    <a:pt x="225" y="52"/>
                  </a:lnTo>
                  <a:lnTo>
                    <a:pt x="201" y="74"/>
                  </a:lnTo>
                  <a:lnTo>
                    <a:pt x="2" y="104"/>
                  </a:lnTo>
                  <a:lnTo>
                    <a:pt x="0" y="48"/>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73" name="Freeform 84"/>
            <p:cNvSpPr>
              <a:spLocks/>
            </p:cNvSpPr>
            <p:nvPr/>
          </p:nvSpPr>
          <p:spPr bwMode="auto">
            <a:xfrm>
              <a:off x="239" y="460"/>
              <a:ext cx="28" cy="22"/>
            </a:xfrm>
            <a:custGeom>
              <a:avLst/>
              <a:gdLst/>
              <a:ahLst/>
              <a:cxnLst>
                <a:cxn ang="0">
                  <a:pos x="35" y="260"/>
                </a:cxn>
                <a:cxn ang="0">
                  <a:pos x="48" y="271"/>
                </a:cxn>
                <a:cxn ang="0">
                  <a:pos x="70" y="291"/>
                </a:cxn>
                <a:cxn ang="0">
                  <a:pos x="75" y="294"/>
                </a:cxn>
                <a:cxn ang="0">
                  <a:pos x="81" y="295"/>
                </a:cxn>
                <a:cxn ang="0">
                  <a:pos x="89" y="294"/>
                </a:cxn>
                <a:cxn ang="0">
                  <a:pos x="97" y="292"/>
                </a:cxn>
                <a:cxn ang="0">
                  <a:pos x="113" y="283"/>
                </a:cxn>
                <a:cxn ang="0">
                  <a:pos x="129" y="273"/>
                </a:cxn>
                <a:cxn ang="0">
                  <a:pos x="162" y="248"/>
                </a:cxn>
                <a:cxn ang="0">
                  <a:pos x="218" y="204"/>
                </a:cxn>
                <a:cxn ang="0">
                  <a:pos x="293" y="145"/>
                </a:cxn>
                <a:cxn ang="0">
                  <a:pos x="211" y="41"/>
                </a:cxn>
                <a:cxn ang="0">
                  <a:pos x="250" y="0"/>
                </a:cxn>
                <a:cxn ang="0">
                  <a:pos x="353" y="120"/>
                </a:cxn>
                <a:cxn ang="0">
                  <a:pos x="425" y="206"/>
                </a:cxn>
                <a:cxn ang="0">
                  <a:pos x="463" y="252"/>
                </a:cxn>
                <a:cxn ang="0">
                  <a:pos x="471" y="263"/>
                </a:cxn>
                <a:cxn ang="0">
                  <a:pos x="474" y="277"/>
                </a:cxn>
                <a:cxn ang="0">
                  <a:pos x="474" y="290"/>
                </a:cxn>
                <a:cxn ang="0">
                  <a:pos x="471" y="301"/>
                </a:cxn>
                <a:cxn ang="0">
                  <a:pos x="462" y="316"/>
                </a:cxn>
                <a:cxn ang="0">
                  <a:pos x="459" y="319"/>
                </a:cxn>
                <a:cxn ang="0">
                  <a:pos x="427" y="307"/>
                </a:cxn>
                <a:cxn ang="0">
                  <a:pos x="332" y="198"/>
                </a:cxn>
                <a:cxn ang="0">
                  <a:pos x="238" y="276"/>
                </a:cxn>
                <a:cxn ang="0">
                  <a:pos x="169" y="334"/>
                </a:cxn>
                <a:cxn ang="0">
                  <a:pos x="123" y="369"/>
                </a:cxn>
                <a:cxn ang="0">
                  <a:pos x="114" y="375"/>
                </a:cxn>
                <a:cxn ang="0">
                  <a:pos x="103" y="379"/>
                </a:cxn>
                <a:cxn ang="0">
                  <a:pos x="94" y="382"/>
                </a:cxn>
                <a:cxn ang="0">
                  <a:pos x="84" y="383"/>
                </a:cxn>
                <a:cxn ang="0">
                  <a:pos x="75" y="383"/>
                </a:cxn>
                <a:cxn ang="0">
                  <a:pos x="66" y="380"/>
                </a:cxn>
                <a:cxn ang="0">
                  <a:pos x="59" y="376"/>
                </a:cxn>
                <a:cxn ang="0">
                  <a:pos x="53" y="371"/>
                </a:cxn>
                <a:cxn ang="0">
                  <a:pos x="20" y="335"/>
                </a:cxn>
                <a:cxn ang="0">
                  <a:pos x="0" y="313"/>
                </a:cxn>
                <a:cxn ang="0">
                  <a:pos x="35" y="260"/>
                </a:cxn>
              </a:cxnLst>
              <a:rect l="0" t="0" r="r" b="b"/>
              <a:pathLst>
                <a:path w="474" h="383">
                  <a:moveTo>
                    <a:pt x="35" y="260"/>
                  </a:moveTo>
                  <a:lnTo>
                    <a:pt x="48" y="271"/>
                  </a:lnTo>
                  <a:lnTo>
                    <a:pt x="70" y="291"/>
                  </a:lnTo>
                  <a:lnTo>
                    <a:pt x="75" y="294"/>
                  </a:lnTo>
                  <a:lnTo>
                    <a:pt x="81" y="295"/>
                  </a:lnTo>
                  <a:lnTo>
                    <a:pt x="89" y="294"/>
                  </a:lnTo>
                  <a:lnTo>
                    <a:pt x="97" y="292"/>
                  </a:lnTo>
                  <a:lnTo>
                    <a:pt x="113" y="283"/>
                  </a:lnTo>
                  <a:lnTo>
                    <a:pt x="129" y="273"/>
                  </a:lnTo>
                  <a:lnTo>
                    <a:pt x="162" y="248"/>
                  </a:lnTo>
                  <a:lnTo>
                    <a:pt x="218" y="204"/>
                  </a:lnTo>
                  <a:lnTo>
                    <a:pt x="293" y="145"/>
                  </a:lnTo>
                  <a:lnTo>
                    <a:pt x="211" y="41"/>
                  </a:lnTo>
                  <a:lnTo>
                    <a:pt x="250" y="0"/>
                  </a:lnTo>
                  <a:lnTo>
                    <a:pt x="353" y="120"/>
                  </a:lnTo>
                  <a:lnTo>
                    <a:pt x="425" y="206"/>
                  </a:lnTo>
                  <a:lnTo>
                    <a:pt x="463" y="252"/>
                  </a:lnTo>
                  <a:lnTo>
                    <a:pt x="471" y="263"/>
                  </a:lnTo>
                  <a:lnTo>
                    <a:pt x="474" y="277"/>
                  </a:lnTo>
                  <a:lnTo>
                    <a:pt x="474" y="290"/>
                  </a:lnTo>
                  <a:lnTo>
                    <a:pt x="471" y="301"/>
                  </a:lnTo>
                  <a:lnTo>
                    <a:pt x="462" y="316"/>
                  </a:lnTo>
                  <a:lnTo>
                    <a:pt x="459" y="319"/>
                  </a:lnTo>
                  <a:lnTo>
                    <a:pt x="427" y="307"/>
                  </a:lnTo>
                  <a:lnTo>
                    <a:pt x="332" y="198"/>
                  </a:lnTo>
                  <a:lnTo>
                    <a:pt x="238" y="276"/>
                  </a:lnTo>
                  <a:lnTo>
                    <a:pt x="169" y="334"/>
                  </a:lnTo>
                  <a:lnTo>
                    <a:pt x="123" y="369"/>
                  </a:lnTo>
                  <a:lnTo>
                    <a:pt x="114" y="375"/>
                  </a:lnTo>
                  <a:lnTo>
                    <a:pt x="103" y="379"/>
                  </a:lnTo>
                  <a:lnTo>
                    <a:pt x="94" y="382"/>
                  </a:lnTo>
                  <a:lnTo>
                    <a:pt x="84" y="383"/>
                  </a:lnTo>
                  <a:lnTo>
                    <a:pt x="75" y="383"/>
                  </a:lnTo>
                  <a:lnTo>
                    <a:pt x="66" y="380"/>
                  </a:lnTo>
                  <a:lnTo>
                    <a:pt x="59" y="376"/>
                  </a:lnTo>
                  <a:lnTo>
                    <a:pt x="53" y="371"/>
                  </a:lnTo>
                  <a:lnTo>
                    <a:pt x="20" y="335"/>
                  </a:lnTo>
                  <a:lnTo>
                    <a:pt x="0" y="313"/>
                  </a:lnTo>
                  <a:lnTo>
                    <a:pt x="35" y="26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74" name="Freeform 85"/>
            <p:cNvSpPr>
              <a:spLocks/>
            </p:cNvSpPr>
            <p:nvPr/>
          </p:nvSpPr>
          <p:spPr bwMode="auto">
            <a:xfrm>
              <a:off x="251" y="476"/>
              <a:ext cx="7" cy="12"/>
            </a:xfrm>
            <a:custGeom>
              <a:avLst/>
              <a:gdLst/>
              <a:ahLst/>
              <a:cxnLst>
                <a:cxn ang="0">
                  <a:pos x="67" y="0"/>
                </a:cxn>
                <a:cxn ang="0">
                  <a:pos x="0" y="193"/>
                </a:cxn>
                <a:cxn ang="0">
                  <a:pos x="63" y="212"/>
                </a:cxn>
                <a:cxn ang="0">
                  <a:pos x="122" y="22"/>
                </a:cxn>
                <a:cxn ang="0">
                  <a:pos x="67" y="0"/>
                </a:cxn>
              </a:cxnLst>
              <a:rect l="0" t="0" r="r" b="b"/>
              <a:pathLst>
                <a:path w="122" h="212">
                  <a:moveTo>
                    <a:pt x="67" y="0"/>
                  </a:moveTo>
                  <a:lnTo>
                    <a:pt x="0" y="193"/>
                  </a:lnTo>
                  <a:lnTo>
                    <a:pt x="63" y="212"/>
                  </a:lnTo>
                  <a:lnTo>
                    <a:pt x="122" y="22"/>
                  </a:lnTo>
                  <a:lnTo>
                    <a:pt x="67"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75" name="Freeform 86"/>
            <p:cNvSpPr>
              <a:spLocks/>
            </p:cNvSpPr>
            <p:nvPr/>
          </p:nvSpPr>
          <p:spPr bwMode="auto">
            <a:xfrm>
              <a:off x="260" y="456"/>
              <a:ext cx="13" cy="14"/>
            </a:xfrm>
            <a:custGeom>
              <a:avLst/>
              <a:gdLst/>
              <a:ahLst/>
              <a:cxnLst>
                <a:cxn ang="0">
                  <a:pos x="0" y="44"/>
                </a:cxn>
                <a:cxn ang="0">
                  <a:pos x="30" y="0"/>
                </a:cxn>
                <a:cxn ang="0">
                  <a:pos x="45" y="0"/>
                </a:cxn>
                <a:cxn ang="0">
                  <a:pos x="211" y="199"/>
                </a:cxn>
                <a:cxn ang="0">
                  <a:pos x="209" y="224"/>
                </a:cxn>
                <a:cxn ang="0">
                  <a:pos x="178" y="240"/>
                </a:cxn>
                <a:cxn ang="0">
                  <a:pos x="147" y="228"/>
                </a:cxn>
                <a:cxn ang="0">
                  <a:pos x="0" y="44"/>
                </a:cxn>
              </a:cxnLst>
              <a:rect l="0" t="0" r="r" b="b"/>
              <a:pathLst>
                <a:path w="211" h="240">
                  <a:moveTo>
                    <a:pt x="0" y="44"/>
                  </a:moveTo>
                  <a:lnTo>
                    <a:pt x="30" y="0"/>
                  </a:lnTo>
                  <a:lnTo>
                    <a:pt x="45" y="0"/>
                  </a:lnTo>
                  <a:lnTo>
                    <a:pt x="211" y="199"/>
                  </a:lnTo>
                  <a:lnTo>
                    <a:pt x="209" y="224"/>
                  </a:lnTo>
                  <a:lnTo>
                    <a:pt x="178" y="240"/>
                  </a:lnTo>
                  <a:lnTo>
                    <a:pt x="147" y="228"/>
                  </a:lnTo>
                  <a:lnTo>
                    <a:pt x="0" y="44"/>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76" name="Freeform 87"/>
            <p:cNvSpPr>
              <a:spLocks/>
            </p:cNvSpPr>
            <p:nvPr/>
          </p:nvSpPr>
          <p:spPr bwMode="auto">
            <a:xfrm>
              <a:off x="318" y="513"/>
              <a:ext cx="4" cy="5"/>
            </a:xfrm>
            <a:custGeom>
              <a:avLst/>
              <a:gdLst/>
              <a:ahLst/>
              <a:cxnLst>
                <a:cxn ang="0">
                  <a:pos x="0" y="3"/>
                </a:cxn>
                <a:cxn ang="0">
                  <a:pos x="6" y="80"/>
                </a:cxn>
                <a:cxn ang="0">
                  <a:pos x="58" y="89"/>
                </a:cxn>
                <a:cxn ang="0">
                  <a:pos x="60" y="0"/>
                </a:cxn>
                <a:cxn ang="0">
                  <a:pos x="0" y="3"/>
                </a:cxn>
              </a:cxnLst>
              <a:rect l="0" t="0" r="r" b="b"/>
              <a:pathLst>
                <a:path w="60" h="89">
                  <a:moveTo>
                    <a:pt x="0" y="3"/>
                  </a:moveTo>
                  <a:lnTo>
                    <a:pt x="6" y="80"/>
                  </a:lnTo>
                  <a:lnTo>
                    <a:pt x="58" y="89"/>
                  </a:lnTo>
                  <a:lnTo>
                    <a:pt x="60" y="0"/>
                  </a:lnTo>
                  <a:lnTo>
                    <a:pt x="0" y="3"/>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77" name="Freeform 88"/>
            <p:cNvSpPr>
              <a:spLocks noEditPoints="1"/>
            </p:cNvSpPr>
            <p:nvPr/>
          </p:nvSpPr>
          <p:spPr bwMode="auto">
            <a:xfrm>
              <a:off x="285" y="505"/>
              <a:ext cx="42" cy="41"/>
            </a:xfrm>
            <a:custGeom>
              <a:avLst/>
              <a:gdLst/>
              <a:ahLst/>
              <a:cxnLst>
                <a:cxn ang="0">
                  <a:pos x="315" y="251"/>
                </a:cxn>
                <a:cxn ang="0">
                  <a:pos x="371" y="147"/>
                </a:cxn>
                <a:cxn ang="0">
                  <a:pos x="371" y="114"/>
                </a:cxn>
                <a:cxn ang="0">
                  <a:pos x="325" y="90"/>
                </a:cxn>
                <a:cxn ang="0">
                  <a:pos x="248" y="209"/>
                </a:cxn>
                <a:cxn ang="0">
                  <a:pos x="432" y="30"/>
                </a:cxn>
                <a:cxn ang="0">
                  <a:pos x="438" y="94"/>
                </a:cxn>
                <a:cxn ang="0">
                  <a:pos x="450" y="124"/>
                </a:cxn>
                <a:cxn ang="0">
                  <a:pos x="682" y="297"/>
                </a:cxn>
                <a:cxn ang="0">
                  <a:pos x="705" y="320"/>
                </a:cxn>
                <a:cxn ang="0">
                  <a:pos x="690" y="352"/>
                </a:cxn>
                <a:cxn ang="0">
                  <a:pos x="678" y="361"/>
                </a:cxn>
                <a:cxn ang="0">
                  <a:pos x="549" y="285"/>
                </a:cxn>
                <a:cxn ang="0">
                  <a:pos x="232" y="504"/>
                </a:cxn>
                <a:cxn ang="0">
                  <a:pos x="297" y="463"/>
                </a:cxn>
                <a:cxn ang="0">
                  <a:pos x="377" y="355"/>
                </a:cxn>
                <a:cxn ang="0">
                  <a:pos x="568" y="350"/>
                </a:cxn>
                <a:cxn ang="0">
                  <a:pos x="563" y="388"/>
                </a:cxn>
                <a:cxn ang="0">
                  <a:pos x="438" y="591"/>
                </a:cxn>
                <a:cxn ang="0">
                  <a:pos x="432" y="616"/>
                </a:cxn>
                <a:cxn ang="0">
                  <a:pos x="443" y="625"/>
                </a:cxn>
                <a:cxn ang="0">
                  <a:pos x="468" y="610"/>
                </a:cxn>
                <a:cxn ang="0">
                  <a:pos x="495" y="676"/>
                </a:cxn>
                <a:cxn ang="0">
                  <a:pos x="452" y="698"/>
                </a:cxn>
                <a:cxn ang="0">
                  <a:pos x="424" y="694"/>
                </a:cxn>
                <a:cxn ang="0">
                  <a:pos x="381" y="661"/>
                </a:cxn>
                <a:cxn ang="0">
                  <a:pos x="358" y="615"/>
                </a:cxn>
                <a:cxn ang="0">
                  <a:pos x="375" y="563"/>
                </a:cxn>
                <a:cxn ang="0">
                  <a:pos x="495" y="381"/>
                </a:cxn>
                <a:cxn ang="0">
                  <a:pos x="475" y="361"/>
                </a:cxn>
                <a:cxn ang="0">
                  <a:pos x="459" y="356"/>
                </a:cxn>
                <a:cxn ang="0">
                  <a:pos x="432" y="388"/>
                </a:cxn>
                <a:cxn ang="0">
                  <a:pos x="367" y="477"/>
                </a:cxn>
                <a:cxn ang="0">
                  <a:pos x="285" y="546"/>
                </a:cxn>
                <a:cxn ang="0">
                  <a:pos x="250" y="580"/>
                </a:cxn>
                <a:cxn ang="0">
                  <a:pos x="176" y="522"/>
                </a:cxn>
                <a:cxn ang="0">
                  <a:pos x="178" y="441"/>
                </a:cxn>
                <a:cxn ang="0">
                  <a:pos x="281" y="304"/>
                </a:cxn>
                <a:cxn ang="0">
                  <a:pos x="204" y="272"/>
                </a:cxn>
                <a:cxn ang="0">
                  <a:pos x="82" y="409"/>
                </a:cxn>
                <a:cxn ang="0">
                  <a:pos x="10" y="404"/>
                </a:cxn>
                <a:cxn ang="0">
                  <a:pos x="56" y="347"/>
                </a:cxn>
                <a:cxn ang="0">
                  <a:pos x="140" y="263"/>
                </a:cxn>
                <a:cxn ang="0">
                  <a:pos x="144" y="212"/>
                </a:cxn>
                <a:cxn ang="0">
                  <a:pos x="130" y="200"/>
                </a:cxn>
                <a:cxn ang="0">
                  <a:pos x="137" y="177"/>
                </a:cxn>
                <a:cxn ang="0">
                  <a:pos x="156" y="150"/>
                </a:cxn>
                <a:cxn ang="0">
                  <a:pos x="204" y="179"/>
                </a:cxn>
                <a:cxn ang="0">
                  <a:pos x="299" y="6"/>
                </a:cxn>
              </a:cxnLst>
              <a:rect l="0" t="0" r="r" b="b"/>
              <a:pathLst>
                <a:path w="705" h="698">
                  <a:moveTo>
                    <a:pt x="248" y="209"/>
                  </a:moveTo>
                  <a:lnTo>
                    <a:pt x="312" y="256"/>
                  </a:lnTo>
                  <a:lnTo>
                    <a:pt x="315" y="251"/>
                  </a:lnTo>
                  <a:lnTo>
                    <a:pt x="346" y="197"/>
                  </a:lnTo>
                  <a:lnTo>
                    <a:pt x="365" y="161"/>
                  </a:lnTo>
                  <a:lnTo>
                    <a:pt x="371" y="147"/>
                  </a:lnTo>
                  <a:lnTo>
                    <a:pt x="373" y="137"/>
                  </a:lnTo>
                  <a:lnTo>
                    <a:pt x="373" y="125"/>
                  </a:lnTo>
                  <a:lnTo>
                    <a:pt x="371" y="114"/>
                  </a:lnTo>
                  <a:lnTo>
                    <a:pt x="354" y="103"/>
                  </a:lnTo>
                  <a:lnTo>
                    <a:pt x="339" y="96"/>
                  </a:lnTo>
                  <a:lnTo>
                    <a:pt x="325" y="90"/>
                  </a:lnTo>
                  <a:lnTo>
                    <a:pt x="301" y="128"/>
                  </a:lnTo>
                  <a:lnTo>
                    <a:pt x="247" y="209"/>
                  </a:lnTo>
                  <a:lnTo>
                    <a:pt x="248" y="209"/>
                  </a:lnTo>
                  <a:close/>
                  <a:moveTo>
                    <a:pt x="353" y="38"/>
                  </a:moveTo>
                  <a:lnTo>
                    <a:pt x="383" y="0"/>
                  </a:lnTo>
                  <a:lnTo>
                    <a:pt x="432" y="30"/>
                  </a:lnTo>
                  <a:lnTo>
                    <a:pt x="407" y="70"/>
                  </a:lnTo>
                  <a:lnTo>
                    <a:pt x="427" y="84"/>
                  </a:lnTo>
                  <a:lnTo>
                    <a:pt x="438" y="94"/>
                  </a:lnTo>
                  <a:lnTo>
                    <a:pt x="446" y="108"/>
                  </a:lnTo>
                  <a:lnTo>
                    <a:pt x="449" y="116"/>
                  </a:lnTo>
                  <a:lnTo>
                    <a:pt x="450" y="124"/>
                  </a:lnTo>
                  <a:lnTo>
                    <a:pt x="450" y="133"/>
                  </a:lnTo>
                  <a:lnTo>
                    <a:pt x="448" y="144"/>
                  </a:lnTo>
                  <a:lnTo>
                    <a:pt x="682" y="297"/>
                  </a:lnTo>
                  <a:lnTo>
                    <a:pt x="696" y="306"/>
                  </a:lnTo>
                  <a:lnTo>
                    <a:pt x="704" y="316"/>
                  </a:lnTo>
                  <a:lnTo>
                    <a:pt x="705" y="320"/>
                  </a:lnTo>
                  <a:lnTo>
                    <a:pt x="705" y="325"/>
                  </a:lnTo>
                  <a:lnTo>
                    <a:pt x="700" y="340"/>
                  </a:lnTo>
                  <a:lnTo>
                    <a:pt x="690" y="352"/>
                  </a:lnTo>
                  <a:lnTo>
                    <a:pt x="687" y="357"/>
                  </a:lnTo>
                  <a:lnTo>
                    <a:pt x="683" y="360"/>
                  </a:lnTo>
                  <a:lnTo>
                    <a:pt x="678" y="361"/>
                  </a:lnTo>
                  <a:lnTo>
                    <a:pt x="674" y="360"/>
                  </a:lnTo>
                  <a:lnTo>
                    <a:pt x="661" y="355"/>
                  </a:lnTo>
                  <a:lnTo>
                    <a:pt x="549" y="285"/>
                  </a:lnTo>
                  <a:lnTo>
                    <a:pt x="416" y="201"/>
                  </a:lnTo>
                  <a:lnTo>
                    <a:pt x="227" y="473"/>
                  </a:lnTo>
                  <a:lnTo>
                    <a:pt x="232" y="504"/>
                  </a:lnTo>
                  <a:lnTo>
                    <a:pt x="261" y="488"/>
                  </a:lnTo>
                  <a:lnTo>
                    <a:pt x="285" y="472"/>
                  </a:lnTo>
                  <a:lnTo>
                    <a:pt x="297" y="463"/>
                  </a:lnTo>
                  <a:lnTo>
                    <a:pt x="305" y="455"/>
                  </a:lnTo>
                  <a:lnTo>
                    <a:pt x="335" y="416"/>
                  </a:lnTo>
                  <a:lnTo>
                    <a:pt x="377" y="355"/>
                  </a:lnTo>
                  <a:lnTo>
                    <a:pt x="432" y="272"/>
                  </a:lnTo>
                  <a:lnTo>
                    <a:pt x="567" y="346"/>
                  </a:lnTo>
                  <a:lnTo>
                    <a:pt x="568" y="350"/>
                  </a:lnTo>
                  <a:lnTo>
                    <a:pt x="569" y="360"/>
                  </a:lnTo>
                  <a:lnTo>
                    <a:pt x="566" y="378"/>
                  </a:lnTo>
                  <a:lnTo>
                    <a:pt x="563" y="388"/>
                  </a:lnTo>
                  <a:lnTo>
                    <a:pt x="557" y="400"/>
                  </a:lnTo>
                  <a:lnTo>
                    <a:pt x="496" y="499"/>
                  </a:lnTo>
                  <a:lnTo>
                    <a:pt x="438" y="591"/>
                  </a:lnTo>
                  <a:lnTo>
                    <a:pt x="434" y="600"/>
                  </a:lnTo>
                  <a:lnTo>
                    <a:pt x="432" y="608"/>
                  </a:lnTo>
                  <a:lnTo>
                    <a:pt x="432" y="616"/>
                  </a:lnTo>
                  <a:lnTo>
                    <a:pt x="435" y="621"/>
                  </a:lnTo>
                  <a:lnTo>
                    <a:pt x="438" y="624"/>
                  </a:lnTo>
                  <a:lnTo>
                    <a:pt x="443" y="625"/>
                  </a:lnTo>
                  <a:lnTo>
                    <a:pt x="448" y="625"/>
                  </a:lnTo>
                  <a:lnTo>
                    <a:pt x="455" y="621"/>
                  </a:lnTo>
                  <a:lnTo>
                    <a:pt x="468" y="610"/>
                  </a:lnTo>
                  <a:lnTo>
                    <a:pt x="511" y="656"/>
                  </a:lnTo>
                  <a:lnTo>
                    <a:pt x="504" y="666"/>
                  </a:lnTo>
                  <a:lnTo>
                    <a:pt x="495" y="676"/>
                  </a:lnTo>
                  <a:lnTo>
                    <a:pt x="482" y="685"/>
                  </a:lnTo>
                  <a:lnTo>
                    <a:pt x="467" y="694"/>
                  </a:lnTo>
                  <a:lnTo>
                    <a:pt x="452" y="698"/>
                  </a:lnTo>
                  <a:lnTo>
                    <a:pt x="442" y="698"/>
                  </a:lnTo>
                  <a:lnTo>
                    <a:pt x="434" y="697"/>
                  </a:lnTo>
                  <a:lnTo>
                    <a:pt x="424" y="694"/>
                  </a:lnTo>
                  <a:lnTo>
                    <a:pt x="414" y="688"/>
                  </a:lnTo>
                  <a:lnTo>
                    <a:pt x="396" y="675"/>
                  </a:lnTo>
                  <a:lnTo>
                    <a:pt x="381" y="661"/>
                  </a:lnTo>
                  <a:lnTo>
                    <a:pt x="369" y="646"/>
                  </a:lnTo>
                  <a:lnTo>
                    <a:pt x="362" y="631"/>
                  </a:lnTo>
                  <a:lnTo>
                    <a:pt x="358" y="615"/>
                  </a:lnTo>
                  <a:lnTo>
                    <a:pt x="359" y="598"/>
                  </a:lnTo>
                  <a:lnTo>
                    <a:pt x="364" y="581"/>
                  </a:lnTo>
                  <a:lnTo>
                    <a:pt x="375" y="563"/>
                  </a:lnTo>
                  <a:lnTo>
                    <a:pt x="489" y="398"/>
                  </a:lnTo>
                  <a:lnTo>
                    <a:pt x="494" y="389"/>
                  </a:lnTo>
                  <a:lnTo>
                    <a:pt x="495" y="381"/>
                  </a:lnTo>
                  <a:lnTo>
                    <a:pt x="490" y="375"/>
                  </a:lnTo>
                  <a:lnTo>
                    <a:pt x="483" y="368"/>
                  </a:lnTo>
                  <a:lnTo>
                    <a:pt x="475" y="361"/>
                  </a:lnTo>
                  <a:lnTo>
                    <a:pt x="466" y="356"/>
                  </a:lnTo>
                  <a:lnTo>
                    <a:pt x="463" y="355"/>
                  </a:lnTo>
                  <a:lnTo>
                    <a:pt x="459" y="356"/>
                  </a:lnTo>
                  <a:lnTo>
                    <a:pt x="454" y="359"/>
                  </a:lnTo>
                  <a:lnTo>
                    <a:pt x="448" y="364"/>
                  </a:lnTo>
                  <a:lnTo>
                    <a:pt x="432" y="388"/>
                  </a:lnTo>
                  <a:lnTo>
                    <a:pt x="404" y="430"/>
                  </a:lnTo>
                  <a:lnTo>
                    <a:pt x="386" y="453"/>
                  </a:lnTo>
                  <a:lnTo>
                    <a:pt x="367" y="477"/>
                  </a:lnTo>
                  <a:lnTo>
                    <a:pt x="346" y="499"/>
                  </a:lnTo>
                  <a:lnTo>
                    <a:pt x="323" y="518"/>
                  </a:lnTo>
                  <a:lnTo>
                    <a:pt x="285" y="546"/>
                  </a:lnTo>
                  <a:lnTo>
                    <a:pt x="262" y="566"/>
                  </a:lnTo>
                  <a:lnTo>
                    <a:pt x="252" y="577"/>
                  </a:lnTo>
                  <a:lnTo>
                    <a:pt x="250" y="580"/>
                  </a:lnTo>
                  <a:lnTo>
                    <a:pt x="219" y="565"/>
                  </a:lnTo>
                  <a:lnTo>
                    <a:pt x="200" y="517"/>
                  </a:lnTo>
                  <a:lnTo>
                    <a:pt x="176" y="522"/>
                  </a:lnTo>
                  <a:lnTo>
                    <a:pt x="121" y="498"/>
                  </a:lnTo>
                  <a:lnTo>
                    <a:pt x="125" y="443"/>
                  </a:lnTo>
                  <a:lnTo>
                    <a:pt x="178" y="441"/>
                  </a:lnTo>
                  <a:lnTo>
                    <a:pt x="212" y="400"/>
                  </a:lnTo>
                  <a:lnTo>
                    <a:pt x="244" y="356"/>
                  </a:lnTo>
                  <a:lnTo>
                    <a:pt x="281" y="304"/>
                  </a:lnTo>
                  <a:lnTo>
                    <a:pt x="254" y="281"/>
                  </a:lnTo>
                  <a:lnTo>
                    <a:pt x="217" y="255"/>
                  </a:lnTo>
                  <a:lnTo>
                    <a:pt x="204" y="272"/>
                  </a:lnTo>
                  <a:lnTo>
                    <a:pt x="165" y="322"/>
                  </a:lnTo>
                  <a:lnTo>
                    <a:pt x="124" y="368"/>
                  </a:lnTo>
                  <a:lnTo>
                    <a:pt x="82" y="409"/>
                  </a:lnTo>
                  <a:lnTo>
                    <a:pt x="41" y="445"/>
                  </a:lnTo>
                  <a:lnTo>
                    <a:pt x="22" y="421"/>
                  </a:lnTo>
                  <a:lnTo>
                    <a:pt x="10" y="404"/>
                  </a:lnTo>
                  <a:lnTo>
                    <a:pt x="0" y="389"/>
                  </a:lnTo>
                  <a:lnTo>
                    <a:pt x="16" y="379"/>
                  </a:lnTo>
                  <a:lnTo>
                    <a:pt x="56" y="347"/>
                  </a:lnTo>
                  <a:lnTo>
                    <a:pt x="81" y="324"/>
                  </a:lnTo>
                  <a:lnTo>
                    <a:pt x="111" y="296"/>
                  </a:lnTo>
                  <a:lnTo>
                    <a:pt x="140" y="263"/>
                  </a:lnTo>
                  <a:lnTo>
                    <a:pt x="171" y="226"/>
                  </a:lnTo>
                  <a:lnTo>
                    <a:pt x="165" y="222"/>
                  </a:lnTo>
                  <a:lnTo>
                    <a:pt x="144" y="212"/>
                  </a:lnTo>
                  <a:lnTo>
                    <a:pt x="137" y="208"/>
                  </a:lnTo>
                  <a:lnTo>
                    <a:pt x="132" y="205"/>
                  </a:lnTo>
                  <a:lnTo>
                    <a:pt x="130" y="200"/>
                  </a:lnTo>
                  <a:lnTo>
                    <a:pt x="130" y="194"/>
                  </a:lnTo>
                  <a:lnTo>
                    <a:pt x="132" y="187"/>
                  </a:lnTo>
                  <a:lnTo>
                    <a:pt x="137" y="177"/>
                  </a:lnTo>
                  <a:lnTo>
                    <a:pt x="146" y="160"/>
                  </a:lnTo>
                  <a:lnTo>
                    <a:pt x="153" y="151"/>
                  </a:lnTo>
                  <a:lnTo>
                    <a:pt x="156" y="150"/>
                  </a:lnTo>
                  <a:lnTo>
                    <a:pt x="159" y="151"/>
                  </a:lnTo>
                  <a:lnTo>
                    <a:pt x="170" y="156"/>
                  </a:lnTo>
                  <a:lnTo>
                    <a:pt x="204" y="179"/>
                  </a:lnTo>
                  <a:lnTo>
                    <a:pt x="232" y="131"/>
                  </a:lnTo>
                  <a:lnTo>
                    <a:pt x="287" y="29"/>
                  </a:lnTo>
                  <a:lnTo>
                    <a:pt x="299" y="6"/>
                  </a:lnTo>
                  <a:lnTo>
                    <a:pt x="353" y="38"/>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78" name="Freeform 89"/>
            <p:cNvSpPr>
              <a:spLocks/>
            </p:cNvSpPr>
            <p:nvPr/>
          </p:nvSpPr>
          <p:spPr bwMode="auto">
            <a:xfrm>
              <a:off x="302" y="512"/>
              <a:ext cx="4" cy="5"/>
            </a:xfrm>
            <a:custGeom>
              <a:avLst/>
              <a:gdLst/>
              <a:ahLst/>
              <a:cxnLst>
                <a:cxn ang="0">
                  <a:pos x="43" y="0"/>
                </a:cxn>
                <a:cxn ang="0">
                  <a:pos x="64" y="18"/>
                </a:cxn>
                <a:cxn ang="0">
                  <a:pos x="63" y="28"/>
                </a:cxn>
                <a:cxn ang="0">
                  <a:pos x="58" y="45"/>
                </a:cxn>
                <a:cxn ang="0">
                  <a:pos x="53" y="56"/>
                </a:cxn>
                <a:cxn ang="0">
                  <a:pos x="43" y="67"/>
                </a:cxn>
                <a:cxn ang="0">
                  <a:pos x="33" y="78"/>
                </a:cxn>
                <a:cxn ang="0">
                  <a:pos x="0" y="55"/>
                </a:cxn>
                <a:cxn ang="0">
                  <a:pos x="43" y="0"/>
                </a:cxn>
              </a:cxnLst>
              <a:rect l="0" t="0" r="r" b="b"/>
              <a:pathLst>
                <a:path w="64" h="78">
                  <a:moveTo>
                    <a:pt x="43" y="0"/>
                  </a:moveTo>
                  <a:lnTo>
                    <a:pt x="64" y="18"/>
                  </a:lnTo>
                  <a:lnTo>
                    <a:pt x="63" y="28"/>
                  </a:lnTo>
                  <a:lnTo>
                    <a:pt x="58" y="45"/>
                  </a:lnTo>
                  <a:lnTo>
                    <a:pt x="53" y="56"/>
                  </a:lnTo>
                  <a:lnTo>
                    <a:pt x="43" y="67"/>
                  </a:lnTo>
                  <a:lnTo>
                    <a:pt x="33" y="78"/>
                  </a:lnTo>
                  <a:lnTo>
                    <a:pt x="0" y="55"/>
                  </a:lnTo>
                  <a:lnTo>
                    <a:pt x="43"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79" name="Freeform 90"/>
            <p:cNvSpPr>
              <a:spLocks/>
            </p:cNvSpPr>
            <p:nvPr/>
          </p:nvSpPr>
          <p:spPr bwMode="auto">
            <a:xfrm>
              <a:off x="295" y="522"/>
              <a:ext cx="5" cy="5"/>
            </a:xfrm>
            <a:custGeom>
              <a:avLst/>
              <a:gdLst/>
              <a:ahLst/>
              <a:cxnLst>
                <a:cxn ang="0">
                  <a:pos x="35" y="0"/>
                </a:cxn>
                <a:cxn ang="0">
                  <a:pos x="74" y="6"/>
                </a:cxn>
                <a:cxn ang="0">
                  <a:pos x="58" y="88"/>
                </a:cxn>
                <a:cxn ang="0">
                  <a:pos x="0" y="88"/>
                </a:cxn>
                <a:cxn ang="0">
                  <a:pos x="35" y="0"/>
                </a:cxn>
              </a:cxnLst>
              <a:rect l="0" t="0" r="r" b="b"/>
              <a:pathLst>
                <a:path w="74" h="88">
                  <a:moveTo>
                    <a:pt x="35" y="0"/>
                  </a:moveTo>
                  <a:lnTo>
                    <a:pt x="74" y="6"/>
                  </a:lnTo>
                  <a:lnTo>
                    <a:pt x="58" y="88"/>
                  </a:lnTo>
                  <a:lnTo>
                    <a:pt x="0" y="88"/>
                  </a:lnTo>
                  <a:lnTo>
                    <a:pt x="35"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80" name="Freeform 91"/>
            <p:cNvSpPr>
              <a:spLocks/>
            </p:cNvSpPr>
            <p:nvPr/>
          </p:nvSpPr>
          <p:spPr bwMode="auto">
            <a:xfrm>
              <a:off x="328" y="526"/>
              <a:ext cx="19" cy="24"/>
            </a:xfrm>
            <a:custGeom>
              <a:avLst/>
              <a:gdLst/>
              <a:ahLst/>
              <a:cxnLst>
                <a:cxn ang="0">
                  <a:pos x="301" y="64"/>
                </a:cxn>
                <a:cxn ang="0">
                  <a:pos x="253" y="0"/>
                </a:cxn>
                <a:cxn ang="0">
                  <a:pos x="242" y="14"/>
                </a:cxn>
                <a:cxn ang="0">
                  <a:pos x="213" y="44"/>
                </a:cxn>
                <a:cxn ang="0">
                  <a:pos x="196" y="61"/>
                </a:cxn>
                <a:cxn ang="0">
                  <a:pos x="180" y="77"/>
                </a:cxn>
                <a:cxn ang="0">
                  <a:pos x="164" y="90"/>
                </a:cxn>
                <a:cxn ang="0">
                  <a:pos x="149" y="97"/>
                </a:cxn>
                <a:cxn ang="0">
                  <a:pos x="113" y="107"/>
                </a:cxn>
                <a:cxn ang="0">
                  <a:pos x="102" y="111"/>
                </a:cxn>
                <a:cxn ang="0">
                  <a:pos x="69" y="132"/>
                </a:cxn>
                <a:cxn ang="0">
                  <a:pos x="71" y="190"/>
                </a:cxn>
                <a:cxn ang="0">
                  <a:pos x="152" y="221"/>
                </a:cxn>
                <a:cxn ang="0">
                  <a:pos x="146" y="226"/>
                </a:cxn>
                <a:cxn ang="0">
                  <a:pos x="131" y="240"/>
                </a:cxn>
                <a:cxn ang="0">
                  <a:pos x="121" y="248"/>
                </a:cxn>
                <a:cxn ang="0">
                  <a:pos x="108" y="255"/>
                </a:cxn>
                <a:cxn ang="0">
                  <a:pos x="93" y="261"/>
                </a:cxn>
                <a:cxn ang="0">
                  <a:pos x="78" y="266"/>
                </a:cxn>
                <a:cxn ang="0">
                  <a:pos x="51" y="272"/>
                </a:cxn>
                <a:cxn ang="0">
                  <a:pos x="32" y="277"/>
                </a:cxn>
                <a:cxn ang="0">
                  <a:pos x="26" y="281"/>
                </a:cxn>
                <a:cxn ang="0">
                  <a:pos x="20" y="286"/>
                </a:cxn>
                <a:cxn ang="0">
                  <a:pos x="14" y="293"/>
                </a:cxn>
                <a:cxn ang="0">
                  <a:pos x="8" y="302"/>
                </a:cxn>
                <a:cxn ang="0">
                  <a:pos x="1" y="320"/>
                </a:cxn>
                <a:cxn ang="0">
                  <a:pos x="0" y="326"/>
                </a:cxn>
                <a:cxn ang="0">
                  <a:pos x="1" y="332"/>
                </a:cxn>
                <a:cxn ang="0">
                  <a:pos x="4" y="336"/>
                </a:cxn>
                <a:cxn ang="0">
                  <a:pos x="8" y="341"/>
                </a:cxn>
                <a:cxn ang="0">
                  <a:pos x="22" y="351"/>
                </a:cxn>
                <a:cxn ang="0">
                  <a:pos x="47" y="364"/>
                </a:cxn>
                <a:cxn ang="0">
                  <a:pos x="85" y="379"/>
                </a:cxn>
                <a:cxn ang="0">
                  <a:pos x="124" y="393"/>
                </a:cxn>
                <a:cxn ang="0">
                  <a:pos x="154" y="400"/>
                </a:cxn>
                <a:cxn ang="0">
                  <a:pos x="166" y="400"/>
                </a:cxn>
                <a:cxn ang="0">
                  <a:pos x="179" y="399"/>
                </a:cxn>
                <a:cxn ang="0">
                  <a:pos x="190" y="395"/>
                </a:cxn>
                <a:cxn ang="0">
                  <a:pos x="201" y="390"/>
                </a:cxn>
                <a:cxn ang="0">
                  <a:pos x="208" y="384"/>
                </a:cxn>
                <a:cxn ang="0">
                  <a:pos x="211" y="377"/>
                </a:cxn>
                <a:cxn ang="0">
                  <a:pos x="211" y="374"/>
                </a:cxn>
                <a:cxn ang="0">
                  <a:pos x="209" y="371"/>
                </a:cxn>
                <a:cxn ang="0">
                  <a:pos x="202" y="363"/>
                </a:cxn>
                <a:cxn ang="0">
                  <a:pos x="165" y="343"/>
                </a:cxn>
                <a:cxn ang="0">
                  <a:pos x="139" y="331"/>
                </a:cxn>
                <a:cxn ang="0">
                  <a:pos x="132" y="328"/>
                </a:cxn>
                <a:cxn ang="0">
                  <a:pos x="127" y="323"/>
                </a:cxn>
                <a:cxn ang="0">
                  <a:pos x="124" y="319"/>
                </a:cxn>
                <a:cxn ang="0">
                  <a:pos x="122" y="313"/>
                </a:cxn>
                <a:cxn ang="0">
                  <a:pos x="122" y="308"/>
                </a:cxn>
                <a:cxn ang="0">
                  <a:pos x="125" y="302"/>
                </a:cxn>
                <a:cxn ang="0">
                  <a:pos x="130" y="298"/>
                </a:cxn>
                <a:cxn ang="0">
                  <a:pos x="139" y="294"/>
                </a:cxn>
                <a:cxn ang="0">
                  <a:pos x="154" y="286"/>
                </a:cxn>
                <a:cxn ang="0">
                  <a:pos x="179" y="274"/>
                </a:cxn>
                <a:cxn ang="0">
                  <a:pos x="242" y="237"/>
                </a:cxn>
                <a:cxn ang="0">
                  <a:pos x="325" y="185"/>
                </a:cxn>
                <a:cxn ang="0">
                  <a:pos x="288" y="138"/>
                </a:cxn>
                <a:cxn ang="0">
                  <a:pos x="202" y="190"/>
                </a:cxn>
                <a:cxn ang="0">
                  <a:pos x="147" y="151"/>
                </a:cxn>
                <a:cxn ang="0">
                  <a:pos x="301" y="64"/>
                </a:cxn>
              </a:cxnLst>
              <a:rect l="0" t="0" r="r" b="b"/>
              <a:pathLst>
                <a:path w="325" h="400">
                  <a:moveTo>
                    <a:pt x="301" y="64"/>
                  </a:moveTo>
                  <a:lnTo>
                    <a:pt x="253" y="0"/>
                  </a:lnTo>
                  <a:lnTo>
                    <a:pt x="242" y="14"/>
                  </a:lnTo>
                  <a:lnTo>
                    <a:pt x="213" y="44"/>
                  </a:lnTo>
                  <a:lnTo>
                    <a:pt x="196" y="61"/>
                  </a:lnTo>
                  <a:lnTo>
                    <a:pt x="180" y="77"/>
                  </a:lnTo>
                  <a:lnTo>
                    <a:pt x="164" y="90"/>
                  </a:lnTo>
                  <a:lnTo>
                    <a:pt x="149" y="97"/>
                  </a:lnTo>
                  <a:lnTo>
                    <a:pt x="113" y="107"/>
                  </a:lnTo>
                  <a:lnTo>
                    <a:pt x="102" y="111"/>
                  </a:lnTo>
                  <a:lnTo>
                    <a:pt x="69" y="132"/>
                  </a:lnTo>
                  <a:lnTo>
                    <a:pt x="71" y="190"/>
                  </a:lnTo>
                  <a:lnTo>
                    <a:pt x="152" y="221"/>
                  </a:lnTo>
                  <a:lnTo>
                    <a:pt x="146" y="226"/>
                  </a:lnTo>
                  <a:lnTo>
                    <a:pt x="131" y="240"/>
                  </a:lnTo>
                  <a:lnTo>
                    <a:pt x="121" y="248"/>
                  </a:lnTo>
                  <a:lnTo>
                    <a:pt x="108" y="255"/>
                  </a:lnTo>
                  <a:lnTo>
                    <a:pt x="93" y="261"/>
                  </a:lnTo>
                  <a:lnTo>
                    <a:pt x="78" y="266"/>
                  </a:lnTo>
                  <a:lnTo>
                    <a:pt x="51" y="272"/>
                  </a:lnTo>
                  <a:lnTo>
                    <a:pt x="32" y="277"/>
                  </a:lnTo>
                  <a:lnTo>
                    <a:pt x="26" y="281"/>
                  </a:lnTo>
                  <a:lnTo>
                    <a:pt x="20" y="286"/>
                  </a:lnTo>
                  <a:lnTo>
                    <a:pt x="14" y="293"/>
                  </a:lnTo>
                  <a:lnTo>
                    <a:pt x="8" y="302"/>
                  </a:lnTo>
                  <a:lnTo>
                    <a:pt x="1" y="320"/>
                  </a:lnTo>
                  <a:lnTo>
                    <a:pt x="0" y="326"/>
                  </a:lnTo>
                  <a:lnTo>
                    <a:pt x="1" y="332"/>
                  </a:lnTo>
                  <a:lnTo>
                    <a:pt x="4" y="336"/>
                  </a:lnTo>
                  <a:lnTo>
                    <a:pt x="8" y="341"/>
                  </a:lnTo>
                  <a:lnTo>
                    <a:pt x="22" y="351"/>
                  </a:lnTo>
                  <a:lnTo>
                    <a:pt x="47" y="364"/>
                  </a:lnTo>
                  <a:lnTo>
                    <a:pt x="85" y="379"/>
                  </a:lnTo>
                  <a:lnTo>
                    <a:pt x="124" y="393"/>
                  </a:lnTo>
                  <a:lnTo>
                    <a:pt x="154" y="400"/>
                  </a:lnTo>
                  <a:lnTo>
                    <a:pt x="166" y="400"/>
                  </a:lnTo>
                  <a:lnTo>
                    <a:pt x="179" y="399"/>
                  </a:lnTo>
                  <a:lnTo>
                    <a:pt x="190" y="395"/>
                  </a:lnTo>
                  <a:lnTo>
                    <a:pt x="201" y="390"/>
                  </a:lnTo>
                  <a:lnTo>
                    <a:pt x="208" y="384"/>
                  </a:lnTo>
                  <a:lnTo>
                    <a:pt x="211" y="377"/>
                  </a:lnTo>
                  <a:lnTo>
                    <a:pt x="211" y="374"/>
                  </a:lnTo>
                  <a:lnTo>
                    <a:pt x="209" y="371"/>
                  </a:lnTo>
                  <a:lnTo>
                    <a:pt x="202" y="363"/>
                  </a:lnTo>
                  <a:lnTo>
                    <a:pt x="165" y="343"/>
                  </a:lnTo>
                  <a:lnTo>
                    <a:pt x="139" y="331"/>
                  </a:lnTo>
                  <a:lnTo>
                    <a:pt x="132" y="328"/>
                  </a:lnTo>
                  <a:lnTo>
                    <a:pt x="127" y="323"/>
                  </a:lnTo>
                  <a:lnTo>
                    <a:pt x="124" y="319"/>
                  </a:lnTo>
                  <a:lnTo>
                    <a:pt x="122" y="313"/>
                  </a:lnTo>
                  <a:lnTo>
                    <a:pt x="122" y="308"/>
                  </a:lnTo>
                  <a:lnTo>
                    <a:pt x="125" y="302"/>
                  </a:lnTo>
                  <a:lnTo>
                    <a:pt x="130" y="298"/>
                  </a:lnTo>
                  <a:lnTo>
                    <a:pt x="139" y="294"/>
                  </a:lnTo>
                  <a:lnTo>
                    <a:pt x="154" y="286"/>
                  </a:lnTo>
                  <a:lnTo>
                    <a:pt x="179" y="274"/>
                  </a:lnTo>
                  <a:lnTo>
                    <a:pt x="242" y="237"/>
                  </a:lnTo>
                  <a:lnTo>
                    <a:pt x="325" y="185"/>
                  </a:lnTo>
                  <a:lnTo>
                    <a:pt x="288" y="138"/>
                  </a:lnTo>
                  <a:lnTo>
                    <a:pt x="202" y="190"/>
                  </a:lnTo>
                  <a:lnTo>
                    <a:pt x="147" y="151"/>
                  </a:lnTo>
                  <a:lnTo>
                    <a:pt x="301" y="64"/>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81" name="Freeform 92"/>
            <p:cNvSpPr>
              <a:spLocks/>
            </p:cNvSpPr>
            <p:nvPr/>
          </p:nvSpPr>
          <p:spPr bwMode="auto">
            <a:xfrm>
              <a:off x="324" y="549"/>
              <a:ext cx="12" cy="7"/>
            </a:xfrm>
            <a:custGeom>
              <a:avLst/>
              <a:gdLst/>
              <a:ahLst/>
              <a:cxnLst>
                <a:cxn ang="0">
                  <a:pos x="2" y="0"/>
                </a:cxn>
                <a:cxn ang="0">
                  <a:pos x="50" y="21"/>
                </a:cxn>
                <a:cxn ang="0">
                  <a:pos x="92" y="36"/>
                </a:cxn>
                <a:cxn ang="0">
                  <a:pos x="112" y="43"/>
                </a:cxn>
                <a:cxn ang="0">
                  <a:pos x="129" y="47"/>
                </a:cxn>
                <a:cxn ang="0">
                  <a:pos x="159" y="50"/>
                </a:cxn>
                <a:cxn ang="0">
                  <a:pos x="184" y="49"/>
                </a:cxn>
                <a:cxn ang="0">
                  <a:pos x="207" y="47"/>
                </a:cxn>
                <a:cxn ang="0">
                  <a:pos x="201" y="106"/>
                </a:cxn>
                <a:cxn ang="0">
                  <a:pos x="177" y="105"/>
                </a:cxn>
                <a:cxn ang="0">
                  <a:pos x="140" y="102"/>
                </a:cxn>
                <a:cxn ang="0">
                  <a:pos x="122" y="99"/>
                </a:cxn>
                <a:cxn ang="0">
                  <a:pos x="108" y="94"/>
                </a:cxn>
                <a:cxn ang="0">
                  <a:pos x="86" y="88"/>
                </a:cxn>
                <a:cxn ang="0">
                  <a:pos x="62" y="84"/>
                </a:cxn>
                <a:cxn ang="0">
                  <a:pos x="21" y="80"/>
                </a:cxn>
                <a:cxn ang="0">
                  <a:pos x="4" y="76"/>
                </a:cxn>
                <a:cxn ang="0">
                  <a:pos x="0" y="75"/>
                </a:cxn>
                <a:cxn ang="0">
                  <a:pos x="2" y="0"/>
                </a:cxn>
              </a:cxnLst>
              <a:rect l="0" t="0" r="r" b="b"/>
              <a:pathLst>
                <a:path w="207" h="106">
                  <a:moveTo>
                    <a:pt x="2" y="0"/>
                  </a:moveTo>
                  <a:lnTo>
                    <a:pt x="50" y="21"/>
                  </a:lnTo>
                  <a:lnTo>
                    <a:pt x="92" y="36"/>
                  </a:lnTo>
                  <a:lnTo>
                    <a:pt x="112" y="43"/>
                  </a:lnTo>
                  <a:lnTo>
                    <a:pt x="129" y="47"/>
                  </a:lnTo>
                  <a:lnTo>
                    <a:pt x="159" y="50"/>
                  </a:lnTo>
                  <a:lnTo>
                    <a:pt x="184" y="49"/>
                  </a:lnTo>
                  <a:lnTo>
                    <a:pt x="207" y="47"/>
                  </a:lnTo>
                  <a:lnTo>
                    <a:pt x="201" y="106"/>
                  </a:lnTo>
                  <a:lnTo>
                    <a:pt x="177" y="105"/>
                  </a:lnTo>
                  <a:lnTo>
                    <a:pt x="140" y="102"/>
                  </a:lnTo>
                  <a:lnTo>
                    <a:pt x="122" y="99"/>
                  </a:lnTo>
                  <a:lnTo>
                    <a:pt x="108" y="94"/>
                  </a:lnTo>
                  <a:lnTo>
                    <a:pt x="86" y="88"/>
                  </a:lnTo>
                  <a:lnTo>
                    <a:pt x="62" y="84"/>
                  </a:lnTo>
                  <a:lnTo>
                    <a:pt x="21" y="80"/>
                  </a:lnTo>
                  <a:lnTo>
                    <a:pt x="4" y="76"/>
                  </a:lnTo>
                  <a:lnTo>
                    <a:pt x="0" y="75"/>
                  </a:lnTo>
                  <a:lnTo>
                    <a:pt x="2"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82" name="Freeform 93"/>
            <p:cNvSpPr>
              <a:spLocks noEditPoints="1"/>
            </p:cNvSpPr>
            <p:nvPr/>
          </p:nvSpPr>
          <p:spPr bwMode="auto">
            <a:xfrm>
              <a:off x="333" y="532"/>
              <a:ext cx="31" cy="36"/>
            </a:xfrm>
            <a:custGeom>
              <a:avLst/>
              <a:gdLst/>
              <a:ahLst/>
              <a:cxnLst>
                <a:cxn ang="0">
                  <a:pos x="283" y="166"/>
                </a:cxn>
                <a:cxn ang="0">
                  <a:pos x="411" y="219"/>
                </a:cxn>
                <a:cxn ang="0">
                  <a:pos x="448" y="127"/>
                </a:cxn>
                <a:cxn ang="0">
                  <a:pos x="326" y="75"/>
                </a:cxn>
                <a:cxn ang="0">
                  <a:pos x="283" y="166"/>
                </a:cxn>
                <a:cxn ang="0">
                  <a:pos x="216" y="309"/>
                </a:cxn>
                <a:cxn ang="0">
                  <a:pos x="332" y="362"/>
                </a:cxn>
                <a:cxn ang="0">
                  <a:pos x="383" y="264"/>
                </a:cxn>
                <a:cxn ang="0">
                  <a:pos x="261" y="221"/>
                </a:cxn>
                <a:cxn ang="0">
                  <a:pos x="216" y="309"/>
                </a:cxn>
                <a:cxn ang="0">
                  <a:pos x="188" y="364"/>
                </a:cxn>
                <a:cxn ang="0">
                  <a:pos x="154" y="446"/>
                </a:cxn>
                <a:cxn ang="0">
                  <a:pos x="173" y="467"/>
                </a:cxn>
                <a:cxn ang="0">
                  <a:pos x="193" y="484"/>
                </a:cxn>
                <a:cxn ang="0">
                  <a:pos x="204" y="492"/>
                </a:cxn>
                <a:cxn ang="0">
                  <a:pos x="213" y="498"/>
                </a:cxn>
                <a:cxn ang="0">
                  <a:pos x="233" y="505"/>
                </a:cxn>
                <a:cxn ang="0">
                  <a:pos x="251" y="508"/>
                </a:cxn>
                <a:cxn ang="0">
                  <a:pos x="270" y="508"/>
                </a:cxn>
                <a:cxn ang="0">
                  <a:pos x="316" y="420"/>
                </a:cxn>
                <a:cxn ang="0">
                  <a:pos x="188" y="364"/>
                </a:cxn>
                <a:cxn ang="0">
                  <a:pos x="0" y="457"/>
                </a:cxn>
                <a:cxn ang="0">
                  <a:pos x="29" y="405"/>
                </a:cxn>
                <a:cxn ang="0">
                  <a:pos x="95" y="437"/>
                </a:cxn>
                <a:cxn ang="0">
                  <a:pos x="292" y="0"/>
                </a:cxn>
                <a:cxn ang="0">
                  <a:pos x="534" y="106"/>
                </a:cxn>
                <a:cxn ang="0">
                  <a:pos x="322" y="549"/>
                </a:cxn>
                <a:cxn ang="0">
                  <a:pos x="357" y="567"/>
                </a:cxn>
                <a:cxn ang="0">
                  <a:pos x="363" y="571"/>
                </a:cxn>
                <a:cxn ang="0">
                  <a:pos x="367" y="576"/>
                </a:cxn>
                <a:cxn ang="0">
                  <a:pos x="369" y="580"/>
                </a:cxn>
                <a:cxn ang="0">
                  <a:pos x="370" y="584"/>
                </a:cxn>
                <a:cxn ang="0">
                  <a:pos x="368" y="593"/>
                </a:cxn>
                <a:cxn ang="0">
                  <a:pos x="363" y="602"/>
                </a:cxn>
                <a:cxn ang="0">
                  <a:pos x="356" y="609"/>
                </a:cxn>
                <a:cxn ang="0">
                  <a:pos x="344" y="613"/>
                </a:cxn>
                <a:cxn ang="0">
                  <a:pos x="330" y="614"/>
                </a:cxn>
                <a:cxn ang="0">
                  <a:pos x="313" y="610"/>
                </a:cxn>
                <a:cxn ang="0">
                  <a:pos x="255" y="583"/>
                </a:cxn>
                <a:cxn ang="0">
                  <a:pos x="147" y="530"/>
                </a:cxn>
                <a:cxn ang="0">
                  <a:pos x="0" y="457"/>
                </a:cxn>
              </a:cxnLst>
              <a:rect l="0" t="0" r="r" b="b"/>
              <a:pathLst>
                <a:path w="534" h="614">
                  <a:moveTo>
                    <a:pt x="283" y="166"/>
                  </a:moveTo>
                  <a:lnTo>
                    <a:pt x="411" y="219"/>
                  </a:lnTo>
                  <a:lnTo>
                    <a:pt x="448" y="127"/>
                  </a:lnTo>
                  <a:lnTo>
                    <a:pt x="326" y="75"/>
                  </a:lnTo>
                  <a:lnTo>
                    <a:pt x="283" y="166"/>
                  </a:lnTo>
                  <a:close/>
                  <a:moveTo>
                    <a:pt x="216" y="309"/>
                  </a:moveTo>
                  <a:lnTo>
                    <a:pt x="332" y="362"/>
                  </a:lnTo>
                  <a:lnTo>
                    <a:pt x="383" y="264"/>
                  </a:lnTo>
                  <a:lnTo>
                    <a:pt x="261" y="221"/>
                  </a:lnTo>
                  <a:lnTo>
                    <a:pt x="216" y="309"/>
                  </a:lnTo>
                  <a:close/>
                  <a:moveTo>
                    <a:pt x="188" y="364"/>
                  </a:moveTo>
                  <a:lnTo>
                    <a:pt x="154" y="446"/>
                  </a:lnTo>
                  <a:lnTo>
                    <a:pt x="173" y="467"/>
                  </a:lnTo>
                  <a:lnTo>
                    <a:pt x="193" y="484"/>
                  </a:lnTo>
                  <a:lnTo>
                    <a:pt x="204" y="492"/>
                  </a:lnTo>
                  <a:lnTo>
                    <a:pt x="213" y="498"/>
                  </a:lnTo>
                  <a:lnTo>
                    <a:pt x="233" y="505"/>
                  </a:lnTo>
                  <a:lnTo>
                    <a:pt x="251" y="508"/>
                  </a:lnTo>
                  <a:lnTo>
                    <a:pt x="270" y="508"/>
                  </a:lnTo>
                  <a:lnTo>
                    <a:pt x="316" y="420"/>
                  </a:lnTo>
                  <a:lnTo>
                    <a:pt x="188" y="364"/>
                  </a:lnTo>
                  <a:close/>
                  <a:moveTo>
                    <a:pt x="0" y="457"/>
                  </a:moveTo>
                  <a:lnTo>
                    <a:pt x="29" y="405"/>
                  </a:lnTo>
                  <a:lnTo>
                    <a:pt x="95" y="437"/>
                  </a:lnTo>
                  <a:lnTo>
                    <a:pt x="292" y="0"/>
                  </a:lnTo>
                  <a:lnTo>
                    <a:pt x="534" y="106"/>
                  </a:lnTo>
                  <a:lnTo>
                    <a:pt x="322" y="549"/>
                  </a:lnTo>
                  <a:lnTo>
                    <a:pt x="357" y="567"/>
                  </a:lnTo>
                  <a:lnTo>
                    <a:pt x="363" y="571"/>
                  </a:lnTo>
                  <a:lnTo>
                    <a:pt x="367" y="576"/>
                  </a:lnTo>
                  <a:lnTo>
                    <a:pt x="369" y="580"/>
                  </a:lnTo>
                  <a:lnTo>
                    <a:pt x="370" y="584"/>
                  </a:lnTo>
                  <a:lnTo>
                    <a:pt x="368" y="593"/>
                  </a:lnTo>
                  <a:lnTo>
                    <a:pt x="363" y="602"/>
                  </a:lnTo>
                  <a:lnTo>
                    <a:pt x="356" y="609"/>
                  </a:lnTo>
                  <a:lnTo>
                    <a:pt x="344" y="613"/>
                  </a:lnTo>
                  <a:lnTo>
                    <a:pt x="330" y="614"/>
                  </a:lnTo>
                  <a:lnTo>
                    <a:pt x="313" y="610"/>
                  </a:lnTo>
                  <a:lnTo>
                    <a:pt x="255" y="583"/>
                  </a:lnTo>
                  <a:lnTo>
                    <a:pt x="147" y="530"/>
                  </a:lnTo>
                  <a:lnTo>
                    <a:pt x="0" y="457"/>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83" name="Freeform 94"/>
            <p:cNvSpPr>
              <a:spLocks/>
            </p:cNvSpPr>
            <p:nvPr/>
          </p:nvSpPr>
          <p:spPr bwMode="auto">
            <a:xfrm>
              <a:off x="368" y="541"/>
              <a:ext cx="17" cy="24"/>
            </a:xfrm>
            <a:custGeom>
              <a:avLst/>
              <a:gdLst/>
              <a:ahLst/>
              <a:cxnLst>
                <a:cxn ang="0">
                  <a:pos x="152" y="51"/>
                </a:cxn>
                <a:cxn ang="0">
                  <a:pos x="121" y="114"/>
                </a:cxn>
                <a:cxn ang="0">
                  <a:pos x="93" y="132"/>
                </a:cxn>
                <a:cxn ang="0">
                  <a:pos x="41" y="161"/>
                </a:cxn>
                <a:cxn ang="0">
                  <a:pos x="25" y="175"/>
                </a:cxn>
                <a:cxn ang="0">
                  <a:pos x="20" y="188"/>
                </a:cxn>
                <a:cxn ang="0">
                  <a:pos x="30" y="224"/>
                </a:cxn>
                <a:cxn ang="0">
                  <a:pos x="113" y="235"/>
                </a:cxn>
                <a:cxn ang="0">
                  <a:pos x="131" y="240"/>
                </a:cxn>
                <a:cxn ang="0">
                  <a:pos x="134" y="246"/>
                </a:cxn>
                <a:cxn ang="0">
                  <a:pos x="127" y="262"/>
                </a:cxn>
                <a:cxn ang="0">
                  <a:pos x="108" y="276"/>
                </a:cxn>
                <a:cxn ang="0">
                  <a:pos x="48" y="306"/>
                </a:cxn>
                <a:cxn ang="0">
                  <a:pos x="14" y="320"/>
                </a:cxn>
                <a:cxn ang="0">
                  <a:pos x="5" y="327"/>
                </a:cxn>
                <a:cxn ang="0">
                  <a:pos x="0" y="341"/>
                </a:cxn>
                <a:cxn ang="0">
                  <a:pos x="4" y="362"/>
                </a:cxn>
                <a:cxn ang="0">
                  <a:pos x="14" y="385"/>
                </a:cxn>
                <a:cxn ang="0">
                  <a:pos x="36" y="390"/>
                </a:cxn>
                <a:cxn ang="0">
                  <a:pos x="162" y="399"/>
                </a:cxn>
                <a:cxn ang="0">
                  <a:pos x="226" y="355"/>
                </a:cxn>
                <a:cxn ang="0">
                  <a:pos x="176" y="349"/>
                </a:cxn>
                <a:cxn ang="0">
                  <a:pos x="139" y="339"/>
                </a:cxn>
                <a:cxn ang="0">
                  <a:pos x="130" y="332"/>
                </a:cxn>
                <a:cxn ang="0">
                  <a:pos x="131" y="323"/>
                </a:cxn>
                <a:cxn ang="0">
                  <a:pos x="146" y="309"/>
                </a:cxn>
                <a:cxn ang="0">
                  <a:pos x="215" y="253"/>
                </a:cxn>
                <a:cxn ang="0">
                  <a:pos x="290" y="185"/>
                </a:cxn>
                <a:cxn ang="0">
                  <a:pos x="291" y="173"/>
                </a:cxn>
                <a:cxn ang="0">
                  <a:pos x="273" y="151"/>
                </a:cxn>
                <a:cxn ang="0">
                  <a:pos x="251" y="137"/>
                </a:cxn>
                <a:cxn ang="0">
                  <a:pos x="223" y="156"/>
                </a:cxn>
                <a:cxn ang="0">
                  <a:pos x="207" y="192"/>
                </a:cxn>
                <a:cxn ang="0">
                  <a:pos x="187" y="196"/>
                </a:cxn>
                <a:cxn ang="0">
                  <a:pos x="167" y="196"/>
                </a:cxn>
                <a:cxn ang="0">
                  <a:pos x="144" y="188"/>
                </a:cxn>
                <a:cxn ang="0">
                  <a:pos x="129" y="175"/>
                </a:cxn>
                <a:cxn ang="0">
                  <a:pos x="126" y="165"/>
                </a:cxn>
                <a:cxn ang="0">
                  <a:pos x="132" y="154"/>
                </a:cxn>
                <a:cxn ang="0">
                  <a:pos x="202" y="95"/>
                </a:cxn>
                <a:cxn ang="0">
                  <a:pos x="174" y="0"/>
                </a:cxn>
              </a:cxnLst>
              <a:rect l="0" t="0" r="r" b="b"/>
              <a:pathLst>
                <a:path w="293" h="403">
                  <a:moveTo>
                    <a:pt x="174" y="0"/>
                  </a:moveTo>
                  <a:lnTo>
                    <a:pt x="152" y="51"/>
                  </a:lnTo>
                  <a:lnTo>
                    <a:pt x="125" y="110"/>
                  </a:lnTo>
                  <a:lnTo>
                    <a:pt x="121" y="114"/>
                  </a:lnTo>
                  <a:lnTo>
                    <a:pt x="113" y="121"/>
                  </a:lnTo>
                  <a:lnTo>
                    <a:pt x="93" y="132"/>
                  </a:lnTo>
                  <a:lnTo>
                    <a:pt x="53" y="153"/>
                  </a:lnTo>
                  <a:lnTo>
                    <a:pt x="41" y="161"/>
                  </a:lnTo>
                  <a:lnTo>
                    <a:pt x="29" y="170"/>
                  </a:lnTo>
                  <a:lnTo>
                    <a:pt x="25" y="175"/>
                  </a:lnTo>
                  <a:lnTo>
                    <a:pt x="22" y="182"/>
                  </a:lnTo>
                  <a:lnTo>
                    <a:pt x="20" y="188"/>
                  </a:lnTo>
                  <a:lnTo>
                    <a:pt x="21" y="194"/>
                  </a:lnTo>
                  <a:lnTo>
                    <a:pt x="30" y="224"/>
                  </a:lnTo>
                  <a:lnTo>
                    <a:pt x="35" y="237"/>
                  </a:lnTo>
                  <a:lnTo>
                    <a:pt x="113" y="235"/>
                  </a:lnTo>
                  <a:lnTo>
                    <a:pt x="127" y="237"/>
                  </a:lnTo>
                  <a:lnTo>
                    <a:pt x="131" y="240"/>
                  </a:lnTo>
                  <a:lnTo>
                    <a:pt x="133" y="243"/>
                  </a:lnTo>
                  <a:lnTo>
                    <a:pt x="134" y="246"/>
                  </a:lnTo>
                  <a:lnTo>
                    <a:pt x="133" y="250"/>
                  </a:lnTo>
                  <a:lnTo>
                    <a:pt x="127" y="262"/>
                  </a:lnTo>
                  <a:lnTo>
                    <a:pt x="119" y="269"/>
                  </a:lnTo>
                  <a:lnTo>
                    <a:pt x="108" y="276"/>
                  </a:lnTo>
                  <a:lnTo>
                    <a:pt x="78" y="292"/>
                  </a:lnTo>
                  <a:lnTo>
                    <a:pt x="48" y="306"/>
                  </a:lnTo>
                  <a:lnTo>
                    <a:pt x="27" y="314"/>
                  </a:lnTo>
                  <a:lnTo>
                    <a:pt x="14" y="320"/>
                  </a:lnTo>
                  <a:lnTo>
                    <a:pt x="9" y="323"/>
                  </a:lnTo>
                  <a:lnTo>
                    <a:pt x="5" y="327"/>
                  </a:lnTo>
                  <a:lnTo>
                    <a:pt x="2" y="333"/>
                  </a:lnTo>
                  <a:lnTo>
                    <a:pt x="0" y="341"/>
                  </a:lnTo>
                  <a:lnTo>
                    <a:pt x="1" y="350"/>
                  </a:lnTo>
                  <a:lnTo>
                    <a:pt x="4" y="362"/>
                  </a:lnTo>
                  <a:lnTo>
                    <a:pt x="11" y="381"/>
                  </a:lnTo>
                  <a:lnTo>
                    <a:pt x="14" y="385"/>
                  </a:lnTo>
                  <a:lnTo>
                    <a:pt x="20" y="388"/>
                  </a:lnTo>
                  <a:lnTo>
                    <a:pt x="36" y="390"/>
                  </a:lnTo>
                  <a:lnTo>
                    <a:pt x="64" y="391"/>
                  </a:lnTo>
                  <a:lnTo>
                    <a:pt x="162" y="399"/>
                  </a:lnTo>
                  <a:lnTo>
                    <a:pt x="224" y="403"/>
                  </a:lnTo>
                  <a:lnTo>
                    <a:pt x="226" y="355"/>
                  </a:lnTo>
                  <a:lnTo>
                    <a:pt x="199" y="352"/>
                  </a:lnTo>
                  <a:lnTo>
                    <a:pt x="176" y="349"/>
                  </a:lnTo>
                  <a:lnTo>
                    <a:pt x="154" y="344"/>
                  </a:lnTo>
                  <a:lnTo>
                    <a:pt x="139" y="339"/>
                  </a:lnTo>
                  <a:lnTo>
                    <a:pt x="133" y="336"/>
                  </a:lnTo>
                  <a:lnTo>
                    <a:pt x="130" y="332"/>
                  </a:lnTo>
                  <a:lnTo>
                    <a:pt x="129" y="328"/>
                  </a:lnTo>
                  <a:lnTo>
                    <a:pt x="131" y="323"/>
                  </a:lnTo>
                  <a:lnTo>
                    <a:pt x="136" y="316"/>
                  </a:lnTo>
                  <a:lnTo>
                    <a:pt x="146" y="309"/>
                  </a:lnTo>
                  <a:lnTo>
                    <a:pt x="176" y="286"/>
                  </a:lnTo>
                  <a:lnTo>
                    <a:pt x="215" y="253"/>
                  </a:lnTo>
                  <a:lnTo>
                    <a:pt x="274" y="202"/>
                  </a:lnTo>
                  <a:lnTo>
                    <a:pt x="290" y="185"/>
                  </a:lnTo>
                  <a:lnTo>
                    <a:pt x="293" y="180"/>
                  </a:lnTo>
                  <a:lnTo>
                    <a:pt x="291" y="173"/>
                  </a:lnTo>
                  <a:lnTo>
                    <a:pt x="280" y="160"/>
                  </a:lnTo>
                  <a:lnTo>
                    <a:pt x="273" y="151"/>
                  </a:lnTo>
                  <a:lnTo>
                    <a:pt x="264" y="144"/>
                  </a:lnTo>
                  <a:lnTo>
                    <a:pt x="251" y="137"/>
                  </a:lnTo>
                  <a:lnTo>
                    <a:pt x="237" y="132"/>
                  </a:lnTo>
                  <a:lnTo>
                    <a:pt x="223" y="156"/>
                  </a:lnTo>
                  <a:lnTo>
                    <a:pt x="213" y="175"/>
                  </a:lnTo>
                  <a:lnTo>
                    <a:pt x="207" y="192"/>
                  </a:lnTo>
                  <a:lnTo>
                    <a:pt x="202" y="194"/>
                  </a:lnTo>
                  <a:lnTo>
                    <a:pt x="187" y="196"/>
                  </a:lnTo>
                  <a:lnTo>
                    <a:pt x="177" y="196"/>
                  </a:lnTo>
                  <a:lnTo>
                    <a:pt x="167" y="196"/>
                  </a:lnTo>
                  <a:lnTo>
                    <a:pt x="155" y="193"/>
                  </a:lnTo>
                  <a:lnTo>
                    <a:pt x="144" y="188"/>
                  </a:lnTo>
                  <a:lnTo>
                    <a:pt x="134" y="182"/>
                  </a:lnTo>
                  <a:lnTo>
                    <a:pt x="129" y="175"/>
                  </a:lnTo>
                  <a:lnTo>
                    <a:pt x="126" y="170"/>
                  </a:lnTo>
                  <a:lnTo>
                    <a:pt x="126" y="165"/>
                  </a:lnTo>
                  <a:lnTo>
                    <a:pt x="128" y="160"/>
                  </a:lnTo>
                  <a:lnTo>
                    <a:pt x="132" y="154"/>
                  </a:lnTo>
                  <a:lnTo>
                    <a:pt x="144" y="145"/>
                  </a:lnTo>
                  <a:lnTo>
                    <a:pt x="202" y="95"/>
                  </a:lnTo>
                  <a:lnTo>
                    <a:pt x="246" y="55"/>
                  </a:lnTo>
                  <a:lnTo>
                    <a:pt x="174"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84" name="Freeform 95"/>
            <p:cNvSpPr>
              <a:spLocks noEditPoints="1"/>
            </p:cNvSpPr>
            <p:nvPr/>
          </p:nvSpPr>
          <p:spPr bwMode="auto">
            <a:xfrm>
              <a:off x="383" y="546"/>
              <a:ext cx="19" cy="20"/>
            </a:xfrm>
            <a:custGeom>
              <a:avLst/>
              <a:gdLst/>
              <a:ahLst/>
              <a:cxnLst>
                <a:cxn ang="0">
                  <a:pos x="119" y="73"/>
                </a:cxn>
                <a:cxn ang="0">
                  <a:pos x="81" y="255"/>
                </a:cxn>
                <a:cxn ang="0">
                  <a:pos x="211" y="290"/>
                </a:cxn>
                <a:cxn ang="0">
                  <a:pos x="248" y="104"/>
                </a:cxn>
                <a:cxn ang="0">
                  <a:pos x="119" y="73"/>
                </a:cxn>
                <a:cxn ang="0">
                  <a:pos x="78" y="0"/>
                </a:cxn>
                <a:cxn ang="0">
                  <a:pos x="330" y="61"/>
                </a:cxn>
                <a:cxn ang="0">
                  <a:pos x="250" y="349"/>
                </a:cxn>
                <a:cxn ang="0">
                  <a:pos x="0" y="296"/>
                </a:cxn>
                <a:cxn ang="0">
                  <a:pos x="78" y="0"/>
                </a:cxn>
              </a:cxnLst>
              <a:rect l="0" t="0" r="r" b="b"/>
              <a:pathLst>
                <a:path w="330" h="349">
                  <a:moveTo>
                    <a:pt x="119" y="73"/>
                  </a:moveTo>
                  <a:lnTo>
                    <a:pt x="81" y="255"/>
                  </a:lnTo>
                  <a:lnTo>
                    <a:pt x="211" y="290"/>
                  </a:lnTo>
                  <a:lnTo>
                    <a:pt x="248" y="104"/>
                  </a:lnTo>
                  <a:lnTo>
                    <a:pt x="119" y="73"/>
                  </a:lnTo>
                  <a:close/>
                  <a:moveTo>
                    <a:pt x="78" y="0"/>
                  </a:moveTo>
                  <a:lnTo>
                    <a:pt x="330" y="61"/>
                  </a:lnTo>
                  <a:lnTo>
                    <a:pt x="250" y="349"/>
                  </a:lnTo>
                  <a:lnTo>
                    <a:pt x="0" y="296"/>
                  </a:lnTo>
                  <a:lnTo>
                    <a:pt x="78" y="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85" name="Freeform 96"/>
            <p:cNvSpPr>
              <a:spLocks/>
            </p:cNvSpPr>
            <p:nvPr/>
          </p:nvSpPr>
          <p:spPr bwMode="auto">
            <a:xfrm>
              <a:off x="389" y="568"/>
              <a:ext cx="8" cy="11"/>
            </a:xfrm>
            <a:custGeom>
              <a:avLst/>
              <a:gdLst/>
              <a:ahLst/>
              <a:cxnLst>
                <a:cxn ang="0">
                  <a:pos x="0" y="20"/>
                </a:cxn>
                <a:cxn ang="0">
                  <a:pos x="69" y="0"/>
                </a:cxn>
                <a:cxn ang="0">
                  <a:pos x="134" y="157"/>
                </a:cxn>
                <a:cxn ang="0">
                  <a:pos x="65" y="190"/>
                </a:cxn>
                <a:cxn ang="0">
                  <a:pos x="0" y="20"/>
                </a:cxn>
              </a:cxnLst>
              <a:rect l="0" t="0" r="r" b="b"/>
              <a:pathLst>
                <a:path w="134" h="190">
                  <a:moveTo>
                    <a:pt x="0" y="20"/>
                  </a:moveTo>
                  <a:lnTo>
                    <a:pt x="69" y="0"/>
                  </a:lnTo>
                  <a:lnTo>
                    <a:pt x="134" y="157"/>
                  </a:lnTo>
                  <a:lnTo>
                    <a:pt x="65" y="190"/>
                  </a:lnTo>
                  <a:lnTo>
                    <a:pt x="0" y="2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86" name="Freeform 97"/>
            <p:cNvSpPr>
              <a:spLocks/>
            </p:cNvSpPr>
            <p:nvPr/>
          </p:nvSpPr>
          <p:spPr bwMode="auto">
            <a:xfrm>
              <a:off x="365" y="567"/>
              <a:ext cx="23" cy="9"/>
            </a:xfrm>
            <a:custGeom>
              <a:avLst/>
              <a:gdLst/>
              <a:ahLst/>
              <a:cxnLst>
                <a:cxn ang="0">
                  <a:pos x="385" y="50"/>
                </a:cxn>
                <a:cxn ang="0">
                  <a:pos x="231" y="169"/>
                </a:cxn>
                <a:cxn ang="0">
                  <a:pos x="189" y="119"/>
                </a:cxn>
                <a:cxn ang="0">
                  <a:pos x="207" y="101"/>
                </a:cxn>
                <a:cxn ang="0">
                  <a:pos x="213" y="93"/>
                </a:cxn>
                <a:cxn ang="0">
                  <a:pos x="214" y="89"/>
                </a:cxn>
                <a:cxn ang="0">
                  <a:pos x="213" y="85"/>
                </a:cxn>
                <a:cxn ang="0">
                  <a:pos x="211" y="81"/>
                </a:cxn>
                <a:cxn ang="0">
                  <a:pos x="207" y="78"/>
                </a:cxn>
                <a:cxn ang="0">
                  <a:pos x="202" y="76"/>
                </a:cxn>
                <a:cxn ang="0">
                  <a:pos x="193" y="76"/>
                </a:cxn>
                <a:cxn ang="0">
                  <a:pos x="0" y="82"/>
                </a:cxn>
                <a:cxn ang="0">
                  <a:pos x="0" y="7"/>
                </a:cxn>
                <a:cxn ang="0">
                  <a:pos x="74" y="19"/>
                </a:cxn>
                <a:cxn ang="0">
                  <a:pos x="132" y="29"/>
                </a:cxn>
                <a:cxn ang="0">
                  <a:pos x="172" y="33"/>
                </a:cxn>
                <a:cxn ang="0">
                  <a:pos x="195" y="31"/>
                </a:cxn>
                <a:cxn ang="0">
                  <a:pos x="217" y="28"/>
                </a:cxn>
                <a:cxn ang="0">
                  <a:pos x="239" y="23"/>
                </a:cxn>
                <a:cxn ang="0">
                  <a:pos x="239" y="35"/>
                </a:cxn>
                <a:cxn ang="0">
                  <a:pos x="242" y="45"/>
                </a:cxn>
                <a:cxn ang="0">
                  <a:pos x="244" y="54"/>
                </a:cxn>
                <a:cxn ang="0">
                  <a:pos x="248" y="61"/>
                </a:cxn>
                <a:cxn ang="0">
                  <a:pos x="251" y="65"/>
                </a:cxn>
                <a:cxn ang="0">
                  <a:pos x="255" y="66"/>
                </a:cxn>
                <a:cxn ang="0">
                  <a:pos x="261" y="65"/>
                </a:cxn>
                <a:cxn ang="0">
                  <a:pos x="268" y="62"/>
                </a:cxn>
                <a:cxn ang="0">
                  <a:pos x="276" y="56"/>
                </a:cxn>
                <a:cxn ang="0">
                  <a:pos x="287" y="48"/>
                </a:cxn>
                <a:cxn ang="0">
                  <a:pos x="307" y="29"/>
                </a:cxn>
                <a:cxn ang="0">
                  <a:pos x="322" y="13"/>
                </a:cxn>
                <a:cxn ang="0">
                  <a:pos x="332" y="0"/>
                </a:cxn>
                <a:cxn ang="0">
                  <a:pos x="385" y="50"/>
                </a:cxn>
              </a:cxnLst>
              <a:rect l="0" t="0" r="r" b="b"/>
              <a:pathLst>
                <a:path w="385" h="169">
                  <a:moveTo>
                    <a:pt x="385" y="50"/>
                  </a:moveTo>
                  <a:lnTo>
                    <a:pt x="231" y="169"/>
                  </a:lnTo>
                  <a:lnTo>
                    <a:pt x="189" y="119"/>
                  </a:lnTo>
                  <a:lnTo>
                    <a:pt x="207" y="101"/>
                  </a:lnTo>
                  <a:lnTo>
                    <a:pt x="213" y="93"/>
                  </a:lnTo>
                  <a:lnTo>
                    <a:pt x="214" y="89"/>
                  </a:lnTo>
                  <a:lnTo>
                    <a:pt x="213" y="85"/>
                  </a:lnTo>
                  <a:lnTo>
                    <a:pt x="211" y="81"/>
                  </a:lnTo>
                  <a:lnTo>
                    <a:pt x="207" y="78"/>
                  </a:lnTo>
                  <a:lnTo>
                    <a:pt x="202" y="76"/>
                  </a:lnTo>
                  <a:lnTo>
                    <a:pt x="193" y="76"/>
                  </a:lnTo>
                  <a:lnTo>
                    <a:pt x="0" y="82"/>
                  </a:lnTo>
                  <a:lnTo>
                    <a:pt x="0" y="7"/>
                  </a:lnTo>
                  <a:lnTo>
                    <a:pt x="74" y="19"/>
                  </a:lnTo>
                  <a:lnTo>
                    <a:pt x="132" y="29"/>
                  </a:lnTo>
                  <a:lnTo>
                    <a:pt x="172" y="33"/>
                  </a:lnTo>
                  <a:lnTo>
                    <a:pt x="195" y="31"/>
                  </a:lnTo>
                  <a:lnTo>
                    <a:pt x="217" y="28"/>
                  </a:lnTo>
                  <a:lnTo>
                    <a:pt x="239" y="23"/>
                  </a:lnTo>
                  <a:lnTo>
                    <a:pt x="239" y="35"/>
                  </a:lnTo>
                  <a:lnTo>
                    <a:pt x="242" y="45"/>
                  </a:lnTo>
                  <a:lnTo>
                    <a:pt x="244" y="54"/>
                  </a:lnTo>
                  <a:lnTo>
                    <a:pt x="248" y="61"/>
                  </a:lnTo>
                  <a:lnTo>
                    <a:pt x="251" y="65"/>
                  </a:lnTo>
                  <a:lnTo>
                    <a:pt x="255" y="66"/>
                  </a:lnTo>
                  <a:lnTo>
                    <a:pt x="261" y="65"/>
                  </a:lnTo>
                  <a:lnTo>
                    <a:pt x="268" y="62"/>
                  </a:lnTo>
                  <a:lnTo>
                    <a:pt x="276" y="56"/>
                  </a:lnTo>
                  <a:lnTo>
                    <a:pt x="287" y="48"/>
                  </a:lnTo>
                  <a:lnTo>
                    <a:pt x="307" y="29"/>
                  </a:lnTo>
                  <a:lnTo>
                    <a:pt x="322" y="13"/>
                  </a:lnTo>
                  <a:lnTo>
                    <a:pt x="332" y="0"/>
                  </a:lnTo>
                  <a:lnTo>
                    <a:pt x="385" y="50"/>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sp>
          <p:nvSpPr>
            <p:cNvPr id="187" name="Freeform 98"/>
            <p:cNvSpPr>
              <a:spLocks/>
            </p:cNvSpPr>
            <p:nvPr/>
          </p:nvSpPr>
          <p:spPr bwMode="auto">
            <a:xfrm>
              <a:off x="480" y="457"/>
              <a:ext cx="149" cy="116"/>
            </a:xfrm>
            <a:custGeom>
              <a:avLst/>
              <a:gdLst/>
              <a:ahLst/>
              <a:cxnLst>
                <a:cxn ang="0">
                  <a:pos x="0" y="1532"/>
                </a:cxn>
                <a:cxn ang="0">
                  <a:pos x="187" y="1535"/>
                </a:cxn>
                <a:cxn ang="0">
                  <a:pos x="413" y="1829"/>
                </a:cxn>
                <a:cxn ang="0">
                  <a:pos x="617" y="1760"/>
                </a:cxn>
                <a:cxn ang="0">
                  <a:pos x="818" y="1675"/>
                </a:cxn>
                <a:cxn ang="0">
                  <a:pos x="1036" y="1564"/>
                </a:cxn>
                <a:cxn ang="0">
                  <a:pos x="1290" y="1417"/>
                </a:cxn>
                <a:cxn ang="0">
                  <a:pos x="1428" y="1328"/>
                </a:cxn>
                <a:cxn ang="0">
                  <a:pos x="1560" y="1229"/>
                </a:cxn>
                <a:cxn ang="0">
                  <a:pos x="1686" y="1124"/>
                </a:cxn>
                <a:cxn ang="0">
                  <a:pos x="1803" y="1016"/>
                </a:cxn>
                <a:cxn ang="0">
                  <a:pos x="1909" y="912"/>
                </a:cxn>
                <a:cxn ang="0">
                  <a:pos x="2082" y="726"/>
                </a:cxn>
                <a:cxn ang="0">
                  <a:pos x="2198" y="588"/>
                </a:cxn>
                <a:cxn ang="0">
                  <a:pos x="2180" y="579"/>
                </a:cxn>
                <a:cxn ang="0">
                  <a:pos x="1762" y="846"/>
                </a:cxn>
                <a:cxn ang="0">
                  <a:pos x="1686" y="594"/>
                </a:cxn>
                <a:cxn ang="0">
                  <a:pos x="1702" y="374"/>
                </a:cxn>
                <a:cxn ang="0">
                  <a:pos x="1704" y="327"/>
                </a:cxn>
                <a:cxn ang="0">
                  <a:pos x="1710" y="317"/>
                </a:cxn>
                <a:cxn ang="0">
                  <a:pos x="1718" y="323"/>
                </a:cxn>
                <a:cxn ang="0">
                  <a:pos x="1723" y="339"/>
                </a:cxn>
                <a:cxn ang="0">
                  <a:pos x="1732" y="447"/>
                </a:cxn>
                <a:cxn ang="0">
                  <a:pos x="1752" y="586"/>
                </a:cxn>
                <a:cxn ang="0">
                  <a:pos x="1776" y="662"/>
                </a:cxn>
                <a:cxn ang="0">
                  <a:pos x="1793" y="693"/>
                </a:cxn>
                <a:cxn ang="0">
                  <a:pos x="2091" y="387"/>
                </a:cxn>
                <a:cxn ang="0">
                  <a:pos x="2288" y="462"/>
                </a:cxn>
                <a:cxn ang="0">
                  <a:pos x="2380" y="319"/>
                </a:cxn>
                <a:cxn ang="0">
                  <a:pos x="2321" y="117"/>
                </a:cxn>
                <a:cxn ang="0">
                  <a:pos x="2221" y="137"/>
                </a:cxn>
                <a:cxn ang="0">
                  <a:pos x="2403" y="93"/>
                </a:cxn>
                <a:cxn ang="0">
                  <a:pos x="2538" y="267"/>
                </a:cxn>
                <a:cxn ang="0">
                  <a:pos x="2372" y="515"/>
                </a:cxn>
                <a:cxn ang="0">
                  <a:pos x="2206" y="736"/>
                </a:cxn>
                <a:cxn ang="0">
                  <a:pos x="2028" y="942"/>
                </a:cxn>
                <a:cxn ang="0">
                  <a:pos x="1827" y="1145"/>
                </a:cxn>
                <a:cxn ang="0">
                  <a:pos x="1720" y="1241"/>
                </a:cxn>
                <a:cxn ang="0">
                  <a:pos x="1612" y="1330"/>
                </a:cxn>
                <a:cxn ang="0">
                  <a:pos x="1504" y="1409"/>
                </a:cxn>
                <a:cxn ang="0">
                  <a:pos x="1398" y="1480"/>
                </a:cxn>
                <a:cxn ang="0">
                  <a:pos x="1293" y="1547"/>
                </a:cxn>
                <a:cxn ang="0">
                  <a:pos x="1086" y="1663"/>
                </a:cxn>
                <a:cxn ang="0">
                  <a:pos x="934" y="1742"/>
                </a:cxn>
                <a:cxn ang="0">
                  <a:pos x="778" y="1813"/>
                </a:cxn>
                <a:cxn ang="0">
                  <a:pos x="582" y="1890"/>
                </a:cxn>
                <a:cxn ang="0">
                  <a:pos x="436" y="1942"/>
                </a:cxn>
                <a:cxn ang="0">
                  <a:pos x="65" y="1540"/>
                </a:cxn>
              </a:cxnLst>
              <a:rect l="0" t="0" r="r" b="b"/>
              <a:pathLst>
                <a:path w="2538" h="1960">
                  <a:moveTo>
                    <a:pt x="30" y="1569"/>
                  </a:moveTo>
                  <a:lnTo>
                    <a:pt x="0" y="1532"/>
                  </a:lnTo>
                  <a:lnTo>
                    <a:pt x="88" y="1403"/>
                  </a:lnTo>
                  <a:lnTo>
                    <a:pt x="187" y="1535"/>
                  </a:lnTo>
                  <a:lnTo>
                    <a:pt x="291" y="1671"/>
                  </a:lnTo>
                  <a:lnTo>
                    <a:pt x="413" y="1829"/>
                  </a:lnTo>
                  <a:lnTo>
                    <a:pt x="517" y="1796"/>
                  </a:lnTo>
                  <a:lnTo>
                    <a:pt x="617" y="1760"/>
                  </a:lnTo>
                  <a:lnTo>
                    <a:pt x="717" y="1720"/>
                  </a:lnTo>
                  <a:lnTo>
                    <a:pt x="818" y="1675"/>
                  </a:lnTo>
                  <a:lnTo>
                    <a:pt x="924" y="1623"/>
                  </a:lnTo>
                  <a:lnTo>
                    <a:pt x="1036" y="1564"/>
                  </a:lnTo>
                  <a:lnTo>
                    <a:pt x="1157" y="1495"/>
                  </a:lnTo>
                  <a:lnTo>
                    <a:pt x="1290" y="1417"/>
                  </a:lnTo>
                  <a:lnTo>
                    <a:pt x="1359" y="1374"/>
                  </a:lnTo>
                  <a:lnTo>
                    <a:pt x="1428" y="1328"/>
                  </a:lnTo>
                  <a:lnTo>
                    <a:pt x="1495" y="1279"/>
                  </a:lnTo>
                  <a:lnTo>
                    <a:pt x="1560" y="1229"/>
                  </a:lnTo>
                  <a:lnTo>
                    <a:pt x="1624" y="1176"/>
                  </a:lnTo>
                  <a:lnTo>
                    <a:pt x="1686" y="1124"/>
                  </a:lnTo>
                  <a:lnTo>
                    <a:pt x="1745" y="1070"/>
                  </a:lnTo>
                  <a:lnTo>
                    <a:pt x="1803" y="1016"/>
                  </a:lnTo>
                  <a:lnTo>
                    <a:pt x="1858" y="963"/>
                  </a:lnTo>
                  <a:lnTo>
                    <a:pt x="1909" y="912"/>
                  </a:lnTo>
                  <a:lnTo>
                    <a:pt x="2003" y="813"/>
                  </a:lnTo>
                  <a:lnTo>
                    <a:pt x="2082" y="726"/>
                  </a:lnTo>
                  <a:lnTo>
                    <a:pt x="2145" y="652"/>
                  </a:lnTo>
                  <a:lnTo>
                    <a:pt x="2198" y="588"/>
                  </a:lnTo>
                  <a:lnTo>
                    <a:pt x="2248" y="519"/>
                  </a:lnTo>
                  <a:lnTo>
                    <a:pt x="2180" y="579"/>
                  </a:lnTo>
                  <a:lnTo>
                    <a:pt x="2087" y="512"/>
                  </a:lnTo>
                  <a:lnTo>
                    <a:pt x="1762" y="846"/>
                  </a:lnTo>
                  <a:lnTo>
                    <a:pt x="1670" y="813"/>
                  </a:lnTo>
                  <a:lnTo>
                    <a:pt x="1686" y="594"/>
                  </a:lnTo>
                  <a:lnTo>
                    <a:pt x="1698" y="434"/>
                  </a:lnTo>
                  <a:lnTo>
                    <a:pt x="1702" y="374"/>
                  </a:lnTo>
                  <a:lnTo>
                    <a:pt x="1703" y="340"/>
                  </a:lnTo>
                  <a:lnTo>
                    <a:pt x="1704" y="327"/>
                  </a:lnTo>
                  <a:lnTo>
                    <a:pt x="1706" y="319"/>
                  </a:lnTo>
                  <a:lnTo>
                    <a:pt x="1710" y="317"/>
                  </a:lnTo>
                  <a:lnTo>
                    <a:pt x="1714" y="318"/>
                  </a:lnTo>
                  <a:lnTo>
                    <a:pt x="1718" y="323"/>
                  </a:lnTo>
                  <a:lnTo>
                    <a:pt x="1721" y="331"/>
                  </a:lnTo>
                  <a:lnTo>
                    <a:pt x="1723" y="339"/>
                  </a:lnTo>
                  <a:lnTo>
                    <a:pt x="1725" y="350"/>
                  </a:lnTo>
                  <a:lnTo>
                    <a:pt x="1732" y="447"/>
                  </a:lnTo>
                  <a:lnTo>
                    <a:pt x="1741" y="526"/>
                  </a:lnTo>
                  <a:lnTo>
                    <a:pt x="1752" y="586"/>
                  </a:lnTo>
                  <a:lnTo>
                    <a:pt x="1764" y="631"/>
                  </a:lnTo>
                  <a:lnTo>
                    <a:pt x="1776" y="662"/>
                  </a:lnTo>
                  <a:lnTo>
                    <a:pt x="1785" y="682"/>
                  </a:lnTo>
                  <a:lnTo>
                    <a:pt x="1793" y="693"/>
                  </a:lnTo>
                  <a:lnTo>
                    <a:pt x="1795" y="696"/>
                  </a:lnTo>
                  <a:lnTo>
                    <a:pt x="2091" y="387"/>
                  </a:lnTo>
                  <a:lnTo>
                    <a:pt x="2250" y="515"/>
                  </a:lnTo>
                  <a:lnTo>
                    <a:pt x="2288" y="462"/>
                  </a:lnTo>
                  <a:lnTo>
                    <a:pt x="2322" y="411"/>
                  </a:lnTo>
                  <a:lnTo>
                    <a:pt x="2380" y="319"/>
                  </a:lnTo>
                  <a:lnTo>
                    <a:pt x="2433" y="230"/>
                  </a:lnTo>
                  <a:lnTo>
                    <a:pt x="2321" y="117"/>
                  </a:lnTo>
                  <a:lnTo>
                    <a:pt x="2245" y="178"/>
                  </a:lnTo>
                  <a:lnTo>
                    <a:pt x="2221" y="137"/>
                  </a:lnTo>
                  <a:lnTo>
                    <a:pt x="2329" y="0"/>
                  </a:lnTo>
                  <a:lnTo>
                    <a:pt x="2403" y="93"/>
                  </a:lnTo>
                  <a:lnTo>
                    <a:pt x="2471" y="179"/>
                  </a:lnTo>
                  <a:lnTo>
                    <a:pt x="2538" y="267"/>
                  </a:lnTo>
                  <a:lnTo>
                    <a:pt x="2454" y="395"/>
                  </a:lnTo>
                  <a:lnTo>
                    <a:pt x="2372" y="515"/>
                  </a:lnTo>
                  <a:lnTo>
                    <a:pt x="2290" y="629"/>
                  </a:lnTo>
                  <a:lnTo>
                    <a:pt x="2206" y="736"/>
                  </a:lnTo>
                  <a:lnTo>
                    <a:pt x="2120" y="840"/>
                  </a:lnTo>
                  <a:lnTo>
                    <a:pt x="2028" y="942"/>
                  </a:lnTo>
                  <a:lnTo>
                    <a:pt x="1932" y="1042"/>
                  </a:lnTo>
                  <a:lnTo>
                    <a:pt x="1827" y="1145"/>
                  </a:lnTo>
                  <a:lnTo>
                    <a:pt x="1774" y="1194"/>
                  </a:lnTo>
                  <a:lnTo>
                    <a:pt x="1720" y="1241"/>
                  </a:lnTo>
                  <a:lnTo>
                    <a:pt x="1665" y="1287"/>
                  </a:lnTo>
                  <a:lnTo>
                    <a:pt x="1612" y="1330"/>
                  </a:lnTo>
                  <a:lnTo>
                    <a:pt x="1558" y="1370"/>
                  </a:lnTo>
                  <a:lnTo>
                    <a:pt x="1504" y="1409"/>
                  </a:lnTo>
                  <a:lnTo>
                    <a:pt x="1452" y="1446"/>
                  </a:lnTo>
                  <a:lnTo>
                    <a:pt x="1398" y="1480"/>
                  </a:lnTo>
                  <a:lnTo>
                    <a:pt x="1345" y="1514"/>
                  </a:lnTo>
                  <a:lnTo>
                    <a:pt x="1293" y="1547"/>
                  </a:lnTo>
                  <a:lnTo>
                    <a:pt x="1189" y="1607"/>
                  </a:lnTo>
                  <a:lnTo>
                    <a:pt x="1086" y="1663"/>
                  </a:lnTo>
                  <a:lnTo>
                    <a:pt x="985" y="1716"/>
                  </a:lnTo>
                  <a:lnTo>
                    <a:pt x="934" y="1742"/>
                  </a:lnTo>
                  <a:lnTo>
                    <a:pt x="883" y="1767"/>
                  </a:lnTo>
                  <a:lnTo>
                    <a:pt x="778" y="1813"/>
                  </a:lnTo>
                  <a:lnTo>
                    <a:pt x="676" y="1854"/>
                  </a:lnTo>
                  <a:lnTo>
                    <a:pt x="582" y="1890"/>
                  </a:lnTo>
                  <a:lnTo>
                    <a:pt x="501" y="1919"/>
                  </a:lnTo>
                  <a:lnTo>
                    <a:pt x="436" y="1942"/>
                  </a:lnTo>
                  <a:lnTo>
                    <a:pt x="379" y="1960"/>
                  </a:lnTo>
                  <a:lnTo>
                    <a:pt x="65" y="1540"/>
                  </a:lnTo>
                  <a:lnTo>
                    <a:pt x="30" y="1569"/>
                  </a:lnTo>
                  <a:close/>
                </a:path>
              </a:pathLst>
            </a:custGeom>
            <a:solidFill>
              <a:schemeClr val="tx2"/>
            </a:solidFill>
            <a:ln w="9525">
              <a:noFill/>
              <a:round/>
              <a:headEnd/>
              <a:tailEnd/>
            </a:ln>
          </p:spPr>
          <p:txBody>
            <a:bodyPr/>
            <a:lstStyle/>
            <a:p>
              <a:pPr defTabSz="914400">
                <a:defRPr/>
              </a:pPr>
              <a:endParaRPr lang="en-GB">
                <a:solidFill>
                  <a:prstClr val="black"/>
                </a:solidFill>
              </a:endParaRPr>
            </a:p>
          </p:txBody>
        </p:sp>
      </p:grpSp>
      <p:cxnSp>
        <p:nvCxnSpPr>
          <p:cNvPr id="87" name="Straight Connector 86"/>
          <p:cNvCxnSpPr/>
          <p:nvPr/>
        </p:nvCxnSpPr>
        <p:spPr>
          <a:xfrm rot="5400000">
            <a:off x="485775" y="1343025"/>
            <a:ext cx="2914650" cy="2971800"/>
          </a:xfrm>
          <a:prstGeom prst="line">
            <a:avLst/>
          </a:prstGeom>
          <a:ln w="85725" cap="flat" cmpd="sng">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6200000" flipH="1">
            <a:off x="819150" y="1619250"/>
            <a:ext cx="2857500" cy="2362200"/>
          </a:xfrm>
          <a:prstGeom prst="line">
            <a:avLst/>
          </a:prstGeom>
          <a:ln w="85725" cap="flat" cmpd="sng">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8457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CAO’s Work on Alternative Fuels</a:t>
            </a:r>
          </a:p>
        </p:txBody>
      </p:sp>
      <p:sp>
        <p:nvSpPr>
          <p:cNvPr id="4" name="Notched Right Arrow 3"/>
          <p:cNvSpPr/>
          <p:nvPr/>
        </p:nvSpPr>
        <p:spPr>
          <a:xfrm>
            <a:off x="53752" y="2010087"/>
            <a:ext cx="9036496" cy="1555373"/>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1">
            <a:schemeClr val="accent1">
              <a:tint val="40000"/>
              <a:hueOff val="0"/>
              <a:satOff val="0"/>
              <a:lumOff val="0"/>
              <a:alphaOff val="0"/>
            </a:schemeClr>
          </a:effectRef>
          <a:fontRef idx="minor">
            <a:schemeClr val="dk1">
              <a:hueOff val="0"/>
              <a:satOff val="0"/>
              <a:lumOff val="0"/>
              <a:alphaOff val="0"/>
            </a:schemeClr>
          </a:fontRef>
        </p:style>
      </p:sp>
      <p:grpSp>
        <p:nvGrpSpPr>
          <p:cNvPr id="5" name="Group 4"/>
          <p:cNvGrpSpPr/>
          <p:nvPr/>
        </p:nvGrpSpPr>
        <p:grpSpPr>
          <a:xfrm>
            <a:off x="55206" y="843558"/>
            <a:ext cx="1602798" cy="1555373"/>
            <a:chOff x="1454" y="0"/>
            <a:chExt cx="1262488" cy="2073830"/>
          </a:xfrm>
        </p:grpSpPr>
        <p:sp>
          <p:nvSpPr>
            <p:cNvPr id="31" name="Rectangle 30"/>
            <p:cNvSpPr/>
            <p:nvPr/>
          </p:nvSpPr>
          <p:spPr>
            <a:xfrm>
              <a:off x="1454" y="0"/>
              <a:ext cx="1262488" cy="207383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2" name="Rectangle 31"/>
            <p:cNvSpPr/>
            <p:nvPr/>
          </p:nvSpPr>
          <p:spPr>
            <a:xfrm>
              <a:off x="1454" y="0"/>
              <a:ext cx="1262488" cy="207383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113792" numCol="1" spcCol="1270" anchor="b" anchorCtr="0">
              <a:noAutofit/>
            </a:bodyPr>
            <a:lstStyle/>
            <a:p>
              <a:pPr algn="ctr" defTabSz="711200">
                <a:lnSpc>
                  <a:spcPct val="90000"/>
                </a:lnSpc>
                <a:spcBef>
                  <a:spcPct val="0"/>
                </a:spcBef>
                <a:spcAft>
                  <a:spcPct val="35000"/>
                </a:spcAft>
              </a:pPr>
              <a:r>
                <a:rPr lang="en-US" sz="1700" b="1" dirty="0" smtClean="0">
                  <a:solidFill>
                    <a:prstClr val="black">
                      <a:hueOff val="0"/>
                      <a:satOff val="0"/>
                      <a:lumOff val="0"/>
                      <a:alphaOff val="0"/>
                    </a:prstClr>
                  </a:solidFill>
                </a:rPr>
                <a:t>Resolution A36-22 </a:t>
              </a:r>
              <a:r>
                <a:rPr lang="en-US" sz="1700" dirty="0" smtClean="0">
                  <a:solidFill>
                    <a:prstClr val="black">
                      <a:hueOff val="0"/>
                      <a:satOff val="0"/>
                      <a:lumOff val="0"/>
                      <a:alphaOff val="0"/>
                    </a:prstClr>
                  </a:solidFill>
                </a:rPr>
                <a:t>Promote improved understanding</a:t>
              </a:r>
              <a:endParaRPr lang="en-GB" sz="1700" dirty="0">
                <a:solidFill>
                  <a:prstClr val="black">
                    <a:hueOff val="0"/>
                    <a:satOff val="0"/>
                    <a:lumOff val="0"/>
                    <a:alphaOff val="0"/>
                  </a:prstClr>
                </a:solidFill>
              </a:endParaRPr>
            </a:p>
          </p:txBody>
        </p:sp>
      </p:grpSp>
      <p:sp>
        <p:nvSpPr>
          <p:cNvPr id="6" name="Oval 5"/>
          <p:cNvSpPr/>
          <p:nvPr/>
        </p:nvSpPr>
        <p:spPr>
          <a:xfrm>
            <a:off x="427222" y="2593353"/>
            <a:ext cx="518457" cy="388843"/>
          </a:xfrm>
          <a:prstGeom prst="ellipse">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grpSp>
        <p:nvGrpSpPr>
          <p:cNvPr id="7" name="Group 6"/>
          <p:cNvGrpSpPr/>
          <p:nvPr/>
        </p:nvGrpSpPr>
        <p:grpSpPr>
          <a:xfrm>
            <a:off x="1115617" y="3176617"/>
            <a:ext cx="1686962" cy="1555373"/>
            <a:chOff x="1061865" y="3110745"/>
            <a:chExt cx="1686962" cy="2073830"/>
          </a:xfrm>
        </p:grpSpPr>
        <p:sp>
          <p:nvSpPr>
            <p:cNvPr id="29" name="Rectangle 28"/>
            <p:cNvSpPr/>
            <p:nvPr/>
          </p:nvSpPr>
          <p:spPr>
            <a:xfrm>
              <a:off x="1318445" y="3110745"/>
              <a:ext cx="1090071" cy="207383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0" name="Rectangle 29"/>
            <p:cNvSpPr/>
            <p:nvPr/>
          </p:nvSpPr>
          <p:spPr>
            <a:xfrm>
              <a:off x="1061865" y="3110745"/>
              <a:ext cx="1686962" cy="207383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113792" numCol="1" spcCol="1270" anchor="t" anchorCtr="0">
              <a:noAutofit/>
            </a:bodyPr>
            <a:lstStyle/>
            <a:p>
              <a:pPr algn="ctr" defTabSz="711200">
                <a:lnSpc>
                  <a:spcPct val="90000"/>
                </a:lnSpc>
                <a:spcBef>
                  <a:spcPct val="0"/>
                </a:spcBef>
                <a:spcAft>
                  <a:spcPct val="35000"/>
                </a:spcAft>
              </a:pPr>
              <a:r>
                <a:rPr lang="en-GB" sz="1700" b="1" dirty="0" smtClean="0">
                  <a:solidFill>
                    <a:prstClr val="black">
                      <a:hueOff val="0"/>
                      <a:satOff val="0"/>
                      <a:lumOff val="0"/>
                      <a:alphaOff val="0"/>
                    </a:prstClr>
                  </a:solidFill>
                </a:rPr>
                <a:t>Workshop </a:t>
              </a:r>
            </a:p>
            <a:p>
              <a:pPr algn="ctr" defTabSz="711200">
                <a:lnSpc>
                  <a:spcPct val="90000"/>
                </a:lnSpc>
                <a:spcBef>
                  <a:spcPct val="0"/>
                </a:spcBef>
                <a:spcAft>
                  <a:spcPct val="35000"/>
                </a:spcAft>
              </a:pPr>
              <a:r>
                <a:rPr lang="en-GB" sz="1700" dirty="0" smtClean="0">
                  <a:solidFill>
                    <a:prstClr val="black">
                      <a:hueOff val="0"/>
                      <a:satOff val="0"/>
                      <a:lumOff val="0"/>
                      <a:alphaOff val="0"/>
                    </a:prstClr>
                  </a:solidFill>
                </a:rPr>
                <a:t>Cooperation and Harmonization</a:t>
              </a:r>
            </a:p>
          </p:txBody>
        </p:sp>
      </p:grpSp>
      <p:sp>
        <p:nvSpPr>
          <p:cNvPr id="8" name="Oval 7"/>
          <p:cNvSpPr/>
          <p:nvPr/>
        </p:nvSpPr>
        <p:spPr>
          <a:xfrm>
            <a:off x="1658005" y="2593353"/>
            <a:ext cx="518457" cy="388843"/>
          </a:xfrm>
          <a:prstGeom prst="ellipse">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grpSp>
        <p:nvGrpSpPr>
          <p:cNvPr id="9" name="Group 8"/>
          <p:cNvGrpSpPr/>
          <p:nvPr/>
        </p:nvGrpSpPr>
        <p:grpSpPr>
          <a:xfrm>
            <a:off x="2339752" y="843558"/>
            <a:ext cx="1607402" cy="1555373"/>
            <a:chOff x="2463020" y="0"/>
            <a:chExt cx="1090071" cy="2073830"/>
          </a:xfrm>
        </p:grpSpPr>
        <p:sp>
          <p:nvSpPr>
            <p:cNvPr id="27" name="Rectangle 26"/>
            <p:cNvSpPr/>
            <p:nvPr/>
          </p:nvSpPr>
          <p:spPr>
            <a:xfrm>
              <a:off x="2463020" y="0"/>
              <a:ext cx="1090071" cy="207383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8" name="Rectangle 27"/>
            <p:cNvSpPr/>
            <p:nvPr/>
          </p:nvSpPr>
          <p:spPr>
            <a:xfrm>
              <a:off x="2463020" y="0"/>
              <a:ext cx="1090071" cy="207383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113792" numCol="1" spcCol="1270" anchor="b" anchorCtr="0">
              <a:noAutofit/>
            </a:bodyPr>
            <a:lstStyle/>
            <a:p>
              <a:pPr algn="ctr" defTabSz="711200">
                <a:lnSpc>
                  <a:spcPct val="90000"/>
                </a:lnSpc>
                <a:spcBef>
                  <a:spcPct val="0"/>
                </a:spcBef>
                <a:spcAft>
                  <a:spcPct val="35000"/>
                </a:spcAft>
              </a:pPr>
              <a:r>
                <a:rPr lang="en-GB" sz="1700" b="1" dirty="0" smtClean="0">
                  <a:solidFill>
                    <a:prstClr val="black">
                      <a:hueOff val="0"/>
                      <a:satOff val="0"/>
                      <a:lumOff val="0"/>
                      <a:alphaOff val="0"/>
                    </a:prstClr>
                  </a:solidFill>
                </a:rPr>
                <a:t>Rio Conference </a:t>
              </a:r>
              <a:r>
                <a:rPr lang="en-GB" sz="1700" dirty="0" smtClean="0">
                  <a:solidFill>
                    <a:prstClr val="black">
                      <a:hueOff val="0"/>
                      <a:satOff val="0"/>
                      <a:lumOff val="0"/>
                      <a:alphaOff val="0"/>
                    </a:prstClr>
                  </a:solidFill>
                </a:rPr>
                <a:t>ICAO as a facilitator</a:t>
              </a:r>
            </a:p>
            <a:p>
              <a:pPr algn="ctr" defTabSz="711200">
                <a:lnSpc>
                  <a:spcPct val="90000"/>
                </a:lnSpc>
                <a:spcBef>
                  <a:spcPct val="0"/>
                </a:spcBef>
                <a:spcAft>
                  <a:spcPct val="35000"/>
                </a:spcAft>
              </a:pPr>
              <a:r>
                <a:rPr lang="en-GB" sz="1700" dirty="0" smtClean="0">
                  <a:solidFill>
                    <a:prstClr val="black">
                      <a:hueOff val="0"/>
                      <a:satOff val="0"/>
                      <a:lumOff val="0"/>
                      <a:alphaOff val="0"/>
                    </a:prstClr>
                  </a:solidFill>
                </a:rPr>
                <a:t>GFAAF Created</a:t>
              </a:r>
              <a:endParaRPr lang="en-GB" sz="1700" dirty="0">
                <a:solidFill>
                  <a:prstClr val="black">
                    <a:hueOff val="0"/>
                    <a:satOff val="0"/>
                    <a:lumOff val="0"/>
                    <a:alphaOff val="0"/>
                  </a:prstClr>
                </a:solidFill>
              </a:endParaRPr>
            </a:p>
          </p:txBody>
        </p:sp>
      </p:grpSp>
      <p:sp>
        <p:nvSpPr>
          <p:cNvPr id="10" name="Oval 9"/>
          <p:cNvSpPr/>
          <p:nvPr/>
        </p:nvSpPr>
        <p:spPr>
          <a:xfrm>
            <a:off x="2802580" y="2593353"/>
            <a:ext cx="518457" cy="388843"/>
          </a:xfrm>
          <a:prstGeom prst="ellipse">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grpSp>
        <p:nvGrpSpPr>
          <p:cNvPr id="11" name="Group 10"/>
          <p:cNvGrpSpPr/>
          <p:nvPr/>
        </p:nvGrpSpPr>
        <p:grpSpPr>
          <a:xfrm>
            <a:off x="3419873" y="3176617"/>
            <a:ext cx="1671856" cy="1555373"/>
            <a:chOff x="3366121" y="3110745"/>
            <a:chExt cx="1331546" cy="2073830"/>
          </a:xfrm>
        </p:grpSpPr>
        <p:sp>
          <p:nvSpPr>
            <p:cNvPr id="25" name="Rectangle 24"/>
            <p:cNvSpPr/>
            <p:nvPr/>
          </p:nvSpPr>
          <p:spPr>
            <a:xfrm>
              <a:off x="3607595" y="3110745"/>
              <a:ext cx="1090071" cy="207383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6" name="Rectangle 25"/>
            <p:cNvSpPr/>
            <p:nvPr/>
          </p:nvSpPr>
          <p:spPr>
            <a:xfrm>
              <a:off x="3366121" y="3110745"/>
              <a:ext cx="1331546" cy="207383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113792" numCol="1" spcCol="1270" anchor="t" anchorCtr="0">
              <a:noAutofit/>
            </a:bodyPr>
            <a:lstStyle/>
            <a:p>
              <a:pPr algn="ctr" defTabSz="711200">
                <a:lnSpc>
                  <a:spcPct val="90000"/>
                </a:lnSpc>
                <a:spcBef>
                  <a:spcPct val="0"/>
                </a:spcBef>
                <a:spcAft>
                  <a:spcPct val="35000"/>
                </a:spcAft>
              </a:pPr>
              <a:r>
                <a:rPr lang="en-GB" sz="1700" b="1" dirty="0" smtClean="0">
                  <a:solidFill>
                    <a:prstClr val="black">
                      <a:hueOff val="0"/>
                      <a:satOff val="0"/>
                      <a:lumOff val="0"/>
                      <a:alphaOff val="0"/>
                    </a:prstClr>
                  </a:solidFill>
                </a:rPr>
                <a:t>Workshop </a:t>
              </a:r>
            </a:p>
            <a:p>
              <a:pPr algn="ctr" defTabSz="711200">
                <a:lnSpc>
                  <a:spcPct val="90000"/>
                </a:lnSpc>
                <a:spcBef>
                  <a:spcPct val="0"/>
                </a:spcBef>
                <a:spcAft>
                  <a:spcPct val="35000"/>
                </a:spcAft>
              </a:pPr>
              <a:r>
                <a:rPr lang="en-US" sz="1700" dirty="0" smtClean="0">
                  <a:solidFill>
                    <a:prstClr val="black">
                      <a:hueOff val="0"/>
                      <a:satOff val="0"/>
                      <a:lumOff val="0"/>
                      <a:alphaOff val="0"/>
                    </a:prstClr>
                  </a:solidFill>
                </a:rPr>
                <a:t>States, financial institutions  and stakeholders</a:t>
              </a:r>
            </a:p>
          </p:txBody>
        </p:sp>
      </p:grpSp>
      <p:sp>
        <p:nvSpPr>
          <p:cNvPr id="12" name="Oval 11"/>
          <p:cNvSpPr/>
          <p:nvPr/>
        </p:nvSpPr>
        <p:spPr>
          <a:xfrm>
            <a:off x="3947155" y="2593353"/>
            <a:ext cx="518457" cy="388843"/>
          </a:xfrm>
          <a:prstGeom prst="ellipse">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grpSp>
        <p:nvGrpSpPr>
          <p:cNvPr id="13" name="Group 12"/>
          <p:cNvGrpSpPr/>
          <p:nvPr/>
        </p:nvGrpSpPr>
        <p:grpSpPr>
          <a:xfrm>
            <a:off x="4572000" y="843558"/>
            <a:ext cx="1664304" cy="1555373"/>
            <a:chOff x="4752170" y="0"/>
            <a:chExt cx="1090071" cy="2073830"/>
          </a:xfrm>
        </p:grpSpPr>
        <p:sp>
          <p:nvSpPr>
            <p:cNvPr id="23" name="Rectangle 22"/>
            <p:cNvSpPr/>
            <p:nvPr/>
          </p:nvSpPr>
          <p:spPr>
            <a:xfrm>
              <a:off x="4752170" y="0"/>
              <a:ext cx="1090071" cy="207383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4" name="Rectangle 23"/>
            <p:cNvSpPr/>
            <p:nvPr/>
          </p:nvSpPr>
          <p:spPr>
            <a:xfrm>
              <a:off x="4752170" y="0"/>
              <a:ext cx="1090071" cy="207383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113792" numCol="1" spcCol="1270" anchor="b" anchorCtr="0">
              <a:noAutofit/>
            </a:bodyPr>
            <a:lstStyle/>
            <a:p>
              <a:pPr algn="ctr" defTabSz="711200">
                <a:lnSpc>
                  <a:spcPct val="90000"/>
                </a:lnSpc>
                <a:spcBef>
                  <a:spcPct val="0"/>
                </a:spcBef>
                <a:spcAft>
                  <a:spcPct val="35000"/>
                </a:spcAft>
              </a:pPr>
              <a:r>
                <a:rPr lang="en-US" sz="1700" b="1" dirty="0" smtClean="0">
                  <a:solidFill>
                    <a:prstClr val="black">
                      <a:hueOff val="0"/>
                      <a:satOff val="0"/>
                      <a:lumOff val="0"/>
                      <a:alphaOff val="0"/>
                    </a:prstClr>
                  </a:solidFill>
                </a:rPr>
                <a:t>Rio+20: the ICAO’s “</a:t>
              </a:r>
              <a:r>
                <a:rPr lang="en-US" sz="1700" b="1" dirty="0" err="1" smtClean="0">
                  <a:solidFill>
                    <a:prstClr val="black">
                      <a:hueOff val="0"/>
                      <a:satOff val="0"/>
                      <a:lumOff val="0"/>
                      <a:alphaOff val="0"/>
                    </a:prstClr>
                  </a:solidFill>
                </a:rPr>
                <a:t>Flightpath</a:t>
              </a:r>
              <a:r>
                <a:rPr lang="en-US" sz="1700" b="1" dirty="0" smtClean="0">
                  <a:solidFill>
                    <a:prstClr val="black">
                      <a:hueOff val="0"/>
                      <a:satOff val="0"/>
                      <a:lumOff val="0"/>
                      <a:alphaOff val="0"/>
                    </a:prstClr>
                  </a:solidFill>
                </a:rPr>
                <a:t>” Initiative</a:t>
              </a:r>
              <a:endParaRPr lang="en-GB" sz="1700" b="1" dirty="0">
                <a:solidFill>
                  <a:prstClr val="black">
                    <a:hueOff val="0"/>
                    <a:satOff val="0"/>
                    <a:lumOff val="0"/>
                    <a:alphaOff val="0"/>
                  </a:prstClr>
                </a:solidFill>
              </a:endParaRPr>
            </a:p>
          </p:txBody>
        </p:sp>
      </p:grpSp>
      <p:sp>
        <p:nvSpPr>
          <p:cNvPr id="14" name="Oval 13"/>
          <p:cNvSpPr/>
          <p:nvPr/>
        </p:nvSpPr>
        <p:spPr>
          <a:xfrm>
            <a:off x="5091730" y="2593353"/>
            <a:ext cx="518457" cy="388843"/>
          </a:xfrm>
          <a:prstGeom prst="ellipse">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grpSp>
        <p:nvGrpSpPr>
          <p:cNvPr id="15" name="Group 14"/>
          <p:cNvGrpSpPr/>
          <p:nvPr/>
        </p:nvGrpSpPr>
        <p:grpSpPr>
          <a:xfrm>
            <a:off x="5724129" y="3176617"/>
            <a:ext cx="1656750" cy="1555373"/>
            <a:chOff x="5670377" y="3110745"/>
            <a:chExt cx="1316440" cy="2073830"/>
          </a:xfrm>
        </p:grpSpPr>
        <p:sp>
          <p:nvSpPr>
            <p:cNvPr id="21" name="Rectangle 20"/>
            <p:cNvSpPr/>
            <p:nvPr/>
          </p:nvSpPr>
          <p:spPr>
            <a:xfrm>
              <a:off x="5896745" y="3110745"/>
              <a:ext cx="1090071" cy="207383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2" name="Rectangle 21"/>
            <p:cNvSpPr/>
            <p:nvPr/>
          </p:nvSpPr>
          <p:spPr>
            <a:xfrm>
              <a:off x="5670377" y="3110745"/>
              <a:ext cx="1316440" cy="207383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113792" numCol="1" spcCol="1270" anchor="t" anchorCtr="0">
              <a:noAutofit/>
            </a:bodyPr>
            <a:lstStyle/>
            <a:p>
              <a:pPr algn="ctr" defTabSz="711200">
                <a:lnSpc>
                  <a:spcPct val="90000"/>
                </a:lnSpc>
                <a:spcBef>
                  <a:spcPct val="0"/>
                </a:spcBef>
                <a:spcAft>
                  <a:spcPct val="35000"/>
                </a:spcAft>
              </a:pPr>
              <a:r>
                <a:rPr lang="en-GB" sz="1700" b="1" dirty="0" smtClean="0">
                  <a:solidFill>
                    <a:prstClr val="black">
                      <a:hueOff val="0"/>
                      <a:satOff val="0"/>
                      <a:lumOff val="0"/>
                      <a:alphaOff val="0"/>
                    </a:prstClr>
                  </a:solidFill>
                </a:rPr>
                <a:t>ICAO SUSTAF Group </a:t>
              </a:r>
            </a:p>
            <a:p>
              <a:pPr algn="ctr" defTabSz="711200">
                <a:lnSpc>
                  <a:spcPct val="90000"/>
                </a:lnSpc>
                <a:spcBef>
                  <a:spcPct val="0"/>
                </a:spcBef>
                <a:spcAft>
                  <a:spcPct val="35000"/>
                </a:spcAft>
              </a:pPr>
              <a:r>
                <a:rPr lang="en-GB" sz="1700" dirty="0" smtClean="0">
                  <a:solidFill>
                    <a:prstClr val="black">
                      <a:hueOff val="0"/>
                      <a:satOff val="0"/>
                      <a:lumOff val="0"/>
                      <a:alphaOff val="0"/>
                    </a:prstClr>
                  </a:solidFill>
                </a:rPr>
                <a:t>Input to Assembly</a:t>
              </a:r>
              <a:endParaRPr lang="en-GB" sz="1700" dirty="0">
                <a:solidFill>
                  <a:prstClr val="black">
                    <a:hueOff val="0"/>
                    <a:satOff val="0"/>
                    <a:lumOff val="0"/>
                    <a:alphaOff val="0"/>
                  </a:prstClr>
                </a:solidFill>
              </a:endParaRPr>
            </a:p>
          </p:txBody>
        </p:sp>
      </p:grpSp>
      <p:sp>
        <p:nvSpPr>
          <p:cNvPr id="16" name="Oval 15"/>
          <p:cNvSpPr/>
          <p:nvPr/>
        </p:nvSpPr>
        <p:spPr>
          <a:xfrm>
            <a:off x="6236305" y="2593353"/>
            <a:ext cx="518457" cy="388843"/>
          </a:xfrm>
          <a:prstGeom prst="ellipse">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grpSp>
        <p:nvGrpSpPr>
          <p:cNvPr id="17" name="Group 16"/>
          <p:cNvGrpSpPr/>
          <p:nvPr/>
        </p:nvGrpSpPr>
        <p:grpSpPr>
          <a:xfrm>
            <a:off x="6876256" y="843558"/>
            <a:ext cx="1512168" cy="1555373"/>
            <a:chOff x="7041320" y="0"/>
            <a:chExt cx="1090071" cy="2073830"/>
          </a:xfrm>
        </p:grpSpPr>
        <p:sp>
          <p:nvSpPr>
            <p:cNvPr id="19" name="Rectangle 18"/>
            <p:cNvSpPr/>
            <p:nvPr/>
          </p:nvSpPr>
          <p:spPr>
            <a:xfrm>
              <a:off x="7041320" y="0"/>
              <a:ext cx="1090071" cy="207383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0" name="Rectangle 19"/>
            <p:cNvSpPr/>
            <p:nvPr/>
          </p:nvSpPr>
          <p:spPr>
            <a:xfrm>
              <a:off x="7041320" y="0"/>
              <a:ext cx="1090071" cy="207383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113792" numCol="1" spcCol="1270" anchor="b" anchorCtr="0">
              <a:noAutofit/>
            </a:bodyPr>
            <a:lstStyle/>
            <a:p>
              <a:pPr algn="ctr" defTabSz="711200">
                <a:lnSpc>
                  <a:spcPct val="90000"/>
                </a:lnSpc>
                <a:spcBef>
                  <a:spcPct val="0"/>
                </a:spcBef>
                <a:spcAft>
                  <a:spcPct val="35000"/>
                </a:spcAft>
              </a:pPr>
              <a:r>
                <a:rPr lang="en-GB" sz="1700" b="1" dirty="0" smtClean="0">
                  <a:solidFill>
                    <a:prstClr val="black">
                      <a:hueOff val="0"/>
                      <a:satOff val="0"/>
                      <a:lumOff val="0"/>
                      <a:alphaOff val="0"/>
                    </a:prstClr>
                  </a:solidFill>
                </a:rPr>
                <a:t>Resolution A38-18</a:t>
              </a:r>
              <a:endParaRPr lang="en-GB" sz="1700" b="1" dirty="0">
                <a:solidFill>
                  <a:prstClr val="black">
                    <a:hueOff val="0"/>
                    <a:satOff val="0"/>
                    <a:lumOff val="0"/>
                    <a:alphaOff val="0"/>
                  </a:prstClr>
                </a:solidFill>
              </a:endParaRPr>
            </a:p>
          </p:txBody>
        </p:sp>
      </p:grpSp>
      <p:sp>
        <p:nvSpPr>
          <p:cNvPr id="18" name="Oval 17"/>
          <p:cNvSpPr/>
          <p:nvPr/>
        </p:nvSpPr>
        <p:spPr>
          <a:xfrm>
            <a:off x="7380880" y="2593353"/>
            <a:ext cx="518457" cy="388843"/>
          </a:xfrm>
          <a:prstGeom prst="ellipse">
            <a:avLst/>
          </a:pr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33" name="TextBox 32"/>
          <p:cNvSpPr txBox="1"/>
          <p:nvPr/>
        </p:nvSpPr>
        <p:spPr>
          <a:xfrm>
            <a:off x="360078" y="2655370"/>
            <a:ext cx="671979" cy="338554"/>
          </a:xfrm>
          <a:prstGeom prst="rect">
            <a:avLst/>
          </a:prstGeom>
          <a:noFill/>
        </p:spPr>
        <p:txBody>
          <a:bodyPr wrap="none" rtlCol="0">
            <a:spAutoFit/>
          </a:bodyPr>
          <a:lstStyle/>
          <a:p>
            <a:pPr defTabSz="914400"/>
            <a:r>
              <a:rPr lang="en-GB" sz="1600" dirty="0" smtClean="0">
                <a:solidFill>
                  <a:prstClr val="black"/>
                </a:solidFill>
                <a:latin typeface="Arial Rounded MT Bold" panose="020F0704030504030204" pitchFamily="34" charset="0"/>
              </a:rPr>
              <a:t>2007</a:t>
            </a:r>
            <a:endParaRPr lang="en-GB" sz="1600" dirty="0">
              <a:solidFill>
                <a:prstClr val="black"/>
              </a:solidFill>
              <a:latin typeface="Arial Rounded MT Bold" panose="020F0704030504030204" pitchFamily="34" charset="0"/>
            </a:endParaRPr>
          </a:p>
        </p:txBody>
      </p:sp>
      <p:sp>
        <p:nvSpPr>
          <p:cNvPr id="34" name="TextBox 33"/>
          <p:cNvSpPr txBox="1"/>
          <p:nvPr/>
        </p:nvSpPr>
        <p:spPr>
          <a:xfrm>
            <a:off x="1590861" y="2655370"/>
            <a:ext cx="671979" cy="338554"/>
          </a:xfrm>
          <a:prstGeom prst="rect">
            <a:avLst/>
          </a:prstGeom>
          <a:noFill/>
        </p:spPr>
        <p:txBody>
          <a:bodyPr wrap="none" rtlCol="0">
            <a:spAutoFit/>
          </a:bodyPr>
          <a:lstStyle/>
          <a:p>
            <a:pPr defTabSz="914400"/>
            <a:r>
              <a:rPr lang="en-GB" sz="1600" dirty="0" smtClean="0">
                <a:solidFill>
                  <a:prstClr val="black"/>
                </a:solidFill>
                <a:latin typeface="Arial Rounded MT Bold" panose="020F0704030504030204" pitchFamily="34" charset="0"/>
              </a:rPr>
              <a:t>2009</a:t>
            </a:r>
            <a:endParaRPr lang="en-GB" sz="1600" dirty="0">
              <a:solidFill>
                <a:prstClr val="black"/>
              </a:solidFill>
              <a:latin typeface="Arial Rounded MT Bold" panose="020F0704030504030204" pitchFamily="34" charset="0"/>
            </a:endParaRPr>
          </a:p>
        </p:txBody>
      </p:sp>
      <p:sp>
        <p:nvSpPr>
          <p:cNvPr id="35" name="TextBox 34"/>
          <p:cNvSpPr txBox="1"/>
          <p:nvPr/>
        </p:nvSpPr>
        <p:spPr>
          <a:xfrm>
            <a:off x="2735436" y="2655370"/>
            <a:ext cx="671979" cy="338554"/>
          </a:xfrm>
          <a:prstGeom prst="rect">
            <a:avLst/>
          </a:prstGeom>
          <a:noFill/>
        </p:spPr>
        <p:txBody>
          <a:bodyPr wrap="none" rtlCol="0">
            <a:spAutoFit/>
          </a:bodyPr>
          <a:lstStyle/>
          <a:p>
            <a:pPr defTabSz="914400"/>
            <a:r>
              <a:rPr lang="en-GB" sz="1600" dirty="0" smtClean="0">
                <a:solidFill>
                  <a:prstClr val="black"/>
                </a:solidFill>
                <a:latin typeface="Arial Rounded MT Bold" panose="020F0704030504030204" pitchFamily="34" charset="0"/>
              </a:rPr>
              <a:t>2009</a:t>
            </a:r>
            <a:endParaRPr lang="en-GB" sz="1600" dirty="0">
              <a:solidFill>
                <a:prstClr val="black"/>
              </a:solidFill>
              <a:latin typeface="Arial Rounded MT Bold" panose="020F0704030504030204" pitchFamily="34" charset="0"/>
            </a:endParaRPr>
          </a:p>
        </p:txBody>
      </p:sp>
      <p:sp>
        <p:nvSpPr>
          <p:cNvPr id="36" name="TextBox 35"/>
          <p:cNvSpPr txBox="1"/>
          <p:nvPr/>
        </p:nvSpPr>
        <p:spPr>
          <a:xfrm>
            <a:off x="3880011" y="2655370"/>
            <a:ext cx="671979" cy="338554"/>
          </a:xfrm>
          <a:prstGeom prst="rect">
            <a:avLst/>
          </a:prstGeom>
          <a:noFill/>
        </p:spPr>
        <p:txBody>
          <a:bodyPr wrap="none" rtlCol="0">
            <a:spAutoFit/>
          </a:bodyPr>
          <a:lstStyle/>
          <a:p>
            <a:pPr defTabSz="914400"/>
            <a:r>
              <a:rPr lang="en-GB" sz="1600" dirty="0" smtClean="0">
                <a:solidFill>
                  <a:prstClr val="black"/>
                </a:solidFill>
                <a:latin typeface="Arial Rounded MT Bold" panose="020F0704030504030204" pitchFamily="34" charset="0"/>
              </a:rPr>
              <a:t>2011</a:t>
            </a:r>
            <a:endParaRPr lang="en-GB" sz="1600" dirty="0">
              <a:solidFill>
                <a:prstClr val="black"/>
              </a:solidFill>
              <a:latin typeface="Arial Rounded MT Bold" panose="020F0704030504030204" pitchFamily="34" charset="0"/>
            </a:endParaRPr>
          </a:p>
        </p:txBody>
      </p:sp>
      <p:sp>
        <p:nvSpPr>
          <p:cNvPr id="37" name="TextBox 36"/>
          <p:cNvSpPr txBox="1"/>
          <p:nvPr/>
        </p:nvSpPr>
        <p:spPr>
          <a:xfrm>
            <a:off x="5024586" y="2655370"/>
            <a:ext cx="671979" cy="338554"/>
          </a:xfrm>
          <a:prstGeom prst="rect">
            <a:avLst/>
          </a:prstGeom>
          <a:noFill/>
        </p:spPr>
        <p:txBody>
          <a:bodyPr wrap="none" rtlCol="0">
            <a:spAutoFit/>
          </a:bodyPr>
          <a:lstStyle/>
          <a:p>
            <a:pPr defTabSz="914400"/>
            <a:r>
              <a:rPr lang="en-GB" sz="1600" dirty="0" smtClean="0">
                <a:solidFill>
                  <a:prstClr val="black"/>
                </a:solidFill>
                <a:latin typeface="Arial Rounded MT Bold" panose="020F0704030504030204" pitchFamily="34" charset="0"/>
              </a:rPr>
              <a:t>2012</a:t>
            </a:r>
            <a:endParaRPr lang="en-GB" sz="1600" dirty="0">
              <a:solidFill>
                <a:prstClr val="black"/>
              </a:solidFill>
              <a:latin typeface="Arial Rounded MT Bold" panose="020F0704030504030204" pitchFamily="34" charset="0"/>
            </a:endParaRPr>
          </a:p>
        </p:txBody>
      </p:sp>
      <p:sp>
        <p:nvSpPr>
          <p:cNvPr id="38" name="TextBox 37"/>
          <p:cNvSpPr txBox="1"/>
          <p:nvPr/>
        </p:nvSpPr>
        <p:spPr>
          <a:xfrm>
            <a:off x="6169161" y="2655370"/>
            <a:ext cx="671979" cy="338554"/>
          </a:xfrm>
          <a:prstGeom prst="rect">
            <a:avLst/>
          </a:prstGeom>
          <a:noFill/>
        </p:spPr>
        <p:txBody>
          <a:bodyPr wrap="none" rtlCol="0">
            <a:spAutoFit/>
          </a:bodyPr>
          <a:lstStyle/>
          <a:p>
            <a:pPr defTabSz="914400"/>
            <a:r>
              <a:rPr lang="en-GB" sz="1600" dirty="0" smtClean="0">
                <a:solidFill>
                  <a:prstClr val="black"/>
                </a:solidFill>
                <a:latin typeface="Arial Rounded MT Bold" panose="020F0704030504030204" pitchFamily="34" charset="0"/>
              </a:rPr>
              <a:t>2013</a:t>
            </a:r>
            <a:endParaRPr lang="en-GB" sz="1600" dirty="0">
              <a:solidFill>
                <a:prstClr val="black"/>
              </a:solidFill>
              <a:latin typeface="Arial Rounded MT Bold" panose="020F0704030504030204" pitchFamily="34" charset="0"/>
            </a:endParaRPr>
          </a:p>
        </p:txBody>
      </p:sp>
      <p:sp>
        <p:nvSpPr>
          <p:cNvPr id="39" name="TextBox 38"/>
          <p:cNvSpPr txBox="1"/>
          <p:nvPr/>
        </p:nvSpPr>
        <p:spPr>
          <a:xfrm>
            <a:off x="7313736" y="2655370"/>
            <a:ext cx="671979" cy="338554"/>
          </a:xfrm>
          <a:prstGeom prst="rect">
            <a:avLst/>
          </a:prstGeom>
          <a:noFill/>
        </p:spPr>
        <p:txBody>
          <a:bodyPr wrap="none" rtlCol="0">
            <a:spAutoFit/>
          </a:bodyPr>
          <a:lstStyle/>
          <a:p>
            <a:pPr defTabSz="914400"/>
            <a:r>
              <a:rPr lang="en-GB" sz="1600" dirty="0" smtClean="0">
                <a:solidFill>
                  <a:prstClr val="black"/>
                </a:solidFill>
                <a:latin typeface="Arial Rounded MT Bold" panose="020F0704030504030204" pitchFamily="34" charset="0"/>
              </a:rPr>
              <a:t>2013</a:t>
            </a:r>
            <a:endParaRPr lang="en-GB" sz="1600" dirty="0">
              <a:solidFill>
                <a:prstClr val="black"/>
              </a:solidFill>
              <a:latin typeface="Arial Rounded MT Bold" panose="020F0704030504030204" pitchFamily="34" charset="0"/>
            </a:endParaRPr>
          </a:p>
        </p:txBody>
      </p:sp>
    </p:spTree>
    <p:extLst>
      <p:ext uri="{BB962C8B-B14F-4D97-AF65-F5344CB8AC3E}">
        <p14:creationId xmlns:p14="http://schemas.microsoft.com/office/powerpoint/2010/main" val="32072162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NWPBjPF1kaDbyWfz_Fi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NWPBjPF1kaDbyWfz_Fi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NWPBjPF1kaDbyWfz_Fi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110831 OLAL X aireg_PPT_31august2011">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Char char="•"/>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Char char="•"/>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a:ln>
              <a:noFill/>
            </a:ln>
            <a:solidFill>
              <a:schemeClr val="tx1"/>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a:ln>
              <a:noFill/>
            </a:ln>
            <a:solidFill>
              <a:schemeClr val="tx1"/>
            </a:solidFill>
            <a:effectLst/>
            <a:latin typeface="Arial" charset="0"/>
            <a:ea typeface="ＭＳ Ｐゴシック"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anac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anac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B4177"/>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110831 OLAL X aireg_PPT_31august2011">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55</TotalTime>
  <Words>3580</Words>
  <Application>Microsoft Office PowerPoint</Application>
  <PresentationFormat>On-screen Show (16:9)</PresentationFormat>
  <Paragraphs>573</Paragraphs>
  <Slides>62</Slides>
  <Notes>41</Notes>
  <HiddenSlides>0</HiddenSlides>
  <MMClips>0</MMClips>
  <ScaleCrop>false</ScaleCrop>
  <HeadingPairs>
    <vt:vector size="4" baseType="variant">
      <vt:variant>
        <vt:lpstr>Theme</vt:lpstr>
      </vt:variant>
      <vt:variant>
        <vt:i4>11</vt:i4>
      </vt:variant>
      <vt:variant>
        <vt:lpstr>Slide Titles</vt:lpstr>
      </vt:variant>
      <vt:variant>
        <vt:i4>62</vt:i4>
      </vt:variant>
    </vt:vector>
  </HeadingPairs>
  <TitlesOfParts>
    <vt:vector size="73" baseType="lpstr">
      <vt:lpstr>Office Theme</vt:lpstr>
      <vt:lpstr>1_Custom Design</vt:lpstr>
      <vt:lpstr>Default Design</vt:lpstr>
      <vt:lpstr>2_anac1</vt:lpstr>
      <vt:lpstr>anac1</vt:lpstr>
      <vt:lpstr>1_Office Theme</vt:lpstr>
      <vt:lpstr>2_Office Theme</vt:lpstr>
      <vt:lpstr>4_Office Theme</vt:lpstr>
      <vt:lpstr>110831 OLAL X aireg_PPT_31august2011</vt:lpstr>
      <vt:lpstr>1_110831 OLAL X aireg_PPT_31august2011</vt:lpstr>
      <vt:lpstr>1_Tema de Office</vt:lpstr>
      <vt:lpstr>PowerPoint Presentation</vt:lpstr>
      <vt:lpstr>PowerPoint Presentation</vt:lpstr>
      <vt:lpstr>PowerPoint Presentation</vt:lpstr>
      <vt:lpstr>SUSTAINABLE ALTERNATIVE FUELS  IN THE CONTEXT OF  INTERNATIONAL AVIATION</vt:lpstr>
      <vt:lpstr>About ICAO</vt:lpstr>
      <vt:lpstr>About the ICAO Assembly</vt:lpstr>
      <vt:lpstr>ICAO Environmental Goals</vt:lpstr>
      <vt:lpstr>ICAO’s Role with Alternative Fuels</vt:lpstr>
      <vt:lpstr>ICAO’s Work on Alternative Fuels</vt:lpstr>
      <vt:lpstr>PowerPoint Presentation</vt:lpstr>
      <vt:lpstr>Global Framework for  Aviation Alternative Fuels (GFAAF)</vt:lpstr>
      <vt:lpstr>Resolution A38-18: ICAO’s Mandate from  its 191 States on Alt. Fuels</vt:lpstr>
      <vt:lpstr>Resolution A38-18: Additional related requests</vt:lpstr>
      <vt:lpstr>Committee for Aviation Environmental Protection (CAEP)</vt:lpstr>
      <vt:lpstr>CAEP Alternative Fuels Task Force</vt:lpstr>
      <vt:lpstr>Conclusion</vt:lpstr>
      <vt:lpstr>Additional information</vt:lpstr>
      <vt:lpstr>PowerPoint Presentation</vt:lpstr>
      <vt:lpstr>aireg Aviation Initiative for Renewable Energy in Germany j The future of climate-friendly aviation: Ten percent alternative aviation fuels by 2025  Joachim Buse Deputy Chairman Washington D.C. Jan. 29th, 201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ISAF Steering Committee</vt:lpstr>
      <vt:lpstr>PowerPoint Presentation</vt:lpstr>
      <vt:lpstr>Australian Market Leading Demand</vt:lpstr>
      <vt:lpstr>PowerPoint Presentation</vt:lpstr>
      <vt:lpstr>PowerPoint Presentation</vt:lpstr>
      <vt:lpstr>PowerPoint Presentation</vt:lpstr>
      <vt:lpstr>Brazilian Efforts for Aviation Alternative Fuels Development ANAC Initiative</vt:lpstr>
      <vt:lpstr>Brazilian civil aviation in context</vt:lpstr>
      <vt:lpstr>PowerPoint Presentation</vt:lpstr>
      <vt:lpstr>PowerPoint Presentation</vt:lpstr>
      <vt:lpstr>Anac initiative</vt:lpstr>
      <vt:lpstr>PowerPoint Presentation</vt:lpstr>
      <vt:lpstr>PowerPoint Presentation</vt:lpstr>
      <vt:lpstr>Brazilian Biojetfuel Platform Taking off with Sustainability</vt:lpstr>
      <vt:lpstr>PowerPoint Presentation</vt:lpstr>
      <vt:lpstr>SABB - Biojetfuel gap analysis</vt:lpstr>
      <vt:lpstr>PowerPoint Presentation</vt:lpstr>
      <vt:lpstr>Biojetfuel HEFA value chain</vt:lpstr>
      <vt:lpstr>PowerPoint Presentation</vt:lpstr>
      <vt:lpstr>Flying Green Program Carbon Footprint Offset</vt:lpstr>
      <vt:lpstr>PowerPoint Presentation</vt:lpstr>
      <vt:lpstr>PowerPoint Presentation</vt:lpstr>
      <vt:lpstr>PowerPoint Presentation</vt:lpstr>
      <vt:lpstr>PowerPoint Presentation</vt:lpstr>
      <vt:lpstr>Roadmap</vt:lpstr>
      <vt:lpstr>Roadmap</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arolel</dc:creator>
  <cp:lastModifiedBy>AVISPL</cp:lastModifiedBy>
  <cp:revision>29</cp:revision>
  <dcterms:created xsi:type="dcterms:W3CDTF">2011-11-23T16:12:52Z</dcterms:created>
  <dcterms:modified xsi:type="dcterms:W3CDTF">2014-01-29T19:05:31Z</dcterms:modified>
</cp:coreProperties>
</file>